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slides/slide192.xml" ContentType="application/vnd.openxmlformats-officedocument.presentationml.slide+xml"/>
  <Override PartName="/ppt/slides/slide193.xml" ContentType="application/vnd.openxmlformats-officedocument.presentationml.slide+xml"/>
  <Override PartName="/ppt/slides/slide194.xml" ContentType="application/vnd.openxmlformats-officedocument.presentationml.slide+xml"/>
  <Override PartName="/ppt/slides/slide195.xml" ContentType="application/vnd.openxmlformats-officedocument.presentationml.slide+xml"/>
  <Override PartName="/ppt/slides/slide196.xml" ContentType="application/vnd.openxmlformats-officedocument.presentationml.slide+xml"/>
  <Override PartName="/ppt/slides/slide197.xml" ContentType="application/vnd.openxmlformats-officedocument.presentationml.slide+xml"/>
  <Override PartName="/ppt/slides/slide198.xml" ContentType="application/vnd.openxmlformats-officedocument.presentationml.slide+xml"/>
  <Override PartName="/ppt/slides/slide199.xml" ContentType="application/vnd.openxmlformats-officedocument.presentationml.slide+xml"/>
  <Override PartName="/ppt/slides/slide200.xml" ContentType="application/vnd.openxmlformats-officedocument.presentationml.slide+xml"/>
  <Override PartName="/ppt/slides/slide201.xml" ContentType="application/vnd.openxmlformats-officedocument.presentationml.slide+xml"/>
  <Override PartName="/ppt/slides/slide202.xml" ContentType="application/vnd.openxmlformats-officedocument.presentationml.slide+xml"/>
  <Override PartName="/ppt/slides/slide203.xml" ContentType="application/vnd.openxmlformats-officedocument.presentationml.slide+xml"/>
  <Override PartName="/ppt/slides/slide204.xml" ContentType="application/vnd.openxmlformats-officedocument.presentationml.slide+xml"/>
  <Override PartName="/ppt/slides/slide205.xml" ContentType="application/vnd.openxmlformats-officedocument.presentationml.slide+xml"/>
  <Override PartName="/ppt/slides/slide206.xml" ContentType="application/vnd.openxmlformats-officedocument.presentationml.slide+xml"/>
  <Override PartName="/ppt/slides/slide207.xml" ContentType="application/vnd.openxmlformats-officedocument.presentationml.slide+xml"/>
  <Override PartName="/ppt/slides/slide208.xml" ContentType="application/vnd.openxmlformats-officedocument.presentationml.slide+xml"/>
  <Override PartName="/ppt/slides/slide209.xml" ContentType="application/vnd.openxmlformats-officedocument.presentationml.slide+xml"/>
  <Override PartName="/ppt/slides/slide210.xml" ContentType="application/vnd.openxmlformats-officedocument.presentationml.slide+xml"/>
  <Override PartName="/ppt/slides/slide211.xml" ContentType="application/vnd.openxmlformats-officedocument.presentationml.slide+xml"/>
  <Override PartName="/ppt/slides/slide212.xml" ContentType="application/vnd.openxmlformats-officedocument.presentationml.slide+xml"/>
  <Override PartName="/ppt/slides/slide213.xml" ContentType="application/vnd.openxmlformats-officedocument.presentationml.slide+xml"/>
  <Override PartName="/ppt/slides/slide214.xml" ContentType="application/vnd.openxmlformats-officedocument.presentationml.slide+xml"/>
  <Override PartName="/ppt/slides/slide215.xml" ContentType="application/vnd.openxmlformats-officedocument.presentationml.slide+xml"/>
  <Override PartName="/ppt/slides/slide216.xml" ContentType="application/vnd.openxmlformats-officedocument.presentationml.slide+xml"/>
  <Override PartName="/ppt/slides/slide217.xml" ContentType="application/vnd.openxmlformats-officedocument.presentationml.slide+xml"/>
  <Override PartName="/ppt/slides/slide218.xml" ContentType="application/vnd.openxmlformats-officedocument.presentationml.slide+xml"/>
  <Override PartName="/ppt/slides/slide219.xml" ContentType="application/vnd.openxmlformats-officedocument.presentationml.slide+xml"/>
  <Override PartName="/ppt/slides/slide220.xml" ContentType="application/vnd.openxmlformats-officedocument.presentationml.slide+xml"/>
  <Override PartName="/ppt/slides/slide221.xml" ContentType="application/vnd.openxmlformats-officedocument.presentationml.slide+xml"/>
  <Override PartName="/ppt/slides/slide222.xml" ContentType="application/vnd.openxmlformats-officedocument.presentationml.slide+xml"/>
  <Override PartName="/ppt/slides/slide223.xml" ContentType="application/vnd.openxmlformats-officedocument.presentationml.slide+xml"/>
  <Override PartName="/ppt/slides/slide224.xml" ContentType="application/vnd.openxmlformats-officedocument.presentationml.slide+xml"/>
  <Override PartName="/ppt/slides/slide225.xml" ContentType="application/vnd.openxmlformats-officedocument.presentationml.slide+xml"/>
  <Override PartName="/ppt/slides/slide226.xml" ContentType="application/vnd.openxmlformats-officedocument.presentationml.slide+xml"/>
  <Override PartName="/ppt/slides/slide227.xml" ContentType="application/vnd.openxmlformats-officedocument.presentationml.slide+xml"/>
  <Override PartName="/ppt/slides/slide228.xml" ContentType="application/vnd.openxmlformats-officedocument.presentationml.slide+xml"/>
  <Override PartName="/ppt/slides/slide229.xml" ContentType="application/vnd.openxmlformats-officedocument.presentationml.slide+xml"/>
  <Override PartName="/ppt/slides/slide230.xml" ContentType="application/vnd.openxmlformats-officedocument.presentationml.slide+xml"/>
  <Override PartName="/ppt/slides/slide231.xml" ContentType="application/vnd.openxmlformats-officedocument.presentationml.slide+xml"/>
  <Override PartName="/ppt/slides/slide232.xml" ContentType="application/vnd.openxmlformats-officedocument.presentationml.slide+xml"/>
  <Override PartName="/ppt/slides/slide233.xml" ContentType="application/vnd.openxmlformats-officedocument.presentationml.slide+xml"/>
  <Override PartName="/ppt/slides/slide234.xml" ContentType="application/vnd.openxmlformats-officedocument.presentationml.slide+xml"/>
  <Override PartName="/ppt/slides/slide235.xml" ContentType="application/vnd.openxmlformats-officedocument.presentationml.slide+xml"/>
  <Override PartName="/ppt/slides/slide236.xml" ContentType="application/vnd.openxmlformats-officedocument.presentationml.slide+xml"/>
  <Override PartName="/ppt/slides/slide237.xml" ContentType="application/vnd.openxmlformats-officedocument.presentationml.slide+xml"/>
  <Override PartName="/ppt/slides/slide238.xml" ContentType="application/vnd.openxmlformats-officedocument.presentationml.slide+xml"/>
  <Override PartName="/ppt/slides/slide239.xml" ContentType="application/vnd.openxmlformats-officedocument.presentationml.slide+xml"/>
  <Override PartName="/ppt/slides/slide240.xml" ContentType="application/vnd.openxmlformats-officedocument.presentationml.slide+xml"/>
  <Override PartName="/ppt/slides/slide241.xml" ContentType="application/vnd.openxmlformats-officedocument.presentationml.slide+xml"/>
  <Override PartName="/ppt/slides/slide242.xml" ContentType="application/vnd.openxmlformats-officedocument.presentationml.slide+xml"/>
  <Override PartName="/ppt/slides/slide243.xml" ContentType="application/vnd.openxmlformats-officedocument.presentationml.slide+xml"/>
  <Override PartName="/ppt/slides/slide244.xml" ContentType="application/vnd.openxmlformats-officedocument.presentationml.slide+xml"/>
  <Override PartName="/ppt/slides/slide245.xml" ContentType="application/vnd.openxmlformats-officedocument.presentationml.slide+xml"/>
  <Override PartName="/ppt/slides/slide246.xml" ContentType="application/vnd.openxmlformats-officedocument.presentationml.slide+xml"/>
  <Override PartName="/ppt/slides/slide247.xml" ContentType="application/vnd.openxmlformats-officedocument.presentationml.slide+xml"/>
  <Override PartName="/ppt/slides/slide248.xml" ContentType="application/vnd.openxmlformats-officedocument.presentationml.slide+xml"/>
  <Override PartName="/ppt/slides/slide249.xml" ContentType="application/vnd.openxmlformats-officedocument.presentationml.slide+xml"/>
  <Override PartName="/ppt/slides/slide250.xml" ContentType="application/vnd.openxmlformats-officedocument.presentationml.slide+xml"/>
  <Override PartName="/ppt/slides/slide251.xml" ContentType="application/vnd.openxmlformats-officedocument.presentationml.slide+xml"/>
  <Override PartName="/ppt/slides/slide252.xml" ContentType="application/vnd.openxmlformats-officedocument.presentationml.slide+xml"/>
  <Override PartName="/ppt/slides/slide253.xml" ContentType="application/vnd.openxmlformats-officedocument.presentationml.slide+xml"/>
  <Override PartName="/ppt/slides/slide254.xml" ContentType="application/vnd.openxmlformats-officedocument.presentationml.slide+xml"/>
  <Override PartName="/ppt/slides/slide255.xml" ContentType="application/vnd.openxmlformats-officedocument.presentationml.slide+xml"/>
  <Override PartName="/ppt/slides/slide256.xml" ContentType="application/vnd.openxmlformats-officedocument.presentationml.slide+xml"/>
  <Override PartName="/ppt/slides/slide257.xml" ContentType="application/vnd.openxmlformats-officedocument.presentationml.slide+xml"/>
  <Override PartName="/ppt/slides/slide258.xml" ContentType="application/vnd.openxmlformats-officedocument.presentationml.slide+xml"/>
  <Override PartName="/ppt/slides/slide259.xml" ContentType="application/vnd.openxmlformats-officedocument.presentationml.slide+xml"/>
  <Override PartName="/ppt/slides/slide260.xml" ContentType="application/vnd.openxmlformats-officedocument.presentationml.slide+xml"/>
  <Override PartName="/ppt/slides/slide261.xml" ContentType="application/vnd.openxmlformats-officedocument.presentationml.slide+xml"/>
  <Override PartName="/ppt/slides/slide262.xml" ContentType="application/vnd.openxmlformats-officedocument.presentationml.slide+xml"/>
  <Override PartName="/ppt/slides/slide263.xml" ContentType="application/vnd.openxmlformats-officedocument.presentationml.slide+xml"/>
  <Override PartName="/ppt/slides/slide264.xml" ContentType="application/vnd.openxmlformats-officedocument.presentationml.slide+xml"/>
  <Override PartName="/ppt/slides/slide265.xml" ContentType="application/vnd.openxmlformats-officedocument.presentationml.slide+xml"/>
  <Override PartName="/ppt/slides/slide266.xml" ContentType="application/vnd.openxmlformats-officedocument.presentationml.slide+xml"/>
  <Override PartName="/ppt/slides/slide267.xml" ContentType="application/vnd.openxmlformats-officedocument.presentationml.slide+xml"/>
  <Override PartName="/ppt/slides/slide268.xml" ContentType="application/vnd.openxmlformats-officedocument.presentationml.slide+xml"/>
  <Override PartName="/ppt/slides/slide269.xml" ContentType="application/vnd.openxmlformats-officedocument.presentationml.slide+xml"/>
  <Override PartName="/ppt/slides/slide270.xml" ContentType="application/vnd.openxmlformats-officedocument.presentationml.slide+xml"/>
  <Override PartName="/ppt/slides/slide271.xml" ContentType="application/vnd.openxmlformats-officedocument.presentationml.slide+xml"/>
  <Override PartName="/ppt/slides/slide272.xml" ContentType="application/vnd.openxmlformats-officedocument.presentationml.slide+xml"/>
  <Override PartName="/ppt/slides/slide273.xml" ContentType="application/vnd.openxmlformats-officedocument.presentationml.slide+xml"/>
  <Override PartName="/ppt/slides/slide274.xml" ContentType="application/vnd.openxmlformats-officedocument.presentationml.slide+xml"/>
  <Override PartName="/ppt/slides/slide275.xml" ContentType="application/vnd.openxmlformats-officedocument.presentationml.slide+xml"/>
  <Override PartName="/ppt/slides/slide276.xml" ContentType="application/vnd.openxmlformats-officedocument.presentationml.slide+xml"/>
  <Override PartName="/ppt/slides/slide277.xml" ContentType="application/vnd.openxmlformats-officedocument.presentationml.slide+xml"/>
  <Override PartName="/ppt/slides/slide278.xml" ContentType="application/vnd.openxmlformats-officedocument.presentationml.slide+xml"/>
  <Override PartName="/ppt/slides/slide279.xml" ContentType="application/vnd.openxmlformats-officedocument.presentationml.slide+xml"/>
  <Override PartName="/ppt/slides/slide280.xml" ContentType="application/vnd.openxmlformats-officedocument.presentationml.slide+xml"/>
  <Override PartName="/ppt/slides/slide281.xml" ContentType="application/vnd.openxmlformats-officedocument.presentationml.slide+xml"/>
  <Override PartName="/ppt/slides/slide282.xml" ContentType="application/vnd.openxmlformats-officedocument.presentationml.slide+xml"/>
  <Override PartName="/ppt/slides/slide283.xml" ContentType="application/vnd.openxmlformats-officedocument.presentationml.slide+xml"/>
  <Override PartName="/ppt/slides/slide284.xml" ContentType="application/vnd.openxmlformats-officedocument.presentationml.slide+xml"/>
  <Override PartName="/ppt/slides/slide285.xml" ContentType="application/vnd.openxmlformats-officedocument.presentationml.slide+xml"/>
  <Override PartName="/ppt/slides/slide286.xml" ContentType="application/vnd.openxmlformats-officedocument.presentationml.slide+xml"/>
  <Override PartName="/ppt/slides/slide287.xml" ContentType="application/vnd.openxmlformats-officedocument.presentationml.slide+xml"/>
  <Override PartName="/ppt/slides/slide288.xml" ContentType="application/vnd.openxmlformats-officedocument.presentationml.slide+xml"/>
  <Override PartName="/ppt/slides/slide289.xml" ContentType="application/vnd.openxmlformats-officedocument.presentationml.slide+xml"/>
  <Override PartName="/ppt/slides/slide290.xml" ContentType="application/vnd.openxmlformats-officedocument.presentationml.slide+xml"/>
  <Override PartName="/ppt/slides/slide291.xml" ContentType="application/vnd.openxmlformats-officedocument.presentationml.slide+xml"/>
  <Override PartName="/ppt/slides/slide292.xml" ContentType="application/vnd.openxmlformats-officedocument.presentationml.slide+xml"/>
  <Override PartName="/ppt/slides/slide293.xml" ContentType="application/vnd.openxmlformats-officedocument.presentationml.slide+xml"/>
  <Override PartName="/ppt/slides/slide294.xml" ContentType="application/vnd.openxmlformats-officedocument.presentationml.slide+xml"/>
  <Override PartName="/ppt/slides/slide295.xml" ContentType="application/vnd.openxmlformats-officedocument.presentationml.slide+xml"/>
  <Override PartName="/ppt/slides/slide296.xml" ContentType="application/vnd.openxmlformats-officedocument.presentationml.slide+xml"/>
  <Override PartName="/ppt/slides/slide297.xml" ContentType="application/vnd.openxmlformats-officedocument.presentationml.slide+xml"/>
  <Override PartName="/ppt/slides/slide298.xml" ContentType="application/vnd.openxmlformats-officedocument.presentationml.slide+xml"/>
  <Override PartName="/ppt/slides/slide299.xml" ContentType="application/vnd.openxmlformats-officedocument.presentationml.slide+xml"/>
  <Override PartName="/ppt/slides/slide300.xml" ContentType="application/vnd.openxmlformats-officedocument.presentationml.slide+xml"/>
  <Override PartName="/ppt/slides/slide301.xml" ContentType="application/vnd.openxmlformats-officedocument.presentationml.slide+xml"/>
  <Override PartName="/ppt/slides/slide302.xml" ContentType="application/vnd.openxmlformats-officedocument.presentationml.slide+xml"/>
  <Override PartName="/ppt/slides/slide303.xml" ContentType="application/vnd.openxmlformats-officedocument.presentationml.slide+xml"/>
  <Override PartName="/ppt/slides/slide304.xml" ContentType="application/vnd.openxmlformats-officedocument.presentationml.slide+xml"/>
  <Override PartName="/ppt/slides/slide305.xml" ContentType="application/vnd.openxmlformats-officedocument.presentationml.slide+xml"/>
  <Override PartName="/ppt/slides/slide306.xml" ContentType="application/vnd.openxmlformats-officedocument.presentationml.slide+xml"/>
  <Override PartName="/ppt/slides/slide307.xml" ContentType="application/vnd.openxmlformats-officedocument.presentationml.slide+xml"/>
  <Override PartName="/ppt/slides/slide308.xml" ContentType="application/vnd.openxmlformats-officedocument.presentationml.slide+xml"/>
  <Override PartName="/ppt/slides/slide309.xml" ContentType="application/vnd.openxmlformats-officedocument.presentationml.slide+xml"/>
  <Override PartName="/ppt/slides/slide310.xml" ContentType="application/vnd.openxmlformats-officedocument.presentationml.slide+xml"/>
  <Override PartName="/ppt/slides/slide311.xml" ContentType="application/vnd.openxmlformats-officedocument.presentationml.slide+xml"/>
  <Override PartName="/ppt/slides/slide312.xml" ContentType="application/vnd.openxmlformats-officedocument.presentationml.slide+xml"/>
  <Override PartName="/ppt/slides/slide313.xml" ContentType="application/vnd.openxmlformats-officedocument.presentationml.slide+xml"/>
  <Override PartName="/ppt/slides/slide314.xml" ContentType="application/vnd.openxmlformats-officedocument.presentationml.slide+xml"/>
  <Override PartName="/ppt/slides/slide315.xml" ContentType="application/vnd.openxmlformats-officedocument.presentationml.slide+xml"/>
  <Override PartName="/ppt/slides/slide316.xml" ContentType="application/vnd.openxmlformats-officedocument.presentationml.slide+xml"/>
  <Override PartName="/ppt/slides/slide317.xml" ContentType="application/vnd.openxmlformats-officedocument.presentationml.slide+xml"/>
  <Override PartName="/ppt/slides/slide318.xml" ContentType="application/vnd.openxmlformats-officedocument.presentationml.slide+xml"/>
  <Override PartName="/ppt/slides/slide319.xml" ContentType="application/vnd.openxmlformats-officedocument.presentationml.slide+xml"/>
  <Override PartName="/ppt/slides/slide320.xml" ContentType="application/vnd.openxmlformats-officedocument.presentationml.slide+xml"/>
  <Override PartName="/ppt/slides/slide321.xml" ContentType="application/vnd.openxmlformats-officedocument.presentationml.slide+xml"/>
  <Override PartName="/ppt/slides/slide322.xml" ContentType="application/vnd.openxmlformats-officedocument.presentationml.slide+xml"/>
  <Override PartName="/ppt/slides/slide323.xml" ContentType="application/vnd.openxmlformats-officedocument.presentationml.slide+xml"/>
  <Override PartName="/ppt/slides/slide324.xml" ContentType="application/vnd.openxmlformats-officedocument.presentationml.slide+xml"/>
  <Override PartName="/ppt/slides/slide325.xml" ContentType="application/vnd.openxmlformats-officedocument.presentationml.slide+xml"/>
  <Override PartName="/ppt/slides/slide326.xml" ContentType="application/vnd.openxmlformats-officedocument.presentationml.slide+xml"/>
  <Override PartName="/ppt/slides/slide327.xml" ContentType="application/vnd.openxmlformats-officedocument.presentationml.slide+xml"/>
  <Override PartName="/ppt/slides/slide328.xml" ContentType="application/vnd.openxmlformats-officedocument.presentationml.slide+xml"/>
  <Override PartName="/ppt/slides/slide329.xml" ContentType="application/vnd.openxmlformats-officedocument.presentationml.slide+xml"/>
  <Override PartName="/ppt/slides/slide330.xml" ContentType="application/vnd.openxmlformats-officedocument.presentationml.slide+xml"/>
  <Override PartName="/ppt/slides/slide331.xml" ContentType="application/vnd.openxmlformats-officedocument.presentationml.slide+xml"/>
  <Override PartName="/ppt/slides/slide332.xml" ContentType="application/vnd.openxmlformats-officedocument.presentationml.slide+xml"/>
  <Override PartName="/ppt/slides/slide333.xml" ContentType="application/vnd.openxmlformats-officedocument.presentationml.slide+xml"/>
  <Override PartName="/ppt/slides/slide334.xml" ContentType="application/vnd.openxmlformats-officedocument.presentationml.slide+xml"/>
  <Override PartName="/ppt/slides/slide335.xml" ContentType="application/vnd.openxmlformats-officedocument.presentationml.slide+xml"/>
  <Override PartName="/ppt/slides/slide336.xml" ContentType="application/vnd.openxmlformats-officedocument.presentationml.slide+xml"/>
  <Override PartName="/ppt/slides/slide337.xml" ContentType="application/vnd.openxmlformats-officedocument.presentationml.slide+xml"/>
  <Override PartName="/ppt/slides/slide338.xml" ContentType="application/vnd.openxmlformats-officedocument.presentationml.slide+xml"/>
  <Override PartName="/ppt/slides/slide339.xml" ContentType="application/vnd.openxmlformats-officedocument.presentationml.slide+xml"/>
  <Override PartName="/ppt/slides/slide340.xml" ContentType="application/vnd.openxmlformats-officedocument.presentationml.slide+xml"/>
  <Override PartName="/ppt/slides/slide341.xml" ContentType="application/vnd.openxmlformats-officedocument.presentationml.slide+xml"/>
  <Override PartName="/ppt/slides/slide342.xml" ContentType="application/vnd.openxmlformats-officedocument.presentationml.slide+xml"/>
  <Override PartName="/ppt/slides/slide343.xml" ContentType="application/vnd.openxmlformats-officedocument.presentationml.slide+xml"/>
  <Override PartName="/ppt/slides/slide344.xml" ContentType="application/vnd.openxmlformats-officedocument.presentationml.slide+xml"/>
  <Override PartName="/ppt/slides/slide345.xml" ContentType="application/vnd.openxmlformats-officedocument.presentationml.slide+xml"/>
  <Override PartName="/ppt/slides/slide346.xml" ContentType="application/vnd.openxmlformats-officedocument.presentationml.slide+xml"/>
  <Override PartName="/ppt/slides/slide347.xml" ContentType="application/vnd.openxmlformats-officedocument.presentationml.slide+xml"/>
  <Override PartName="/ppt/slides/slide348.xml" ContentType="application/vnd.openxmlformats-officedocument.presentationml.slide+xml"/>
  <Override PartName="/ppt/slides/slide349.xml" ContentType="application/vnd.openxmlformats-officedocument.presentationml.slide+xml"/>
  <Override PartName="/ppt/slides/slide350.xml" ContentType="application/vnd.openxmlformats-officedocument.presentationml.slide+xml"/>
  <Override PartName="/ppt/slides/slide351.xml" ContentType="application/vnd.openxmlformats-officedocument.presentationml.slide+xml"/>
  <Override PartName="/ppt/slides/slide352.xml" ContentType="application/vnd.openxmlformats-officedocument.presentationml.slide+xml"/>
  <Override PartName="/ppt/slides/slide353.xml" ContentType="application/vnd.openxmlformats-officedocument.presentationml.slide+xml"/>
  <Override PartName="/ppt/slides/slide354.xml" ContentType="application/vnd.openxmlformats-officedocument.presentationml.slide+xml"/>
  <Override PartName="/ppt/slides/slide355.xml" ContentType="application/vnd.openxmlformats-officedocument.presentationml.slide+xml"/>
  <Override PartName="/ppt/slides/slide356.xml" ContentType="application/vnd.openxmlformats-officedocument.presentationml.slide+xml"/>
  <Override PartName="/ppt/slides/slide357.xml" ContentType="application/vnd.openxmlformats-officedocument.presentationml.slide+xml"/>
  <Override PartName="/ppt/slides/slide358.xml" ContentType="application/vnd.openxmlformats-officedocument.presentationml.slide+xml"/>
  <Override PartName="/ppt/slides/slide359.xml" ContentType="application/vnd.openxmlformats-officedocument.presentationml.slide+xml"/>
  <Override PartName="/ppt/slides/slide360.xml" ContentType="application/vnd.openxmlformats-officedocument.presentationml.slide+xml"/>
  <Override PartName="/ppt/slides/slide361.xml" ContentType="application/vnd.openxmlformats-officedocument.presentationml.slide+xml"/>
  <Override PartName="/ppt/slides/slide362.xml" ContentType="application/vnd.openxmlformats-officedocument.presentationml.slide+xml"/>
  <Override PartName="/ppt/slides/slide363.xml" ContentType="application/vnd.openxmlformats-officedocument.presentationml.slide+xml"/>
  <Override PartName="/ppt/slides/slide364.xml" ContentType="application/vnd.openxmlformats-officedocument.presentationml.slide+xml"/>
  <Override PartName="/ppt/slides/slide365.xml" ContentType="application/vnd.openxmlformats-officedocument.presentationml.slide+xml"/>
  <Override PartName="/ppt/slides/slide366.xml" ContentType="application/vnd.openxmlformats-officedocument.presentationml.slide+xml"/>
  <Override PartName="/ppt/slides/slide367.xml" ContentType="application/vnd.openxmlformats-officedocument.presentationml.slide+xml"/>
  <Override PartName="/ppt/slides/slide368.xml" ContentType="application/vnd.openxmlformats-officedocument.presentationml.slide+xml"/>
  <Override PartName="/ppt/slides/slide369.xml" ContentType="application/vnd.openxmlformats-officedocument.presentationml.slide+xml"/>
  <Override PartName="/ppt/slides/slide370.xml" ContentType="application/vnd.openxmlformats-officedocument.presentationml.slide+xml"/>
  <Override PartName="/ppt/slides/slide371.xml" ContentType="application/vnd.openxmlformats-officedocument.presentationml.slide+xml"/>
  <Override PartName="/ppt/slides/slide372.xml" ContentType="application/vnd.openxmlformats-officedocument.presentationml.slide+xml"/>
  <Override PartName="/ppt/slides/slide373.xml" ContentType="application/vnd.openxmlformats-officedocument.presentationml.slide+xml"/>
  <Override PartName="/ppt/slides/slide374.xml" ContentType="application/vnd.openxmlformats-officedocument.presentationml.slide+xml"/>
  <Override PartName="/ppt/slides/slide375.xml" ContentType="application/vnd.openxmlformats-officedocument.presentationml.slide+xml"/>
  <Override PartName="/ppt/slides/slide376.xml" ContentType="application/vnd.openxmlformats-officedocument.presentationml.slide+xml"/>
  <Override PartName="/ppt/slides/slide377.xml" ContentType="application/vnd.openxmlformats-officedocument.presentationml.slide+xml"/>
  <Override PartName="/ppt/slides/slide378.xml" ContentType="application/vnd.openxmlformats-officedocument.presentationml.slide+xml"/>
  <Override PartName="/ppt/slides/slide379.xml" ContentType="application/vnd.openxmlformats-officedocument.presentationml.slide+xml"/>
  <Override PartName="/ppt/slides/slide380.xml" ContentType="application/vnd.openxmlformats-officedocument.presentationml.slide+xml"/>
  <Override PartName="/ppt/slides/slide381.xml" ContentType="application/vnd.openxmlformats-officedocument.presentationml.slide+xml"/>
  <Override PartName="/ppt/slides/slide382.xml" ContentType="application/vnd.openxmlformats-officedocument.presentationml.slide+xml"/>
  <Override PartName="/ppt/slides/slide383.xml" ContentType="application/vnd.openxmlformats-officedocument.presentationml.slide+xml"/>
  <Override PartName="/ppt/slides/slide384.xml" ContentType="application/vnd.openxmlformats-officedocument.presentationml.slide+xml"/>
  <Override PartName="/ppt/slides/slide385.xml" ContentType="application/vnd.openxmlformats-officedocument.presentationml.slide+xml"/>
  <Override PartName="/ppt/slides/slide386.xml" ContentType="application/vnd.openxmlformats-officedocument.presentationml.slide+xml"/>
  <Override PartName="/ppt/slides/slide387.xml" ContentType="application/vnd.openxmlformats-officedocument.presentationml.slide+xml"/>
  <Override PartName="/ppt/slides/slide388.xml" ContentType="application/vnd.openxmlformats-officedocument.presentationml.slide+xml"/>
  <Override PartName="/ppt/slides/slide389.xml" ContentType="application/vnd.openxmlformats-officedocument.presentationml.slide+xml"/>
  <Override PartName="/ppt/slides/slide390.xml" ContentType="application/vnd.openxmlformats-officedocument.presentationml.slide+xml"/>
  <Override PartName="/ppt/slides/slide391.xml" ContentType="application/vnd.openxmlformats-officedocument.presentationml.slide+xml"/>
  <Override PartName="/ppt/slides/slide392.xml" ContentType="application/vnd.openxmlformats-officedocument.presentationml.slide+xml"/>
  <Override PartName="/ppt/slides/slide393.xml" ContentType="application/vnd.openxmlformats-officedocument.presentationml.slide+xml"/>
  <Override PartName="/ppt/slides/slide394.xml" ContentType="application/vnd.openxmlformats-officedocument.presentationml.slide+xml"/>
  <Override PartName="/ppt/slides/slide395.xml" ContentType="application/vnd.openxmlformats-officedocument.presentationml.slide+xml"/>
  <Override PartName="/ppt/slides/slide396.xml" ContentType="application/vnd.openxmlformats-officedocument.presentationml.slide+xml"/>
  <Override PartName="/ppt/slides/slide397.xml" ContentType="application/vnd.openxmlformats-officedocument.presentationml.slide+xml"/>
  <Override PartName="/ppt/slides/slide398.xml" ContentType="application/vnd.openxmlformats-officedocument.presentationml.slide+xml"/>
  <Override PartName="/ppt/slides/slide399.xml" ContentType="application/vnd.openxmlformats-officedocument.presentationml.slide+xml"/>
  <Override PartName="/ppt/slides/slide400.xml" ContentType="application/vnd.openxmlformats-officedocument.presentationml.slide+xml"/>
  <Override PartName="/ppt/slides/slide401.xml" ContentType="application/vnd.openxmlformats-officedocument.presentationml.slide+xml"/>
  <Override PartName="/ppt/slides/slide402.xml" ContentType="application/vnd.openxmlformats-officedocument.presentationml.slide+xml"/>
  <Override PartName="/ppt/slides/slide403.xml" ContentType="application/vnd.openxmlformats-officedocument.presentationml.slide+xml"/>
  <Override PartName="/ppt/slides/slide404.xml" ContentType="application/vnd.openxmlformats-officedocument.presentationml.slide+xml"/>
  <Override PartName="/ppt/slides/slide405.xml" ContentType="application/vnd.openxmlformats-officedocument.presentationml.slide+xml"/>
  <Override PartName="/ppt/slides/slide406.xml" ContentType="application/vnd.openxmlformats-officedocument.presentationml.slide+xml"/>
  <Override PartName="/ppt/slides/slide407.xml" ContentType="application/vnd.openxmlformats-officedocument.presentationml.slide+xml"/>
  <Override PartName="/ppt/slides/slide408.xml" ContentType="application/vnd.openxmlformats-officedocument.presentationml.slide+xml"/>
  <Override PartName="/ppt/slides/slide409.xml" ContentType="application/vnd.openxmlformats-officedocument.presentationml.slide+xml"/>
  <Override PartName="/ppt/slides/slide410.xml" ContentType="application/vnd.openxmlformats-officedocument.presentationml.slide+xml"/>
  <Override PartName="/ppt/slides/slide411.xml" ContentType="application/vnd.openxmlformats-officedocument.presentationml.slide+xml"/>
  <Override PartName="/ppt/slides/slide412.xml" ContentType="application/vnd.openxmlformats-officedocument.presentationml.slide+xml"/>
  <Override PartName="/ppt/slides/slide413.xml" ContentType="application/vnd.openxmlformats-officedocument.presentationml.slide+xml"/>
  <Override PartName="/ppt/slides/slide414.xml" ContentType="application/vnd.openxmlformats-officedocument.presentationml.slide+xml"/>
  <Override PartName="/ppt/slides/slide415.xml" ContentType="application/vnd.openxmlformats-officedocument.presentationml.slide+xml"/>
  <Override PartName="/ppt/slides/slide416.xml" ContentType="application/vnd.openxmlformats-officedocument.presentationml.slide+xml"/>
  <Override PartName="/ppt/slides/slide417.xml" ContentType="application/vnd.openxmlformats-officedocument.presentationml.slide+xml"/>
  <Override PartName="/ppt/slides/slide418.xml" ContentType="application/vnd.openxmlformats-officedocument.presentationml.slide+xml"/>
  <Override PartName="/ppt/slides/slide419.xml" ContentType="application/vnd.openxmlformats-officedocument.presentationml.slide+xml"/>
  <Override PartName="/ppt/slides/slide420.xml" ContentType="application/vnd.openxmlformats-officedocument.presentationml.slide+xml"/>
  <Override PartName="/ppt/slides/slide421.xml" ContentType="application/vnd.openxmlformats-officedocument.presentationml.slide+xml"/>
  <Override PartName="/ppt/slides/slide422.xml" ContentType="application/vnd.openxmlformats-officedocument.presentationml.slide+xml"/>
  <Override PartName="/ppt/slides/slide423.xml" ContentType="application/vnd.openxmlformats-officedocument.presentationml.slide+xml"/>
  <Override PartName="/ppt/slides/slide424.xml" ContentType="application/vnd.openxmlformats-officedocument.presentationml.slide+xml"/>
  <Override PartName="/ppt/slides/slide425.xml" ContentType="application/vnd.openxmlformats-officedocument.presentationml.slide+xml"/>
  <Override PartName="/ppt/slides/slide426.xml" ContentType="application/vnd.openxmlformats-officedocument.presentationml.slide+xml"/>
  <Override PartName="/ppt/slides/slide427.xml" ContentType="application/vnd.openxmlformats-officedocument.presentationml.slide+xml"/>
  <Override PartName="/ppt/slides/slide428.xml" ContentType="application/vnd.openxmlformats-officedocument.presentationml.slide+xml"/>
  <Override PartName="/ppt/slides/slide429.xml" ContentType="application/vnd.openxmlformats-officedocument.presentationml.slide+xml"/>
  <Override PartName="/ppt/slides/slide430.xml" ContentType="application/vnd.openxmlformats-officedocument.presentationml.slide+xml"/>
  <Override PartName="/ppt/slides/slide431.xml" ContentType="application/vnd.openxmlformats-officedocument.presentationml.slide+xml"/>
  <Override PartName="/ppt/slides/slide432.xml" ContentType="application/vnd.openxmlformats-officedocument.presentationml.slide+xml"/>
  <Override PartName="/ppt/slides/slide433.xml" ContentType="application/vnd.openxmlformats-officedocument.presentationml.slide+xml"/>
  <Override PartName="/ppt/slides/slide434.xml" ContentType="application/vnd.openxmlformats-officedocument.presentationml.slide+xml"/>
  <Override PartName="/ppt/slides/slide435.xml" ContentType="application/vnd.openxmlformats-officedocument.presentationml.slide+xml"/>
  <Override PartName="/ppt/slides/slide436.xml" ContentType="application/vnd.openxmlformats-officedocument.presentationml.slide+xml"/>
  <Override PartName="/ppt/slides/slide437.xml" ContentType="application/vnd.openxmlformats-officedocument.presentationml.slide+xml"/>
  <Override PartName="/ppt/slides/slide438.xml" ContentType="application/vnd.openxmlformats-officedocument.presentationml.slide+xml"/>
  <Override PartName="/ppt/slides/slide439.xml" ContentType="application/vnd.openxmlformats-officedocument.presentationml.slide+xml"/>
  <Override PartName="/ppt/slides/slide440.xml" ContentType="application/vnd.openxmlformats-officedocument.presentationml.slide+xml"/>
  <Override PartName="/ppt/slides/slide441.xml" ContentType="application/vnd.openxmlformats-officedocument.presentationml.slide+xml"/>
  <Override PartName="/ppt/slides/slide442.xml" ContentType="application/vnd.openxmlformats-officedocument.presentationml.slide+xml"/>
  <Override PartName="/ppt/slides/slide443.xml" ContentType="application/vnd.openxmlformats-officedocument.presentationml.slide+xml"/>
  <Override PartName="/ppt/slides/slide444.xml" ContentType="application/vnd.openxmlformats-officedocument.presentationml.slide+xml"/>
  <Override PartName="/ppt/slides/slide445.xml" ContentType="application/vnd.openxmlformats-officedocument.presentationml.slide+xml"/>
  <Override PartName="/ppt/slides/slide446.xml" ContentType="application/vnd.openxmlformats-officedocument.presentationml.slide+xml"/>
  <Override PartName="/ppt/slides/slide447.xml" ContentType="application/vnd.openxmlformats-officedocument.presentationml.slide+xml"/>
  <Override PartName="/ppt/slides/slide448.xml" ContentType="application/vnd.openxmlformats-officedocument.presentationml.slide+xml"/>
  <Override PartName="/ppt/slides/slide449.xml" ContentType="application/vnd.openxmlformats-officedocument.presentationml.slide+xml"/>
  <Override PartName="/ppt/slides/slide450.xml" ContentType="application/vnd.openxmlformats-officedocument.presentationml.slide+xml"/>
  <Override PartName="/ppt/slides/slide451.xml" ContentType="application/vnd.openxmlformats-officedocument.presentationml.slide+xml"/>
  <Override PartName="/ppt/slides/slide452.xml" ContentType="application/vnd.openxmlformats-officedocument.presentationml.slide+xml"/>
  <Override PartName="/ppt/slides/slide453.xml" ContentType="application/vnd.openxmlformats-officedocument.presentationml.slide+xml"/>
  <Override PartName="/ppt/slides/slide454.xml" ContentType="application/vnd.openxmlformats-officedocument.presentationml.slide+xml"/>
  <Override PartName="/ppt/slides/slide455.xml" ContentType="application/vnd.openxmlformats-officedocument.presentationml.slide+xml"/>
  <Override PartName="/ppt/slides/slide456.xml" ContentType="application/vnd.openxmlformats-officedocument.presentationml.slide+xml"/>
  <Override PartName="/ppt/slides/slide457.xml" ContentType="application/vnd.openxmlformats-officedocument.presentationml.slide+xml"/>
  <Override PartName="/ppt/slides/slide458.xml" ContentType="application/vnd.openxmlformats-officedocument.presentationml.slide+xml"/>
  <Override PartName="/ppt/slides/slide459.xml" ContentType="application/vnd.openxmlformats-officedocument.presentationml.slide+xml"/>
  <Override PartName="/ppt/slides/slide460.xml" ContentType="application/vnd.openxmlformats-officedocument.presentationml.slide+xml"/>
  <Override PartName="/ppt/slides/slide461.xml" ContentType="application/vnd.openxmlformats-officedocument.presentationml.slide+xml"/>
  <Override PartName="/ppt/slides/slide462.xml" ContentType="application/vnd.openxmlformats-officedocument.presentationml.slide+xml"/>
  <Override PartName="/ppt/slides/slide463.xml" ContentType="application/vnd.openxmlformats-officedocument.presentationml.slide+xml"/>
  <Override PartName="/ppt/slides/slide464.xml" ContentType="application/vnd.openxmlformats-officedocument.presentationml.slide+xml"/>
  <Override PartName="/ppt/slides/slide465.xml" ContentType="application/vnd.openxmlformats-officedocument.presentationml.slide+xml"/>
  <Override PartName="/ppt/slides/slide466.xml" ContentType="application/vnd.openxmlformats-officedocument.presentationml.slide+xml"/>
  <Override PartName="/ppt/slides/slide467.xml" ContentType="application/vnd.openxmlformats-officedocument.presentationml.slide+xml"/>
  <Override PartName="/ppt/slides/slide468.xml" ContentType="application/vnd.openxmlformats-officedocument.presentationml.slide+xml"/>
  <Override PartName="/ppt/slides/slide469.xml" ContentType="application/vnd.openxmlformats-officedocument.presentationml.slide+xml"/>
  <Override PartName="/ppt/slides/slide470.xml" ContentType="application/vnd.openxmlformats-officedocument.presentationml.slide+xml"/>
  <Override PartName="/ppt/slides/slide471.xml" ContentType="application/vnd.openxmlformats-officedocument.presentationml.slide+xml"/>
  <Override PartName="/ppt/slides/slide472.xml" ContentType="application/vnd.openxmlformats-officedocument.presentationml.slide+xml"/>
  <Override PartName="/ppt/slides/slide473.xml" ContentType="application/vnd.openxmlformats-officedocument.presentationml.slide+xml"/>
  <Override PartName="/ppt/slides/slide474.xml" ContentType="application/vnd.openxmlformats-officedocument.presentationml.slide+xml"/>
  <Override PartName="/ppt/slides/slide475.xml" ContentType="application/vnd.openxmlformats-officedocument.presentationml.slide+xml"/>
  <Override PartName="/ppt/slides/slide476.xml" ContentType="application/vnd.openxmlformats-officedocument.presentationml.slide+xml"/>
  <Override PartName="/ppt/slides/slide477.xml" ContentType="application/vnd.openxmlformats-officedocument.presentationml.slide+xml"/>
  <Override PartName="/ppt/slides/slide478.xml" ContentType="application/vnd.openxmlformats-officedocument.presentationml.slide+xml"/>
  <Override PartName="/ppt/slides/slide479.xml" ContentType="application/vnd.openxmlformats-officedocument.presentationml.slide+xml"/>
  <Override PartName="/ppt/slides/slide480.xml" ContentType="application/vnd.openxmlformats-officedocument.presentationml.slide+xml"/>
  <Override PartName="/ppt/slides/slide481.xml" ContentType="application/vnd.openxmlformats-officedocument.presentationml.slide+xml"/>
  <Override PartName="/ppt/slides/slide482.xml" ContentType="application/vnd.openxmlformats-officedocument.presentationml.slide+xml"/>
  <Override PartName="/ppt/slides/slide483.xml" ContentType="application/vnd.openxmlformats-officedocument.presentationml.slide+xml"/>
  <Override PartName="/ppt/slides/slide484.xml" ContentType="application/vnd.openxmlformats-officedocument.presentationml.slide+xml"/>
  <Override PartName="/ppt/slides/slide485.xml" ContentType="application/vnd.openxmlformats-officedocument.presentationml.slide+xml"/>
  <Override PartName="/ppt/slides/slide486.xml" ContentType="application/vnd.openxmlformats-officedocument.presentationml.slide+xml"/>
  <Override PartName="/ppt/slides/slide487.xml" ContentType="application/vnd.openxmlformats-officedocument.presentationml.slide+xml"/>
  <Override PartName="/ppt/slides/slide488.xml" ContentType="application/vnd.openxmlformats-officedocument.presentationml.slide+xml"/>
  <Override PartName="/ppt/slides/slide489.xml" ContentType="application/vnd.openxmlformats-officedocument.presentationml.slide+xml"/>
  <Override PartName="/ppt/slides/slide490.xml" ContentType="application/vnd.openxmlformats-officedocument.presentationml.slide+xml"/>
  <Override PartName="/ppt/slides/slide491.xml" ContentType="application/vnd.openxmlformats-officedocument.presentationml.slide+xml"/>
  <Override PartName="/ppt/slides/slide492.xml" ContentType="application/vnd.openxmlformats-officedocument.presentationml.slide+xml"/>
  <Override PartName="/ppt/slides/slide493.xml" ContentType="application/vnd.openxmlformats-officedocument.presentationml.slide+xml"/>
  <Override PartName="/ppt/slides/slide494.xml" ContentType="application/vnd.openxmlformats-officedocument.presentationml.slide+xml"/>
  <Override PartName="/ppt/slides/slide495.xml" ContentType="application/vnd.openxmlformats-officedocument.presentationml.slide+xml"/>
  <Override PartName="/ppt/slides/slide496.xml" ContentType="application/vnd.openxmlformats-officedocument.presentationml.slide+xml"/>
  <Override PartName="/ppt/slides/slide497.xml" ContentType="application/vnd.openxmlformats-officedocument.presentationml.slide+xml"/>
  <Override PartName="/ppt/slides/slide498.xml" ContentType="application/vnd.openxmlformats-officedocument.presentationml.slide+xml"/>
  <Override PartName="/ppt/slides/slide499.xml" ContentType="application/vnd.openxmlformats-officedocument.presentationml.slide+xml"/>
  <Override PartName="/ppt/slides/slide500.xml" ContentType="application/vnd.openxmlformats-officedocument.presentationml.slide+xml"/>
  <Override PartName="/ppt/slides/slide501.xml" ContentType="application/vnd.openxmlformats-officedocument.presentationml.slide+xml"/>
  <Override PartName="/ppt/slides/slide502.xml" ContentType="application/vnd.openxmlformats-officedocument.presentationml.slide+xml"/>
  <Override PartName="/ppt/slides/slide503.xml" ContentType="application/vnd.openxmlformats-officedocument.presentationml.slide+xml"/>
  <Override PartName="/ppt/slides/slide504.xml" ContentType="application/vnd.openxmlformats-officedocument.presentationml.slide+xml"/>
  <Override PartName="/ppt/slides/slide505.xml" ContentType="application/vnd.openxmlformats-officedocument.presentationml.slide+xml"/>
  <Override PartName="/ppt/slides/slide506.xml" ContentType="application/vnd.openxmlformats-officedocument.presentationml.slide+xml"/>
  <Override PartName="/ppt/slides/slide507.xml" ContentType="application/vnd.openxmlformats-officedocument.presentationml.slide+xml"/>
  <Override PartName="/ppt/slides/slide508.xml" ContentType="application/vnd.openxmlformats-officedocument.presentationml.slide+xml"/>
  <Override PartName="/ppt/slides/slide509.xml" ContentType="application/vnd.openxmlformats-officedocument.presentationml.slide+xml"/>
  <Override PartName="/ppt/slides/slide510.xml" ContentType="application/vnd.openxmlformats-officedocument.presentationml.slide+xml"/>
  <Override PartName="/ppt/slides/slide511.xml" ContentType="application/vnd.openxmlformats-officedocument.presentationml.slide+xml"/>
  <Override PartName="/ppt/slides/slide512.xml" ContentType="application/vnd.openxmlformats-officedocument.presentationml.slide+xml"/>
  <Override PartName="/ppt/slides/slide513.xml" ContentType="application/vnd.openxmlformats-officedocument.presentationml.slide+xml"/>
  <Override PartName="/ppt/slides/slide514.xml" ContentType="application/vnd.openxmlformats-officedocument.presentationml.slide+xml"/>
  <Override PartName="/ppt/slides/slide515.xml" ContentType="application/vnd.openxmlformats-officedocument.presentationml.slide+xml"/>
  <Override PartName="/ppt/slides/slide516.xml" ContentType="application/vnd.openxmlformats-officedocument.presentationml.slide+xml"/>
  <Override PartName="/ppt/slides/slide517.xml" ContentType="application/vnd.openxmlformats-officedocument.presentationml.slide+xml"/>
  <Override PartName="/ppt/slides/slide518.xml" ContentType="application/vnd.openxmlformats-officedocument.presentationml.slide+xml"/>
  <Override PartName="/ppt/slides/slide519.xml" ContentType="application/vnd.openxmlformats-officedocument.presentationml.slide+xml"/>
  <Override PartName="/ppt/slides/slide520.xml" ContentType="application/vnd.openxmlformats-officedocument.presentationml.slide+xml"/>
  <Override PartName="/ppt/slides/slide521.xml" ContentType="application/vnd.openxmlformats-officedocument.presentationml.slide+xml"/>
  <Override PartName="/ppt/slides/slide522.xml" ContentType="application/vnd.openxmlformats-officedocument.presentationml.slide+xml"/>
  <Override PartName="/ppt/slides/slide523.xml" ContentType="application/vnd.openxmlformats-officedocument.presentationml.slide+xml"/>
  <Override PartName="/ppt/slides/slide524.xml" ContentType="application/vnd.openxmlformats-officedocument.presentationml.slide+xml"/>
  <Override PartName="/ppt/slides/slide525.xml" ContentType="application/vnd.openxmlformats-officedocument.presentationml.slide+xml"/>
  <Override PartName="/ppt/slides/slide526.xml" ContentType="application/vnd.openxmlformats-officedocument.presentationml.slide+xml"/>
  <Override PartName="/ppt/slides/slide527.xml" ContentType="application/vnd.openxmlformats-officedocument.presentationml.slide+xml"/>
  <Override PartName="/ppt/slides/slide528.xml" ContentType="application/vnd.openxmlformats-officedocument.presentationml.slide+xml"/>
  <Override PartName="/ppt/slides/slide529.xml" ContentType="application/vnd.openxmlformats-officedocument.presentationml.slide+xml"/>
  <Override PartName="/ppt/slides/slide530.xml" ContentType="application/vnd.openxmlformats-officedocument.presentationml.slide+xml"/>
  <Override PartName="/ppt/slides/slide531.xml" ContentType="application/vnd.openxmlformats-officedocument.presentationml.slide+xml"/>
  <Override PartName="/ppt/slides/slide532.xml" ContentType="application/vnd.openxmlformats-officedocument.presentationml.slide+xml"/>
  <Override PartName="/ppt/slides/slide533.xml" ContentType="application/vnd.openxmlformats-officedocument.presentationml.slide+xml"/>
  <Override PartName="/ppt/slides/slide534.xml" ContentType="application/vnd.openxmlformats-officedocument.presentationml.slide+xml"/>
  <Override PartName="/ppt/slides/slide535.xml" ContentType="application/vnd.openxmlformats-officedocument.presentationml.slide+xml"/>
  <Override PartName="/ppt/slides/slide536.xml" ContentType="application/vnd.openxmlformats-officedocument.presentationml.slide+xml"/>
  <Override PartName="/ppt/slides/slide537.xml" ContentType="application/vnd.openxmlformats-officedocument.presentationml.slide+xml"/>
  <Override PartName="/ppt/slides/slide538.xml" ContentType="application/vnd.openxmlformats-officedocument.presentationml.slide+xml"/>
  <Override PartName="/ppt/slides/slide539.xml" ContentType="application/vnd.openxmlformats-officedocument.presentationml.slide+xml"/>
  <Override PartName="/ppt/slides/slide540.xml" ContentType="application/vnd.openxmlformats-officedocument.presentationml.slide+xml"/>
  <Override PartName="/ppt/slides/slide541.xml" ContentType="application/vnd.openxmlformats-officedocument.presentationml.slide+xml"/>
  <Override PartName="/ppt/slides/slide542.xml" ContentType="application/vnd.openxmlformats-officedocument.presentationml.slide+xml"/>
  <Override PartName="/ppt/slides/slide543.xml" ContentType="application/vnd.openxmlformats-officedocument.presentationml.slide+xml"/>
  <Override PartName="/ppt/slides/slide544.xml" ContentType="application/vnd.openxmlformats-officedocument.presentationml.slide+xml"/>
  <Override PartName="/ppt/slides/slide545.xml" ContentType="application/vnd.openxmlformats-officedocument.presentationml.slide+xml"/>
  <Override PartName="/ppt/slides/slide546.xml" ContentType="application/vnd.openxmlformats-officedocument.presentationml.slide+xml"/>
  <Override PartName="/ppt/slides/slide547.xml" ContentType="application/vnd.openxmlformats-officedocument.presentationml.slide+xml"/>
  <Override PartName="/ppt/slides/slide548.xml" ContentType="application/vnd.openxmlformats-officedocument.presentationml.slide+xml"/>
  <Override PartName="/ppt/slides/slide549.xml" ContentType="application/vnd.openxmlformats-officedocument.presentationml.slide+xml"/>
  <Override PartName="/ppt/slides/slide550.xml" ContentType="application/vnd.openxmlformats-officedocument.presentationml.slide+xml"/>
  <Override PartName="/ppt/slides/slide551.xml" ContentType="application/vnd.openxmlformats-officedocument.presentationml.slide+xml"/>
  <Override PartName="/ppt/slides/slide552.xml" ContentType="application/vnd.openxmlformats-officedocument.presentationml.slide+xml"/>
  <Override PartName="/ppt/slides/slide553.xml" ContentType="application/vnd.openxmlformats-officedocument.presentationml.slide+xml"/>
  <Override PartName="/ppt/slides/slide554.xml" ContentType="application/vnd.openxmlformats-officedocument.presentationml.slide+xml"/>
  <Override PartName="/ppt/slides/slide555.xml" ContentType="application/vnd.openxmlformats-officedocument.presentationml.slide+xml"/>
  <Override PartName="/ppt/slides/slide556.xml" ContentType="application/vnd.openxmlformats-officedocument.presentationml.slide+xml"/>
  <Override PartName="/ppt/slides/slide557.xml" ContentType="application/vnd.openxmlformats-officedocument.presentationml.slide+xml"/>
  <Override PartName="/ppt/slides/slide558.xml" ContentType="application/vnd.openxmlformats-officedocument.presentationml.slide+xml"/>
  <Override PartName="/ppt/slides/slide559.xml" ContentType="application/vnd.openxmlformats-officedocument.presentationml.slide+xml"/>
  <Override PartName="/ppt/slides/slide560.xml" ContentType="application/vnd.openxmlformats-officedocument.presentationml.slide+xml"/>
  <Override PartName="/ppt/slides/slide561.xml" ContentType="application/vnd.openxmlformats-officedocument.presentationml.slide+xml"/>
  <Override PartName="/ppt/slides/slide562.xml" ContentType="application/vnd.openxmlformats-officedocument.presentationml.slide+xml"/>
  <Override PartName="/ppt/slides/slide563.xml" ContentType="application/vnd.openxmlformats-officedocument.presentationml.slide+xml"/>
  <Override PartName="/ppt/slides/slide564.xml" ContentType="application/vnd.openxmlformats-officedocument.presentationml.slide+xml"/>
  <Override PartName="/ppt/slides/slide565.xml" ContentType="application/vnd.openxmlformats-officedocument.presentationml.slide+xml"/>
  <Override PartName="/ppt/slides/slide566.xml" ContentType="application/vnd.openxmlformats-officedocument.presentationml.slide+xml"/>
  <Override PartName="/ppt/slides/slide567.xml" ContentType="application/vnd.openxmlformats-officedocument.presentationml.slide+xml"/>
  <Override PartName="/ppt/slides/slide568.xml" ContentType="application/vnd.openxmlformats-officedocument.presentationml.slide+xml"/>
  <Override PartName="/ppt/slides/slide569.xml" ContentType="application/vnd.openxmlformats-officedocument.presentationml.slide+xml"/>
  <Override PartName="/ppt/slides/slide570.xml" ContentType="application/vnd.openxmlformats-officedocument.presentationml.slide+xml"/>
  <Override PartName="/ppt/slides/slide571.xml" ContentType="application/vnd.openxmlformats-officedocument.presentationml.slide+xml"/>
  <Override PartName="/ppt/slides/slide572.xml" ContentType="application/vnd.openxmlformats-officedocument.presentationml.slide+xml"/>
  <Override PartName="/ppt/slides/slide573.xml" ContentType="application/vnd.openxmlformats-officedocument.presentationml.slide+xml"/>
  <Override PartName="/ppt/slides/slide574.xml" ContentType="application/vnd.openxmlformats-officedocument.presentationml.slide+xml"/>
  <Override PartName="/ppt/slides/slide575.xml" ContentType="application/vnd.openxmlformats-officedocument.presentationml.slide+xml"/>
  <Override PartName="/ppt/slides/slide576.xml" ContentType="application/vnd.openxmlformats-officedocument.presentationml.slide+xml"/>
  <Override PartName="/ppt/slides/slide577.xml" ContentType="application/vnd.openxmlformats-officedocument.presentationml.slide+xml"/>
  <Override PartName="/ppt/slides/slide578.xml" ContentType="application/vnd.openxmlformats-officedocument.presentationml.slide+xml"/>
  <Override PartName="/ppt/slides/slide579.xml" ContentType="application/vnd.openxmlformats-officedocument.presentationml.slide+xml"/>
  <Override PartName="/ppt/slides/slide580.xml" ContentType="application/vnd.openxmlformats-officedocument.presentationml.slide+xml"/>
  <Override PartName="/ppt/slides/slide581.xml" ContentType="application/vnd.openxmlformats-officedocument.presentationml.slide+xml"/>
  <Override PartName="/ppt/slides/slide582.xml" ContentType="application/vnd.openxmlformats-officedocument.presentationml.slide+xml"/>
  <Override PartName="/ppt/slides/slide583.xml" ContentType="application/vnd.openxmlformats-officedocument.presentationml.slide+xml"/>
  <Override PartName="/ppt/slides/slide584.xml" ContentType="application/vnd.openxmlformats-officedocument.presentationml.slide+xml"/>
  <Override PartName="/ppt/slides/slide585.xml" ContentType="application/vnd.openxmlformats-officedocument.presentationml.slide+xml"/>
  <Override PartName="/ppt/slides/slide586.xml" ContentType="application/vnd.openxmlformats-officedocument.presentationml.slide+xml"/>
  <Override PartName="/ppt/slides/slide587.xml" ContentType="application/vnd.openxmlformats-officedocument.presentationml.slide+xml"/>
  <Override PartName="/ppt/slides/slide588.xml" ContentType="application/vnd.openxmlformats-officedocument.presentationml.slide+xml"/>
  <Override PartName="/ppt/slides/slide589.xml" ContentType="application/vnd.openxmlformats-officedocument.presentationml.slide+xml"/>
  <Override PartName="/ppt/slides/slide590.xml" ContentType="application/vnd.openxmlformats-officedocument.presentationml.slide+xml"/>
  <Override PartName="/ppt/slides/slide591.xml" ContentType="application/vnd.openxmlformats-officedocument.presentationml.slide+xml"/>
  <Override PartName="/ppt/slides/slide592.xml" ContentType="application/vnd.openxmlformats-officedocument.presentationml.slide+xml"/>
  <Override PartName="/ppt/slides/slide593.xml" ContentType="application/vnd.openxmlformats-officedocument.presentationml.slide+xml"/>
  <Override PartName="/ppt/slides/slide594.xml" ContentType="application/vnd.openxmlformats-officedocument.presentationml.slide+xml"/>
  <Override PartName="/ppt/slides/slide595.xml" ContentType="application/vnd.openxmlformats-officedocument.presentationml.slide+xml"/>
  <Override PartName="/ppt/slides/slide596.xml" ContentType="application/vnd.openxmlformats-officedocument.presentationml.slide+xml"/>
  <Override PartName="/ppt/slides/slide597.xml" ContentType="application/vnd.openxmlformats-officedocument.presentationml.slide+xml"/>
  <Override PartName="/ppt/slides/slide598.xml" ContentType="application/vnd.openxmlformats-officedocument.presentationml.slide+xml"/>
  <Override PartName="/ppt/slides/slide599.xml" ContentType="application/vnd.openxmlformats-officedocument.presentationml.slide+xml"/>
  <Override PartName="/ppt/slides/slide600.xml" ContentType="application/vnd.openxmlformats-officedocument.presentationml.slide+xml"/>
  <Override PartName="/ppt/slides/slide601.xml" ContentType="application/vnd.openxmlformats-officedocument.presentationml.slide+xml"/>
  <Override PartName="/ppt/slides/slide602.xml" ContentType="application/vnd.openxmlformats-officedocument.presentationml.slide+xml"/>
  <Override PartName="/ppt/slides/slide603.xml" ContentType="application/vnd.openxmlformats-officedocument.presentationml.slide+xml"/>
  <Override PartName="/ppt/slides/slide604.xml" ContentType="application/vnd.openxmlformats-officedocument.presentationml.slide+xml"/>
  <Override PartName="/ppt/slides/slide605.xml" ContentType="application/vnd.openxmlformats-officedocument.presentationml.slide+xml"/>
  <Override PartName="/ppt/slides/slide606.xml" ContentType="application/vnd.openxmlformats-officedocument.presentationml.slide+xml"/>
  <Override PartName="/ppt/slides/slide607.xml" ContentType="application/vnd.openxmlformats-officedocument.presentationml.slide+xml"/>
  <Override PartName="/ppt/slides/slide608.xml" ContentType="application/vnd.openxmlformats-officedocument.presentationml.slide+xml"/>
  <Override PartName="/ppt/slides/slide609.xml" ContentType="application/vnd.openxmlformats-officedocument.presentationml.slide+xml"/>
  <Override PartName="/ppt/slides/slide610.xml" ContentType="application/vnd.openxmlformats-officedocument.presentationml.slide+xml"/>
  <Override PartName="/ppt/slides/slide611.xml" ContentType="application/vnd.openxmlformats-officedocument.presentationml.slide+xml"/>
  <Override PartName="/ppt/slides/slide612.xml" ContentType="application/vnd.openxmlformats-officedocument.presentationml.slide+xml"/>
  <Override PartName="/ppt/slides/slide613.xml" ContentType="application/vnd.openxmlformats-officedocument.presentationml.slide+xml"/>
  <Override PartName="/ppt/slides/slide614.xml" ContentType="application/vnd.openxmlformats-officedocument.presentationml.slide+xml"/>
  <Override PartName="/ppt/slides/slide615.xml" ContentType="application/vnd.openxmlformats-officedocument.presentationml.slide+xml"/>
  <Override PartName="/ppt/slides/slide616.xml" ContentType="application/vnd.openxmlformats-officedocument.presentationml.slide+xml"/>
  <Override PartName="/ppt/slides/slide617.xml" ContentType="application/vnd.openxmlformats-officedocument.presentationml.slide+xml"/>
  <Override PartName="/ppt/slides/slide618.xml" ContentType="application/vnd.openxmlformats-officedocument.presentationml.slide+xml"/>
  <Override PartName="/ppt/slides/slide619.xml" ContentType="application/vnd.openxmlformats-officedocument.presentationml.slide+xml"/>
  <Override PartName="/ppt/slides/slide620.xml" ContentType="application/vnd.openxmlformats-officedocument.presentationml.slide+xml"/>
  <Override PartName="/ppt/slides/slide621.xml" ContentType="application/vnd.openxmlformats-officedocument.presentationml.slide+xml"/>
  <Override PartName="/ppt/slides/slide622.xml" ContentType="application/vnd.openxmlformats-officedocument.presentationml.slide+xml"/>
  <Override PartName="/ppt/slides/slide623.xml" ContentType="application/vnd.openxmlformats-officedocument.presentationml.slide+xml"/>
  <Override PartName="/ppt/slides/slide624.xml" ContentType="application/vnd.openxmlformats-officedocument.presentationml.slide+xml"/>
  <Override PartName="/ppt/slides/slide625.xml" ContentType="application/vnd.openxmlformats-officedocument.presentationml.slide+xml"/>
  <Override PartName="/ppt/slides/slide626.xml" ContentType="application/vnd.openxmlformats-officedocument.presentationml.slide+xml"/>
  <Override PartName="/ppt/slides/slide627.xml" ContentType="application/vnd.openxmlformats-officedocument.presentationml.slide+xml"/>
  <Override PartName="/ppt/slides/slide628.xml" ContentType="application/vnd.openxmlformats-officedocument.presentationml.slide+xml"/>
  <Override PartName="/ppt/slides/slide629.xml" ContentType="application/vnd.openxmlformats-officedocument.presentationml.slide+xml"/>
  <Override PartName="/ppt/slides/slide630.xml" ContentType="application/vnd.openxmlformats-officedocument.presentationml.slide+xml"/>
  <Override PartName="/ppt/slides/slide631.xml" ContentType="application/vnd.openxmlformats-officedocument.presentationml.slide+xml"/>
  <Override PartName="/ppt/slides/slide632.xml" ContentType="application/vnd.openxmlformats-officedocument.presentationml.slide+xml"/>
  <Override PartName="/ppt/slides/slide633.xml" ContentType="application/vnd.openxmlformats-officedocument.presentationml.slide+xml"/>
  <Override PartName="/ppt/slides/slide634.xml" ContentType="application/vnd.openxmlformats-officedocument.presentationml.slide+xml"/>
  <Override PartName="/ppt/slides/slide635.xml" ContentType="application/vnd.openxmlformats-officedocument.presentationml.slide+xml"/>
  <Override PartName="/ppt/slides/slide636.xml" ContentType="application/vnd.openxmlformats-officedocument.presentationml.slide+xml"/>
  <Override PartName="/ppt/slides/slide637.xml" ContentType="application/vnd.openxmlformats-officedocument.presentationml.slide+xml"/>
  <Override PartName="/ppt/slides/slide638.xml" ContentType="application/vnd.openxmlformats-officedocument.presentationml.slide+xml"/>
  <Override PartName="/ppt/slides/slide639.xml" ContentType="application/vnd.openxmlformats-officedocument.presentationml.slide+xml"/>
  <Override PartName="/ppt/slides/slide640.xml" ContentType="application/vnd.openxmlformats-officedocument.presentationml.slide+xml"/>
  <Override PartName="/ppt/slides/slide641.xml" ContentType="application/vnd.openxmlformats-officedocument.presentationml.slide+xml"/>
  <Override PartName="/ppt/slides/slide642.xml" ContentType="application/vnd.openxmlformats-officedocument.presentationml.slide+xml"/>
  <Override PartName="/ppt/slides/slide643.xml" ContentType="application/vnd.openxmlformats-officedocument.presentationml.slide+xml"/>
  <Override PartName="/ppt/slides/slide644.xml" ContentType="application/vnd.openxmlformats-officedocument.presentationml.slide+xml"/>
  <Override PartName="/ppt/slides/slide645.xml" ContentType="application/vnd.openxmlformats-officedocument.presentationml.slide+xml"/>
  <Override PartName="/ppt/slides/slide646.xml" ContentType="application/vnd.openxmlformats-officedocument.presentationml.slide+xml"/>
  <Override PartName="/ppt/slides/slide647.xml" ContentType="application/vnd.openxmlformats-officedocument.presentationml.slide+xml"/>
  <Override PartName="/ppt/slides/slide648.xml" ContentType="application/vnd.openxmlformats-officedocument.presentationml.slide+xml"/>
  <Override PartName="/ppt/slides/slide649.xml" ContentType="application/vnd.openxmlformats-officedocument.presentationml.slide+xml"/>
  <Override PartName="/ppt/slides/slide650.xml" ContentType="application/vnd.openxmlformats-officedocument.presentationml.slide+xml"/>
  <Override PartName="/ppt/slides/slide651.xml" ContentType="application/vnd.openxmlformats-officedocument.presentationml.slide+xml"/>
  <Override PartName="/ppt/slides/slide652.xml" ContentType="application/vnd.openxmlformats-officedocument.presentationml.slide+xml"/>
  <Override PartName="/ppt/slides/slide653.xml" ContentType="application/vnd.openxmlformats-officedocument.presentationml.slide+xml"/>
  <Override PartName="/ppt/slides/slide654.xml" ContentType="application/vnd.openxmlformats-officedocument.presentationml.slide+xml"/>
  <Override PartName="/ppt/slides/slide655.xml" ContentType="application/vnd.openxmlformats-officedocument.presentationml.slide+xml"/>
  <Override PartName="/ppt/slides/slide656.xml" ContentType="application/vnd.openxmlformats-officedocument.presentationml.slide+xml"/>
  <Override PartName="/ppt/slides/slide657.xml" ContentType="application/vnd.openxmlformats-officedocument.presentationml.slide+xml"/>
  <Override PartName="/ppt/slides/slide658.xml" ContentType="application/vnd.openxmlformats-officedocument.presentationml.slide+xml"/>
  <Override PartName="/ppt/slides/slide659.xml" ContentType="application/vnd.openxmlformats-officedocument.presentationml.slide+xml"/>
  <Override PartName="/ppt/slides/slide660.xml" ContentType="application/vnd.openxmlformats-officedocument.presentationml.slide+xml"/>
  <Override PartName="/ppt/slides/slide661.xml" ContentType="application/vnd.openxmlformats-officedocument.presentationml.slide+xml"/>
  <Override PartName="/ppt/slides/slide662.xml" ContentType="application/vnd.openxmlformats-officedocument.presentationml.slide+xml"/>
  <Override PartName="/ppt/slides/slide663.xml" ContentType="application/vnd.openxmlformats-officedocument.presentationml.slide+xml"/>
  <Override PartName="/ppt/slides/slide664.xml" ContentType="application/vnd.openxmlformats-officedocument.presentationml.slide+xml"/>
  <Override PartName="/ppt/slides/slide665.xml" ContentType="application/vnd.openxmlformats-officedocument.presentationml.slide+xml"/>
  <Override PartName="/ppt/slides/slide666.xml" ContentType="application/vnd.openxmlformats-officedocument.presentationml.slide+xml"/>
  <Override PartName="/ppt/slides/slide667.xml" ContentType="application/vnd.openxmlformats-officedocument.presentationml.slide+xml"/>
  <Override PartName="/ppt/slides/slide668.xml" ContentType="application/vnd.openxmlformats-officedocument.presentationml.slide+xml"/>
  <Override PartName="/ppt/slides/slide669.xml" ContentType="application/vnd.openxmlformats-officedocument.presentationml.slide+xml"/>
  <Override PartName="/ppt/slides/slide670.xml" ContentType="application/vnd.openxmlformats-officedocument.presentationml.slide+xml"/>
  <Override PartName="/ppt/slides/slide671.xml" ContentType="application/vnd.openxmlformats-officedocument.presentationml.slide+xml"/>
  <Override PartName="/ppt/slides/slide672.xml" ContentType="application/vnd.openxmlformats-officedocument.presentationml.slide+xml"/>
  <Override PartName="/ppt/slides/slide673.xml" ContentType="application/vnd.openxmlformats-officedocument.presentationml.slide+xml"/>
  <Override PartName="/ppt/slides/slide674.xml" ContentType="application/vnd.openxmlformats-officedocument.presentationml.slide+xml"/>
  <Override PartName="/ppt/slides/slide675.xml" ContentType="application/vnd.openxmlformats-officedocument.presentationml.slide+xml"/>
  <Override PartName="/ppt/slides/slide676.xml" ContentType="application/vnd.openxmlformats-officedocument.presentationml.slide+xml"/>
  <Override PartName="/ppt/slides/slide677.xml" ContentType="application/vnd.openxmlformats-officedocument.presentationml.slide+xml"/>
  <Override PartName="/ppt/slides/slide678.xml" ContentType="application/vnd.openxmlformats-officedocument.presentationml.slide+xml"/>
  <Override PartName="/ppt/slides/slide679.xml" ContentType="application/vnd.openxmlformats-officedocument.presentationml.slide+xml"/>
  <Override PartName="/ppt/slides/slide680.xml" ContentType="application/vnd.openxmlformats-officedocument.presentationml.slide+xml"/>
  <Override PartName="/ppt/slides/slide681.xml" ContentType="application/vnd.openxmlformats-officedocument.presentationml.slide+xml"/>
  <Override PartName="/ppt/slides/slide682.xml" ContentType="application/vnd.openxmlformats-officedocument.presentationml.slide+xml"/>
  <Override PartName="/ppt/slides/slide683.xml" ContentType="application/vnd.openxmlformats-officedocument.presentationml.slide+xml"/>
  <Override PartName="/ppt/slides/slide684.xml" ContentType="application/vnd.openxmlformats-officedocument.presentationml.slide+xml"/>
  <Override PartName="/ppt/slides/slide685.xml" ContentType="application/vnd.openxmlformats-officedocument.presentationml.slide+xml"/>
  <Override PartName="/ppt/slides/slide686.xml" ContentType="application/vnd.openxmlformats-officedocument.presentationml.slide+xml"/>
  <Override PartName="/ppt/slides/slide687.xml" ContentType="application/vnd.openxmlformats-officedocument.presentationml.slide+xml"/>
  <Override PartName="/ppt/slides/slide688.xml" ContentType="application/vnd.openxmlformats-officedocument.presentationml.slide+xml"/>
  <Override PartName="/ppt/slides/slide689.xml" ContentType="application/vnd.openxmlformats-officedocument.presentationml.slide+xml"/>
  <Override PartName="/ppt/slides/slide690.xml" ContentType="application/vnd.openxmlformats-officedocument.presentationml.slide+xml"/>
  <Override PartName="/ppt/slides/slide691.xml" ContentType="application/vnd.openxmlformats-officedocument.presentationml.slide+xml"/>
  <Override PartName="/ppt/slides/slide692.xml" ContentType="application/vnd.openxmlformats-officedocument.presentationml.slide+xml"/>
  <Override PartName="/ppt/slides/slide693.xml" ContentType="application/vnd.openxmlformats-officedocument.presentationml.slide+xml"/>
  <Override PartName="/ppt/slides/slide694.xml" ContentType="application/vnd.openxmlformats-officedocument.presentationml.slide+xml"/>
  <Override PartName="/ppt/slides/slide695.xml" ContentType="application/vnd.openxmlformats-officedocument.presentationml.slide+xml"/>
  <Override PartName="/ppt/slides/slide696.xml" ContentType="application/vnd.openxmlformats-officedocument.presentationml.slide+xml"/>
  <Override PartName="/ppt/slides/slide697.xml" ContentType="application/vnd.openxmlformats-officedocument.presentationml.slide+xml"/>
  <Override PartName="/ppt/slides/slide698.xml" ContentType="application/vnd.openxmlformats-officedocument.presentationml.slide+xml"/>
  <Override PartName="/ppt/slides/slide699.xml" ContentType="application/vnd.openxmlformats-officedocument.presentationml.slide+xml"/>
  <Override PartName="/ppt/slides/slide700.xml" ContentType="application/vnd.openxmlformats-officedocument.presentationml.slide+xml"/>
  <Override PartName="/ppt/slides/slide701.xml" ContentType="application/vnd.openxmlformats-officedocument.presentationml.slide+xml"/>
  <Override PartName="/ppt/slides/slide702.xml" ContentType="application/vnd.openxmlformats-officedocument.presentationml.slide+xml"/>
  <Override PartName="/ppt/slides/slide703.xml" ContentType="application/vnd.openxmlformats-officedocument.presentationml.slide+xml"/>
  <Override PartName="/ppt/slides/slide704.xml" ContentType="application/vnd.openxmlformats-officedocument.presentationml.slide+xml"/>
  <Override PartName="/ppt/slides/slide705.xml" ContentType="application/vnd.openxmlformats-officedocument.presentationml.slide+xml"/>
  <Override PartName="/ppt/slides/slide706.xml" ContentType="application/vnd.openxmlformats-officedocument.presentationml.slide+xml"/>
  <Override PartName="/ppt/slides/slide707.xml" ContentType="application/vnd.openxmlformats-officedocument.presentationml.slide+xml"/>
  <Override PartName="/ppt/slides/slide708.xml" ContentType="application/vnd.openxmlformats-officedocument.presentationml.slide+xml"/>
  <Override PartName="/ppt/slides/slide709.xml" ContentType="application/vnd.openxmlformats-officedocument.presentationml.slide+xml"/>
  <Override PartName="/ppt/slides/slide710.xml" ContentType="application/vnd.openxmlformats-officedocument.presentationml.slide+xml"/>
  <Override PartName="/ppt/slides/slide711.xml" ContentType="application/vnd.openxmlformats-officedocument.presentationml.slide+xml"/>
  <Override PartName="/ppt/slides/slide712.xml" ContentType="application/vnd.openxmlformats-officedocument.presentationml.slide+xml"/>
  <Override PartName="/ppt/slides/slide713.xml" ContentType="application/vnd.openxmlformats-officedocument.presentationml.slide+xml"/>
  <Override PartName="/ppt/slides/slide714.xml" ContentType="application/vnd.openxmlformats-officedocument.presentationml.slide+xml"/>
  <Override PartName="/ppt/slides/slide715.xml" ContentType="application/vnd.openxmlformats-officedocument.presentationml.slide+xml"/>
  <Override PartName="/ppt/slides/slide716.xml" ContentType="application/vnd.openxmlformats-officedocument.presentationml.slide+xml"/>
  <Override PartName="/ppt/slides/slide717.xml" ContentType="application/vnd.openxmlformats-officedocument.presentationml.slide+xml"/>
  <Override PartName="/ppt/slides/slide718.xml" ContentType="application/vnd.openxmlformats-officedocument.presentationml.slide+xml"/>
  <Override PartName="/ppt/slides/slide719.xml" ContentType="application/vnd.openxmlformats-officedocument.presentationml.slide+xml"/>
  <Override PartName="/ppt/slides/slide720.xml" ContentType="application/vnd.openxmlformats-officedocument.presentationml.slide+xml"/>
  <Override PartName="/ppt/slides/slide721.xml" ContentType="application/vnd.openxmlformats-officedocument.presentationml.slide+xml"/>
  <Override PartName="/ppt/slides/slide722.xml" ContentType="application/vnd.openxmlformats-officedocument.presentationml.slide+xml"/>
  <Override PartName="/ppt/slides/slide723.xml" ContentType="application/vnd.openxmlformats-officedocument.presentationml.slide+xml"/>
  <Override PartName="/ppt/slides/slide724.xml" ContentType="application/vnd.openxmlformats-officedocument.presentationml.slide+xml"/>
  <Override PartName="/ppt/slides/slide725.xml" ContentType="application/vnd.openxmlformats-officedocument.presentationml.slide+xml"/>
  <Override PartName="/ppt/slides/slide726.xml" ContentType="application/vnd.openxmlformats-officedocument.presentationml.slide+xml"/>
  <Override PartName="/ppt/slides/slide727.xml" ContentType="application/vnd.openxmlformats-officedocument.presentationml.slide+xml"/>
  <Override PartName="/ppt/slides/slide728.xml" ContentType="application/vnd.openxmlformats-officedocument.presentationml.slide+xml"/>
  <Override PartName="/ppt/slides/slide729.xml" ContentType="application/vnd.openxmlformats-officedocument.presentationml.slide+xml"/>
  <Override PartName="/ppt/slides/slide730.xml" ContentType="application/vnd.openxmlformats-officedocument.presentationml.slide+xml"/>
  <Override PartName="/ppt/slides/slide731.xml" ContentType="application/vnd.openxmlformats-officedocument.presentationml.slide+xml"/>
  <Override PartName="/ppt/slides/slide732.xml" ContentType="application/vnd.openxmlformats-officedocument.presentationml.slide+xml"/>
  <Override PartName="/ppt/slides/slide733.xml" ContentType="application/vnd.openxmlformats-officedocument.presentationml.slide+xml"/>
  <Override PartName="/ppt/slides/slide734.xml" ContentType="application/vnd.openxmlformats-officedocument.presentationml.slide+xml"/>
  <Override PartName="/ppt/slides/slide735.xml" ContentType="application/vnd.openxmlformats-officedocument.presentationml.slide+xml"/>
  <Override PartName="/ppt/slides/slide736.xml" ContentType="application/vnd.openxmlformats-officedocument.presentationml.slide+xml"/>
  <Override PartName="/ppt/slides/slide737.xml" ContentType="application/vnd.openxmlformats-officedocument.presentationml.slide+xml"/>
  <Override PartName="/ppt/slides/slide738.xml" ContentType="application/vnd.openxmlformats-officedocument.presentationml.slide+xml"/>
  <Override PartName="/ppt/slides/slide739.xml" ContentType="application/vnd.openxmlformats-officedocument.presentationml.slide+xml"/>
  <Override PartName="/ppt/slides/slide740.xml" ContentType="application/vnd.openxmlformats-officedocument.presentationml.slide+xml"/>
  <Override PartName="/ppt/slides/slide741.xml" ContentType="application/vnd.openxmlformats-officedocument.presentationml.slide+xml"/>
  <Override PartName="/ppt/slides/slide742.xml" ContentType="application/vnd.openxmlformats-officedocument.presentationml.slide+xml"/>
  <Override PartName="/ppt/slides/slide743.xml" ContentType="application/vnd.openxmlformats-officedocument.presentationml.slide+xml"/>
  <Override PartName="/ppt/slides/slide744.xml" ContentType="application/vnd.openxmlformats-officedocument.presentationml.slide+xml"/>
  <Override PartName="/ppt/slides/slide745.xml" ContentType="application/vnd.openxmlformats-officedocument.presentationml.slide+xml"/>
  <Override PartName="/ppt/slides/slide746.xml" ContentType="application/vnd.openxmlformats-officedocument.presentationml.slide+xml"/>
  <Override PartName="/ppt/slides/slide747.xml" ContentType="application/vnd.openxmlformats-officedocument.presentationml.slide+xml"/>
  <Override PartName="/ppt/slides/slide748.xml" ContentType="application/vnd.openxmlformats-officedocument.presentationml.slide+xml"/>
  <Override PartName="/ppt/slides/slide749.xml" ContentType="application/vnd.openxmlformats-officedocument.presentationml.slide+xml"/>
  <Override PartName="/ppt/slides/slide750.xml" ContentType="application/vnd.openxmlformats-officedocument.presentationml.slide+xml"/>
  <Override PartName="/ppt/slides/slide751.xml" ContentType="application/vnd.openxmlformats-officedocument.presentationml.slide+xml"/>
  <Override PartName="/ppt/slides/slide752.xml" ContentType="application/vnd.openxmlformats-officedocument.presentationml.slide+xml"/>
  <Override PartName="/ppt/slides/slide753.xml" ContentType="application/vnd.openxmlformats-officedocument.presentationml.slide+xml"/>
  <Override PartName="/ppt/slides/slide754.xml" ContentType="application/vnd.openxmlformats-officedocument.presentationml.slide+xml"/>
  <Override PartName="/ppt/slides/slide755.xml" ContentType="application/vnd.openxmlformats-officedocument.presentationml.slide+xml"/>
  <Override PartName="/ppt/slides/slide756.xml" ContentType="application/vnd.openxmlformats-officedocument.presentationml.slide+xml"/>
  <Override PartName="/ppt/slides/slide757.xml" ContentType="application/vnd.openxmlformats-officedocument.presentationml.slide+xml"/>
  <Override PartName="/ppt/slides/slide758.xml" ContentType="application/vnd.openxmlformats-officedocument.presentationml.slide+xml"/>
  <Override PartName="/ppt/slides/slide759.xml" ContentType="application/vnd.openxmlformats-officedocument.presentationml.slide+xml"/>
  <Override PartName="/ppt/slides/slide760.xml" ContentType="application/vnd.openxmlformats-officedocument.presentationml.slide+xml"/>
  <Override PartName="/ppt/slides/slide761.xml" ContentType="application/vnd.openxmlformats-officedocument.presentationml.slide+xml"/>
  <Override PartName="/ppt/slides/slide76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tags/tag28.xml" ContentType="application/vnd.openxmlformats-officedocument.presentationml.tags+xml"/>
  <Override PartName="/ppt/charts/chart1.xml" ContentType="application/vnd.openxmlformats-officedocument.drawingml.chart+xml"/>
  <Override PartName="/ppt/tags/tag29.xml" ContentType="application/vnd.openxmlformats-officedocument.presentationml.tags+xml"/>
  <Override PartName="/ppt/charts/chart2.xml" ContentType="application/vnd.openxmlformats-officedocument.drawingml.chart+xml"/>
  <Override PartName="/ppt/tags/tag30.xml" ContentType="application/vnd.openxmlformats-officedocument.presentationml.tags+xml"/>
  <Override PartName="/ppt/charts/chart3.xml" ContentType="application/vnd.openxmlformats-officedocument.drawingml.chart+xml"/>
  <Override PartName="/ppt/tags/tag31.xml" ContentType="application/vnd.openxmlformats-officedocument.presentationml.tags+xml"/>
  <Override PartName="/ppt/charts/chart4.xml" ContentType="application/vnd.openxmlformats-officedocument.drawingml.chart+xml"/>
  <Override PartName="/ppt/tags/tag32.xml" ContentType="application/vnd.openxmlformats-officedocument.presentationml.tags+xml"/>
  <Override PartName="/ppt/charts/chart5.xml" ContentType="application/vnd.openxmlformats-officedocument.drawingml.chart+xml"/>
  <Override PartName="/ppt/tags/tag33.xml" ContentType="application/vnd.openxmlformats-officedocument.presentationml.tags+xml"/>
  <Override PartName="/ppt/charts/chart6.xml" ContentType="application/vnd.openxmlformats-officedocument.drawingml.chart+xml"/>
  <Override PartName="/ppt/tags/tag34.xml" ContentType="application/vnd.openxmlformats-officedocument.presentationml.tags+xml"/>
  <Override PartName="/ppt/charts/chart7.xml" ContentType="application/vnd.openxmlformats-officedocument.drawingml.chart+xml"/>
  <Override PartName="/ppt/tags/tag35.xml" ContentType="application/vnd.openxmlformats-officedocument.presentationml.tags+xml"/>
  <Override PartName="/ppt/charts/chart8.xml" ContentType="application/vnd.openxmlformats-officedocument.drawingml.chart+xml"/>
  <Override PartName="/ppt/tags/tag36.xml" ContentType="application/vnd.openxmlformats-officedocument.presentationml.tags+xml"/>
  <Override PartName="/ppt/charts/chart9.xml" ContentType="application/vnd.openxmlformats-officedocument.drawingml.chart+xml"/>
  <Override PartName="/ppt/tags/tag37.xml" ContentType="application/vnd.openxmlformats-officedocument.presentationml.tags+xml"/>
  <Override PartName="/ppt/charts/chart10.xml" ContentType="application/vnd.openxmlformats-officedocument.drawingml.chart+xml"/>
  <Override PartName="/ppt/tags/tag38.xml" ContentType="application/vnd.openxmlformats-officedocument.presentationml.tags+xml"/>
  <Override PartName="/ppt/charts/chart11.xml" ContentType="application/vnd.openxmlformats-officedocument.drawingml.chart+xml"/>
  <Override PartName="/ppt/tags/tag39.xml" ContentType="application/vnd.openxmlformats-officedocument.presentationml.tags+xml"/>
  <Override PartName="/ppt/charts/chart12.xml" ContentType="application/vnd.openxmlformats-officedocument.drawingml.chart+xml"/>
  <Override PartName="/ppt/tags/tag40.xml" ContentType="application/vnd.openxmlformats-officedocument.presentationml.tags+xml"/>
  <Override PartName="/ppt/charts/chart13.xml" ContentType="application/vnd.openxmlformats-officedocument.drawingml.chart+xml"/>
  <Override PartName="/ppt/tags/tag41.xml" ContentType="application/vnd.openxmlformats-officedocument.presentationml.tags+xml"/>
  <Override PartName="/ppt/charts/chart14.xml" ContentType="application/vnd.openxmlformats-officedocument.drawingml.chart+xml"/>
  <Override PartName="/ppt/tags/tag42.xml" ContentType="application/vnd.openxmlformats-officedocument.presentationml.tags+xml"/>
  <Override PartName="/ppt/charts/chart15.xml" ContentType="application/vnd.openxmlformats-officedocument.drawingml.chart+xml"/>
  <Override PartName="/ppt/tags/tag43.xml" ContentType="application/vnd.openxmlformats-officedocument.presentationml.tags+xml"/>
  <Override PartName="/ppt/charts/chart16.xml" ContentType="application/vnd.openxmlformats-officedocument.drawingml.chart+xml"/>
  <Override PartName="/ppt/tags/tag44.xml" ContentType="application/vnd.openxmlformats-officedocument.presentationml.tags+xml"/>
  <Override PartName="/ppt/charts/chart17.xml" ContentType="application/vnd.openxmlformats-officedocument.drawingml.chart+xml"/>
  <Override PartName="/ppt/tags/tag45.xml" ContentType="application/vnd.openxmlformats-officedocument.presentationml.tags+xml"/>
  <Override PartName="/ppt/charts/chart18.xml" ContentType="application/vnd.openxmlformats-officedocument.drawingml.chart+xml"/>
  <Override PartName="/ppt/tags/tag46.xml" ContentType="application/vnd.openxmlformats-officedocument.presentationml.tags+xml"/>
  <Override PartName="/ppt/charts/chart19.xml" ContentType="application/vnd.openxmlformats-officedocument.drawingml.chart+xml"/>
  <Override PartName="/ppt/charts/chart20.xml" ContentType="application/vnd.openxmlformats-officedocument.drawingml.chart+xml"/>
  <Override PartName="/ppt/charts/chart21.xml" ContentType="application/vnd.openxmlformats-officedocument.drawingml.chart+xml"/>
  <Override PartName="/ppt/tags/tag47.xml" ContentType="application/vnd.openxmlformats-officedocument.presentationml.tags+xml"/>
  <Override PartName="/ppt/charts/chart22.xml" ContentType="application/vnd.openxmlformats-officedocument.drawingml.chart+xml"/>
  <Override PartName="/ppt/charts/chart23.xml" ContentType="application/vnd.openxmlformats-officedocument.drawingml.chart+xml"/>
  <Override PartName="/ppt/charts/chart24.xml" ContentType="application/vnd.openxmlformats-officedocument.drawingml.chart+xml"/>
  <Override PartName="/ppt/tags/tag48.xml" ContentType="application/vnd.openxmlformats-officedocument.presentationml.tags+xml"/>
  <Override PartName="/ppt/charts/chart25.xml" ContentType="application/vnd.openxmlformats-officedocument.drawingml.chart+xml"/>
  <Override PartName="/ppt/charts/chart26.xml" ContentType="application/vnd.openxmlformats-officedocument.drawingml.chart+xml"/>
  <Override PartName="/ppt/charts/chart27.xml" ContentType="application/vnd.openxmlformats-officedocument.drawingml.chart+xml"/>
  <Override PartName="/ppt/tags/tag49.xml" ContentType="application/vnd.openxmlformats-officedocument.presentationml.tags+xml"/>
  <Override PartName="/ppt/charts/chart28.xml" ContentType="application/vnd.openxmlformats-officedocument.drawingml.chart+xml"/>
  <Override PartName="/ppt/charts/chart29.xml" ContentType="application/vnd.openxmlformats-officedocument.drawingml.chart+xml"/>
  <Override PartName="/ppt/charts/chart30.xml" ContentType="application/vnd.openxmlformats-officedocument.drawingml.chart+xml"/>
  <Override PartName="/ppt/tags/tag50.xml" ContentType="application/vnd.openxmlformats-officedocument.presentationml.tags+xml"/>
  <Override PartName="/ppt/charts/chart31.xml" ContentType="application/vnd.openxmlformats-officedocument.drawingml.chart+xml"/>
  <Override PartName="/ppt/charts/chart32.xml" ContentType="application/vnd.openxmlformats-officedocument.drawingml.chart+xml"/>
  <Override PartName="/ppt/charts/chart33.xml" ContentType="application/vnd.openxmlformats-officedocument.drawingml.chart+xml"/>
  <Override PartName="/ppt/tags/tag51.xml" ContentType="application/vnd.openxmlformats-officedocument.presentationml.tags+xml"/>
  <Override PartName="/ppt/charts/chart34.xml" ContentType="application/vnd.openxmlformats-officedocument.drawingml.chart+xml"/>
  <Override PartName="/ppt/charts/chart35.xml" ContentType="application/vnd.openxmlformats-officedocument.drawingml.chart+xml"/>
  <Override PartName="/ppt/charts/chart36.xml" ContentType="application/vnd.openxmlformats-officedocument.drawingml.chart+xml"/>
  <Override PartName="/ppt/tags/tag52.xml" ContentType="application/vnd.openxmlformats-officedocument.presentationml.tags+xml"/>
  <Override PartName="/ppt/charts/chart37.xml" ContentType="application/vnd.openxmlformats-officedocument.drawingml.chart+xml"/>
  <Override PartName="/ppt/charts/chart38.xml" ContentType="application/vnd.openxmlformats-officedocument.drawingml.chart+xml"/>
  <Override PartName="/ppt/charts/chart39.xml" ContentType="application/vnd.openxmlformats-officedocument.drawingml.chart+xml"/>
  <Override PartName="/ppt/tags/tag53.xml" ContentType="application/vnd.openxmlformats-officedocument.presentationml.tags+xml"/>
  <Override PartName="/ppt/charts/chart40.xml" ContentType="application/vnd.openxmlformats-officedocument.drawingml.chart+xml"/>
  <Override PartName="/ppt/charts/chart41.xml" ContentType="application/vnd.openxmlformats-officedocument.drawingml.chart+xml"/>
  <Override PartName="/ppt/charts/chart42.xml" ContentType="application/vnd.openxmlformats-officedocument.drawingml.chart+xml"/>
  <Override PartName="/ppt/tags/tag54.xml" ContentType="application/vnd.openxmlformats-officedocument.presentationml.tags+xml"/>
  <Override PartName="/ppt/charts/chart43.xml" ContentType="application/vnd.openxmlformats-officedocument.drawingml.chart+xml"/>
  <Override PartName="/ppt/charts/chart44.xml" ContentType="application/vnd.openxmlformats-officedocument.drawingml.chart+xml"/>
  <Override PartName="/ppt/charts/chart45.xml" ContentType="application/vnd.openxmlformats-officedocument.drawingml.chart+xml"/>
  <Override PartName="/ppt/tags/tag55.xml" ContentType="application/vnd.openxmlformats-officedocument.presentationml.tags+xml"/>
  <Override PartName="/ppt/charts/chart46.xml" ContentType="application/vnd.openxmlformats-officedocument.drawingml.chart+xml"/>
  <Override PartName="/ppt/charts/chart47.xml" ContentType="application/vnd.openxmlformats-officedocument.drawingml.chart+xml"/>
  <Override PartName="/ppt/charts/chart48.xml" ContentType="application/vnd.openxmlformats-officedocument.drawingml.chart+xml"/>
  <Override PartName="/ppt/tags/tag56.xml" ContentType="application/vnd.openxmlformats-officedocument.presentationml.tags+xml"/>
  <Override PartName="/ppt/charts/chart49.xml" ContentType="application/vnd.openxmlformats-officedocument.drawingml.chart+xml"/>
  <Override PartName="/ppt/charts/chart50.xml" ContentType="application/vnd.openxmlformats-officedocument.drawingml.chart+xml"/>
  <Override PartName="/ppt/charts/chart51.xml" ContentType="application/vnd.openxmlformats-officedocument.drawingml.chart+xml"/>
  <Override PartName="/ppt/tags/tag57.xml" ContentType="application/vnd.openxmlformats-officedocument.presentationml.tags+xml"/>
  <Override PartName="/ppt/charts/chart52.xml" ContentType="application/vnd.openxmlformats-officedocument.drawingml.chart+xml"/>
  <Override PartName="/ppt/charts/chart53.xml" ContentType="application/vnd.openxmlformats-officedocument.drawingml.chart+xml"/>
  <Override PartName="/ppt/charts/chart54.xml" ContentType="application/vnd.openxmlformats-officedocument.drawingml.chart+xml"/>
  <Override PartName="/ppt/tags/tag58.xml" ContentType="application/vnd.openxmlformats-officedocument.presentationml.tags+xml"/>
  <Override PartName="/ppt/charts/chart55.xml" ContentType="application/vnd.openxmlformats-officedocument.drawingml.chart+xml"/>
  <Override PartName="/ppt/charts/chart56.xml" ContentType="application/vnd.openxmlformats-officedocument.drawingml.chart+xml"/>
  <Override PartName="/ppt/charts/chart57.xml" ContentType="application/vnd.openxmlformats-officedocument.drawingml.chart+xml"/>
  <Override PartName="/ppt/tags/tag59.xml" ContentType="application/vnd.openxmlformats-officedocument.presentationml.tags+xml"/>
  <Override PartName="/ppt/charts/chart58.xml" ContentType="application/vnd.openxmlformats-officedocument.drawingml.chart+xml"/>
  <Override PartName="/ppt/charts/chart59.xml" ContentType="application/vnd.openxmlformats-officedocument.drawingml.chart+xml"/>
  <Override PartName="/ppt/charts/chart60.xml" ContentType="application/vnd.openxmlformats-officedocument.drawingml.chart+xml"/>
  <Override PartName="/ppt/tags/tag60.xml" ContentType="application/vnd.openxmlformats-officedocument.presentationml.tags+xml"/>
  <Override PartName="/ppt/charts/chart61.xml" ContentType="application/vnd.openxmlformats-officedocument.drawingml.chart+xml"/>
  <Override PartName="/ppt/charts/chart62.xml" ContentType="application/vnd.openxmlformats-officedocument.drawingml.chart+xml"/>
  <Override PartName="/ppt/charts/chart63.xml" ContentType="application/vnd.openxmlformats-officedocument.drawingml.chart+xml"/>
  <Override PartName="/ppt/tags/tag61.xml" ContentType="application/vnd.openxmlformats-officedocument.presentationml.tags+xml"/>
  <Override PartName="/ppt/charts/chart64.xml" ContentType="application/vnd.openxmlformats-officedocument.drawingml.chart+xml"/>
  <Override PartName="/ppt/charts/chart65.xml" ContentType="application/vnd.openxmlformats-officedocument.drawingml.chart+xml"/>
  <Override PartName="/ppt/charts/chart66.xml" ContentType="application/vnd.openxmlformats-officedocument.drawingml.chart+xml"/>
  <Override PartName="/ppt/tags/tag62.xml" ContentType="application/vnd.openxmlformats-officedocument.presentationml.tags+xml"/>
  <Override PartName="/ppt/charts/chart67.xml" ContentType="application/vnd.openxmlformats-officedocument.drawingml.chart+xml"/>
  <Override PartName="/ppt/charts/chart68.xml" ContentType="application/vnd.openxmlformats-officedocument.drawingml.chart+xml"/>
  <Override PartName="/ppt/charts/chart69.xml" ContentType="application/vnd.openxmlformats-officedocument.drawingml.chart+xml"/>
  <Override PartName="/ppt/tags/tag63.xml" ContentType="application/vnd.openxmlformats-officedocument.presentationml.tags+xml"/>
  <Override PartName="/ppt/charts/chart70.xml" ContentType="application/vnd.openxmlformats-officedocument.drawingml.chart+xml"/>
  <Override PartName="/ppt/charts/chart71.xml" ContentType="application/vnd.openxmlformats-officedocument.drawingml.chart+xml"/>
  <Override PartName="/ppt/charts/chart72.xml" ContentType="application/vnd.openxmlformats-officedocument.drawingml.chart+xml"/>
  <Override PartName="/ppt/tags/tag64.xml" ContentType="application/vnd.openxmlformats-officedocument.presentationml.tags+xml"/>
  <Override PartName="/ppt/charts/chart73.xml" ContentType="application/vnd.openxmlformats-officedocument.drawingml.chart+xml"/>
  <Override PartName="/ppt/charts/chart74.xml" ContentType="application/vnd.openxmlformats-officedocument.drawingml.chart+xml"/>
  <Override PartName="/ppt/charts/chart75.xml" ContentType="application/vnd.openxmlformats-officedocument.drawingml.chart+xml"/>
  <Override PartName="/ppt/charts/chart76.xml" ContentType="application/vnd.openxmlformats-officedocument.drawingml.chart+xml"/>
  <Override PartName="/ppt/tags/tag65.xml" ContentType="application/vnd.openxmlformats-officedocument.presentationml.tags+xml"/>
  <Override PartName="/ppt/charts/chart77.xml" ContentType="application/vnd.openxmlformats-officedocument.drawingml.chart+xml"/>
  <Override PartName="/ppt/charts/chart78.xml" ContentType="application/vnd.openxmlformats-officedocument.drawingml.chart+xml"/>
  <Override PartName="/ppt/charts/chart79.xml" ContentType="application/vnd.openxmlformats-officedocument.drawingml.chart+xml"/>
  <Override PartName="/ppt/charts/chart80.xml" ContentType="application/vnd.openxmlformats-officedocument.drawingml.chart+xml"/>
  <Override PartName="/ppt/tags/tag66.xml" ContentType="application/vnd.openxmlformats-officedocument.presentationml.tags+xml"/>
  <Override PartName="/ppt/charts/chart81.xml" ContentType="application/vnd.openxmlformats-officedocument.drawingml.chart+xml"/>
  <Override PartName="/ppt/charts/chart82.xml" ContentType="application/vnd.openxmlformats-officedocument.drawingml.chart+xml"/>
  <Override PartName="/ppt/charts/chart83.xml" ContentType="application/vnd.openxmlformats-officedocument.drawingml.chart+xml"/>
  <Override PartName="/ppt/tags/tag67.xml" ContentType="application/vnd.openxmlformats-officedocument.presentationml.tags+xml"/>
  <Override PartName="/ppt/charts/chart84.xml" ContentType="application/vnd.openxmlformats-officedocument.drawingml.chart+xml"/>
  <Override PartName="/ppt/charts/chart85.xml" ContentType="application/vnd.openxmlformats-officedocument.drawingml.chart+xml"/>
  <Override PartName="/ppt/charts/chart86.xml" ContentType="application/vnd.openxmlformats-officedocument.drawingml.chart+xml"/>
  <Override PartName="/ppt/charts/chart87.xml" ContentType="application/vnd.openxmlformats-officedocument.drawingml.chart+xml"/>
  <Override PartName="/ppt/tags/tag68.xml" ContentType="application/vnd.openxmlformats-officedocument.presentationml.tags+xml"/>
  <Override PartName="/ppt/charts/chart88.xml" ContentType="application/vnd.openxmlformats-officedocument.drawingml.chart+xml"/>
  <Override PartName="/ppt/charts/chart89.xml" ContentType="application/vnd.openxmlformats-officedocument.drawingml.chart+xml"/>
  <Override PartName="/ppt/charts/chart90.xml" ContentType="application/vnd.openxmlformats-officedocument.drawingml.chart+xml"/>
  <Override PartName="/ppt/charts/chart91.xml" ContentType="application/vnd.openxmlformats-officedocument.drawingml.chart+xml"/>
  <Override PartName="/ppt/tags/tag69.xml" ContentType="application/vnd.openxmlformats-officedocument.presentationml.tags+xml"/>
  <Override PartName="/ppt/charts/chart92.xml" ContentType="application/vnd.openxmlformats-officedocument.drawingml.chart+xml"/>
  <Override PartName="/ppt/charts/chart93.xml" ContentType="application/vnd.openxmlformats-officedocument.drawingml.chart+xml"/>
  <Override PartName="/ppt/charts/chart94.xml" ContentType="application/vnd.openxmlformats-officedocument.drawingml.chart+xml"/>
  <Override PartName="/ppt/tags/tag70.xml" ContentType="application/vnd.openxmlformats-officedocument.presentationml.tags+xml"/>
  <Override PartName="/ppt/charts/chart95.xml" ContentType="application/vnd.openxmlformats-officedocument.drawingml.chart+xml"/>
  <Override PartName="/ppt/charts/chart96.xml" ContentType="application/vnd.openxmlformats-officedocument.drawingml.chart+xml"/>
  <Override PartName="/ppt/charts/chart97.xml" ContentType="application/vnd.openxmlformats-officedocument.drawingml.chart+xml"/>
  <Override PartName="/ppt/charts/chart98.xml" ContentType="application/vnd.openxmlformats-officedocument.drawingml.chart+xml"/>
  <Override PartName="/ppt/tags/tag71.xml" ContentType="application/vnd.openxmlformats-officedocument.presentationml.tags+xml"/>
  <Override PartName="/ppt/charts/chart99.xml" ContentType="application/vnd.openxmlformats-officedocument.drawingml.chart+xml"/>
  <Override PartName="/ppt/charts/chart100.xml" ContentType="application/vnd.openxmlformats-officedocument.drawingml.chart+xml"/>
  <Override PartName="/ppt/charts/chart101.xml" ContentType="application/vnd.openxmlformats-officedocument.drawingml.chart+xml"/>
  <Override PartName="/ppt/charts/chart102.xml" ContentType="application/vnd.openxmlformats-officedocument.drawingml.chart+xml"/>
  <Override PartName="/ppt/tags/tag72.xml" ContentType="application/vnd.openxmlformats-officedocument.presentationml.tags+xml"/>
  <Override PartName="/ppt/charts/chart103.xml" ContentType="application/vnd.openxmlformats-officedocument.drawingml.chart+xml"/>
  <Override PartName="/ppt/charts/chart104.xml" ContentType="application/vnd.openxmlformats-officedocument.drawingml.chart+xml"/>
  <Override PartName="/ppt/tags/tag73.xml" ContentType="application/vnd.openxmlformats-officedocument.presentationml.tags+xml"/>
  <Override PartName="/ppt/charts/chart105.xml" ContentType="application/vnd.openxmlformats-officedocument.drawingml.chart+xml"/>
  <Override PartName="/ppt/charts/chart106.xml" ContentType="application/vnd.openxmlformats-officedocument.drawingml.chart+xml"/>
  <Override PartName="/ppt/charts/chart107.xml" ContentType="application/vnd.openxmlformats-officedocument.drawingml.chart+xml"/>
  <Override PartName="/ppt/charts/chart108.xml" ContentType="application/vnd.openxmlformats-officedocument.drawingml.chart+xml"/>
  <Override PartName="/ppt/tags/tag74.xml" ContentType="application/vnd.openxmlformats-officedocument.presentationml.tags+xml"/>
  <Override PartName="/ppt/charts/chart109.xml" ContentType="application/vnd.openxmlformats-officedocument.drawingml.chart+xml"/>
  <Override PartName="/ppt/charts/chart110.xml" ContentType="application/vnd.openxmlformats-officedocument.drawingml.chart+xml"/>
  <Override PartName="/ppt/charts/chart111.xml" ContentType="application/vnd.openxmlformats-officedocument.drawingml.chart+xml"/>
  <Override PartName="/ppt/charts/chart112.xml" ContentType="application/vnd.openxmlformats-officedocument.drawingml.chart+xml"/>
  <Override PartName="/ppt/tags/tag75.xml" ContentType="application/vnd.openxmlformats-officedocument.presentationml.tags+xml"/>
  <Override PartName="/ppt/charts/chart113.xml" ContentType="application/vnd.openxmlformats-officedocument.drawingml.chart+xml"/>
  <Override PartName="/ppt/charts/chart114.xml" ContentType="application/vnd.openxmlformats-officedocument.drawingml.chart+xml"/>
  <Override PartName="/ppt/charts/chart115.xml" ContentType="application/vnd.openxmlformats-officedocument.drawingml.chart+xml"/>
  <Override PartName="/ppt/tags/tag76.xml" ContentType="application/vnd.openxmlformats-officedocument.presentationml.tags+xml"/>
  <Override PartName="/ppt/charts/chart116.xml" ContentType="application/vnd.openxmlformats-officedocument.drawingml.chart+xml"/>
  <Override PartName="/ppt/charts/chart117.xml" ContentType="application/vnd.openxmlformats-officedocument.drawingml.chart+xml"/>
  <Override PartName="/ppt/charts/chart118.xml" ContentType="application/vnd.openxmlformats-officedocument.drawingml.chart+xml"/>
  <Override PartName="/ppt/charts/chart119.xml" ContentType="application/vnd.openxmlformats-officedocument.drawingml.chart+xml"/>
  <Override PartName="/ppt/tags/tag77.xml" ContentType="application/vnd.openxmlformats-officedocument.presentationml.tags+xml"/>
  <Override PartName="/ppt/charts/chart120.xml" ContentType="application/vnd.openxmlformats-officedocument.drawingml.chart+xml"/>
  <Override PartName="/ppt/charts/chart121.xml" ContentType="application/vnd.openxmlformats-officedocument.drawingml.chart+xml"/>
  <Override PartName="/ppt/charts/chart122.xml" ContentType="application/vnd.openxmlformats-officedocument.drawingml.chart+xml"/>
  <Override PartName="/ppt/charts/chart123.xml" ContentType="application/vnd.openxmlformats-officedocument.drawingml.chart+xml"/>
  <Override PartName="/ppt/tags/tag78.xml" ContentType="application/vnd.openxmlformats-officedocument.presentationml.tags+xml"/>
  <Override PartName="/ppt/charts/chart124.xml" ContentType="application/vnd.openxmlformats-officedocument.drawingml.chart+xml"/>
  <Override PartName="/ppt/charts/chart125.xml" ContentType="application/vnd.openxmlformats-officedocument.drawingml.chart+xml"/>
  <Override PartName="/ppt/charts/chart126.xml" ContentType="application/vnd.openxmlformats-officedocument.drawingml.chart+xml"/>
  <Override PartName="/ppt/tags/tag79.xml" ContentType="application/vnd.openxmlformats-officedocument.presentationml.tags+xml"/>
  <Override PartName="/ppt/charts/chart127.xml" ContentType="application/vnd.openxmlformats-officedocument.drawingml.chart+xml"/>
  <Override PartName="/ppt/charts/chart128.xml" ContentType="application/vnd.openxmlformats-officedocument.drawingml.chart+xml"/>
  <Override PartName="/ppt/charts/chart129.xml" ContentType="application/vnd.openxmlformats-officedocument.drawingml.chart+xml"/>
  <Override PartName="/ppt/charts/chart130.xml" ContentType="application/vnd.openxmlformats-officedocument.drawingml.chart+xml"/>
  <Override PartName="/ppt/tags/tag80.xml" ContentType="application/vnd.openxmlformats-officedocument.presentationml.tags+xml"/>
  <Override PartName="/ppt/charts/chart131.xml" ContentType="application/vnd.openxmlformats-officedocument.drawingml.chart+xml"/>
  <Override PartName="/ppt/charts/chart132.xml" ContentType="application/vnd.openxmlformats-officedocument.drawingml.chart+xml"/>
  <Override PartName="/ppt/charts/chart133.xml" ContentType="application/vnd.openxmlformats-officedocument.drawingml.chart+xml"/>
  <Override PartName="/ppt/charts/chart134.xml" ContentType="application/vnd.openxmlformats-officedocument.drawingml.chart+xml"/>
  <Override PartName="/ppt/tags/tag81.xml" ContentType="application/vnd.openxmlformats-officedocument.presentationml.tags+xml"/>
  <Override PartName="/ppt/charts/chart135.xml" ContentType="application/vnd.openxmlformats-officedocument.drawingml.chart+xml"/>
  <Override PartName="/ppt/charts/chart136.xml" ContentType="application/vnd.openxmlformats-officedocument.drawingml.chart+xml"/>
  <Override PartName="/ppt/charts/chart137.xml" ContentType="application/vnd.openxmlformats-officedocument.drawingml.chart+xml"/>
  <Override PartName="/ppt/tags/tag82.xml" ContentType="application/vnd.openxmlformats-officedocument.presentationml.tags+xml"/>
  <Override PartName="/ppt/charts/chart138.xml" ContentType="application/vnd.openxmlformats-officedocument.drawingml.chart+xml"/>
  <Override PartName="/ppt/charts/chart139.xml" ContentType="application/vnd.openxmlformats-officedocument.drawingml.chart+xml"/>
  <Override PartName="/ppt/charts/chart140.xml" ContentType="application/vnd.openxmlformats-officedocument.drawingml.chart+xml"/>
  <Override PartName="/ppt/charts/chart141.xml" ContentType="application/vnd.openxmlformats-officedocument.drawingml.chart+xml"/>
  <Override PartName="/ppt/tags/tag83.xml" ContentType="application/vnd.openxmlformats-officedocument.presentationml.tags+xml"/>
  <Override PartName="/ppt/charts/chart142.xml" ContentType="application/vnd.openxmlformats-officedocument.drawingml.chart+xml"/>
  <Override PartName="/ppt/charts/chart143.xml" ContentType="application/vnd.openxmlformats-officedocument.drawingml.chart+xml"/>
  <Override PartName="/ppt/charts/chart144.xml" ContentType="application/vnd.openxmlformats-officedocument.drawingml.chart+xml"/>
  <Override PartName="/ppt/charts/chart145.xml" ContentType="application/vnd.openxmlformats-officedocument.drawingml.chart+xml"/>
  <Override PartName="/ppt/tags/tag84.xml" ContentType="application/vnd.openxmlformats-officedocument.presentationml.tags+xml"/>
  <Override PartName="/ppt/charts/chart146.xml" ContentType="application/vnd.openxmlformats-officedocument.drawingml.chart+xml"/>
  <Override PartName="/ppt/charts/chart147.xml" ContentType="application/vnd.openxmlformats-officedocument.drawingml.chart+xml"/>
  <Override PartName="/ppt/charts/chart148.xml" ContentType="application/vnd.openxmlformats-officedocument.drawingml.chart+xml"/>
  <Override PartName="/ppt/tags/tag85.xml" ContentType="application/vnd.openxmlformats-officedocument.presentationml.tags+xml"/>
  <Override PartName="/ppt/charts/chart149.xml" ContentType="application/vnd.openxmlformats-officedocument.drawingml.chart+xml"/>
  <Override PartName="/ppt/charts/chart150.xml" ContentType="application/vnd.openxmlformats-officedocument.drawingml.chart+xml"/>
  <Override PartName="/ppt/charts/chart151.xml" ContentType="application/vnd.openxmlformats-officedocument.drawingml.chart+xml"/>
  <Override PartName="/ppt/charts/chart152.xml" ContentType="application/vnd.openxmlformats-officedocument.drawingml.chart+xml"/>
  <Override PartName="/ppt/tags/tag86.xml" ContentType="application/vnd.openxmlformats-officedocument.presentationml.tags+xml"/>
  <Override PartName="/ppt/charts/chart153.xml" ContentType="application/vnd.openxmlformats-officedocument.drawingml.chart+xml"/>
  <Override PartName="/ppt/charts/chart154.xml" ContentType="application/vnd.openxmlformats-officedocument.drawingml.chart+xml"/>
  <Override PartName="/ppt/charts/chart155.xml" ContentType="application/vnd.openxmlformats-officedocument.drawingml.chart+xml"/>
  <Override PartName="/ppt/charts/chart156.xml" ContentType="application/vnd.openxmlformats-officedocument.drawingml.chart+xml"/>
  <Override PartName="/ppt/tags/tag87.xml" ContentType="application/vnd.openxmlformats-officedocument.presentationml.tags+xml"/>
  <Override PartName="/ppt/charts/chart157.xml" ContentType="application/vnd.openxmlformats-officedocument.drawingml.chart+xml"/>
  <Override PartName="/ppt/charts/chart158.xml" ContentType="application/vnd.openxmlformats-officedocument.drawingml.chart+xml"/>
  <Override PartName="/ppt/charts/chart159.xml" ContentType="application/vnd.openxmlformats-officedocument.drawingml.chart+xml"/>
  <Override PartName="/ppt/tags/tag88.xml" ContentType="application/vnd.openxmlformats-officedocument.presentationml.tags+xml"/>
  <Override PartName="/ppt/charts/chart160.xml" ContentType="application/vnd.openxmlformats-officedocument.drawingml.chart+xml"/>
  <Override PartName="/ppt/charts/chart161.xml" ContentType="application/vnd.openxmlformats-officedocument.drawingml.chart+xml"/>
  <Override PartName="/ppt/charts/chart162.xml" ContentType="application/vnd.openxmlformats-officedocument.drawingml.chart+xml"/>
  <Override PartName="/ppt/charts/chart163.xml" ContentType="application/vnd.openxmlformats-officedocument.drawingml.chart+xml"/>
  <Override PartName="/ppt/tags/tag89.xml" ContentType="application/vnd.openxmlformats-officedocument.presentationml.tags+xml"/>
  <Override PartName="/ppt/charts/chart164.xml" ContentType="application/vnd.openxmlformats-officedocument.drawingml.chart+xml"/>
  <Override PartName="/ppt/charts/chart165.xml" ContentType="application/vnd.openxmlformats-officedocument.drawingml.chart+xml"/>
  <Override PartName="/ppt/charts/chart166.xml" ContentType="application/vnd.openxmlformats-officedocument.drawingml.chart+xml"/>
  <Override PartName="/ppt/charts/chart167.xml" ContentType="application/vnd.openxmlformats-officedocument.drawingml.chart+xml"/>
  <Override PartName="/ppt/tags/tag90.xml" ContentType="application/vnd.openxmlformats-officedocument.presentationml.tags+xml"/>
  <Override PartName="/ppt/charts/chart168.xml" ContentType="application/vnd.openxmlformats-officedocument.drawingml.chart+xml"/>
  <Override PartName="/ppt/charts/chart169.xml" ContentType="application/vnd.openxmlformats-officedocument.drawingml.chart+xml"/>
  <Override PartName="/ppt/charts/chart170.xml" ContentType="application/vnd.openxmlformats-officedocument.drawingml.chart+xml"/>
  <Override PartName="/ppt/tags/tag91.xml" ContentType="application/vnd.openxmlformats-officedocument.presentationml.tags+xml"/>
  <Override PartName="/ppt/charts/chart171.xml" ContentType="application/vnd.openxmlformats-officedocument.drawingml.chart+xml"/>
  <Override PartName="/ppt/charts/chart172.xml" ContentType="application/vnd.openxmlformats-officedocument.drawingml.chart+xml"/>
  <Override PartName="/ppt/charts/chart173.xml" ContentType="application/vnd.openxmlformats-officedocument.drawingml.chart+xml"/>
  <Override PartName="/ppt/charts/chart174.xml" ContentType="application/vnd.openxmlformats-officedocument.drawingml.chart+xml"/>
  <Override PartName="/ppt/tags/tag92.xml" ContentType="application/vnd.openxmlformats-officedocument.presentationml.tags+xml"/>
  <Override PartName="/ppt/charts/chart175.xml" ContentType="application/vnd.openxmlformats-officedocument.drawingml.chart+xml"/>
  <Override PartName="/ppt/charts/chart176.xml" ContentType="application/vnd.openxmlformats-officedocument.drawingml.chart+xml"/>
  <Override PartName="/ppt/charts/chart177.xml" ContentType="application/vnd.openxmlformats-officedocument.drawingml.chart+xml"/>
  <Override PartName="/ppt/charts/chart178.xml" ContentType="application/vnd.openxmlformats-officedocument.drawingml.chart+xml"/>
  <Override PartName="/ppt/tags/tag93.xml" ContentType="application/vnd.openxmlformats-officedocument.presentationml.tags+xml"/>
  <Override PartName="/ppt/charts/chart179.xml" ContentType="application/vnd.openxmlformats-officedocument.drawingml.chart+xml"/>
  <Override PartName="/ppt/charts/chart180.xml" ContentType="application/vnd.openxmlformats-officedocument.drawingml.chart+xml"/>
  <Override PartName="/ppt/charts/chart181.xml" ContentType="application/vnd.openxmlformats-officedocument.drawingml.chart+xml"/>
  <Override PartName="/ppt/tags/tag94.xml" ContentType="application/vnd.openxmlformats-officedocument.presentationml.tags+xml"/>
  <Override PartName="/ppt/charts/chart182.xml" ContentType="application/vnd.openxmlformats-officedocument.drawingml.chart+xml"/>
  <Override PartName="/ppt/charts/chart183.xml" ContentType="application/vnd.openxmlformats-officedocument.drawingml.chart+xml"/>
  <Override PartName="/ppt/charts/chart184.xml" ContentType="application/vnd.openxmlformats-officedocument.drawingml.chart+xml"/>
  <Override PartName="/ppt/charts/chart185.xml" ContentType="application/vnd.openxmlformats-officedocument.drawingml.chart+xml"/>
  <Override PartName="/ppt/tags/tag95.xml" ContentType="application/vnd.openxmlformats-officedocument.presentationml.tags+xml"/>
  <Override PartName="/ppt/charts/chart186.xml" ContentType="application/vnd.openxmlformats-officedocument.drawingml.chart+xml"/>
  <Override PartName="/ppt/charts/chart187.xml" ContentType="application/vnd.openxmlformats-officedocument.drawingml.chart+xml"/>
  <Override PartName="/ppt/charts/chart188.xml" ContentType="application/vnd.openxmlformats-officedocument.drawingml.chart+xml"/>
  <Override PartName="/ppt/charts/chart189.xml" ContentType="application/vnd.openxmlformats-officedocument.drawingml.chart+xml"/>
  <Override PartName="/ppt/tags/tag96.xml" ContentType="application/vnd.openxmlformats-officedocument.presentationml.tags+xml"/>
  <Override PartName="/ppt/charts/chart190.xml" ContentType="application/vnd.openxmlformats-officedocument.drawingml.chart+xml"/>
  <Override PartName="/ppt/charts/chart191.xml" ContentType="application/vnd.openxmlformats-officedocument.drawingml.chart+xml"/>
  <Override PartName="/ppt/charts/chart192.xml" ContentType="application/vnd.openxmlformats-officedocument.drawingml.chart+xml"/>
  <Override PartName="/ppt/tags/tag97.xml" ContentType="application/vnd.openxmlformats-officedocument.presentationml.tags+xml"/>
  <Override PartName="/ppt/charts/chart193.xml" ContentType="application/vnd.openxmlformats-officedocument.drawingml.chart+xml"/>
  <Override PartName="/ppt/charts/chart194.xml" ContentType="application/vnd.openxmlformats-officedocument.drawingml.chart+xml"/>
  <Override PartName="/ppt/charts/chart195.xml" ContentType="application/vnd.openxmlformats-officedocument.drawingml.chart+xml"/>
  <Override PartName="/ppt/charts/chart196.xml" ContentType="application/vnd.openxmlformats-officedocument.drawingml.chart+xml"/>
  <Override PartName="/ppt/tags/tag98.xml" ContentType="application/vnd.openxmlformats-officedocument.presentationml.tags+xml"/>
  <Override PartName="/ppt/charts/chart197.xml" ContentType="application/vnd.openxmlformats-officedocument.drawingml.chart+xml"/>
  <Override PartName="/ppt/charts/chart198.xml" ContentType="application/vnd.openxmlformats-officedocument.drawingml.chart+xml"/>
  <Override PartName="/ppt/charts/chart199.xml" ContentType="application/vnd.openxmlformats-officedocument.drawingml.chart+xml"/>
  <Override PartName="/ppt/charts/chart200.xml" ContentType="application/vnd.openxmlformats-officedocument.drawingml.chart+xml"/>
  <Override PartName="/ppt/tags/tag99.xml" ContentType="application/vnd.openxmlformats-officedocument.presentationml.tags+xml"/>
  <Override PartName="/ppt/charts/chart201.xml" ContentType="application/vnd.openxmlformats-officedocument.drawingml.chart+xml"/>
  <Override PartName="/ppt/charts/chart202.xml" ContentType="application/vnd.openxmlformats-officedocument.drawingml.chart+xml"/>
  <Override PartName="/ppt/charts/chart203.xml" ContentType="application/vnd.openxmlformats-officedocument.drawingml.chart+xml"/>
  <Override PartName="/ppt/tags/tag100.xml" ContentType="application/vnd.openxmlformats-officedocument.presentationml.tags+xml"/>
  <Override PartName="/ppt/charts/chart204.xml" ContentType="application/vnd.openxmlformats-officedocument.drawingml.chart+xml"/>
  <Override PartName="/ppt/charts/chart205.xml" ContentType="application/vnd.openxmlformats-officedocument.drawingml.chart+xml"/>
  <Override PartName="/ppt/charts/chart206.xml" ContentType="application/vnd.openxmlformats-officedocument.drawingml.chart+xml"/>
  <Override PartName="/ppt/charts/chart207.xml" ContentType="application/vnd.openxmlformats-officedocument.drawingml.chart+xml"/>
  <Override PartName="/ppt/tags/tag101.xml" ContentType="application/vnd.openxmlformats-officedocument.presentationml.tags+xml"/>
  <Override PartName="/ppt/charts/chart208.xml" ContentType="application/vnd.openxmlformats-officedocument.drawingml.chart+xml"/>
  <Override PartName="/ppt/charts/chart209.xml" ContentType="application/vnd.openxmlformats-officedocument.drawingml.chart+xml"/>
  <Override PartName="/ppt/charts/chart210.xml" ContentType="application/vnd.openxmlformats-officedocument.drawingml.chart+xml"/>
  <Override PartName="/ppt/charts/chart211.xml" ContentType="application/vnd.openxmlformats-officedocument.drawingml.chart+xml"/>
  <Override PartName="/ppt/tags/tag102.xml" ContentType="application/vnd.openxmlformats-officedocument.presentationml.tags+xml"/>
  <Override PartName="/ppt/charts/chart212.xml" ContentType="application/vnd.openxmlformats-officedocument.drawingml.chart+xml"/>
  <Override PartName="/ppt/charts/chart213.xml" ContentType="application/vnd.openxmlformats-officedocument.drawingml.chart+xml"/>
  <Override PartName="/ppt/charts/chart214.xml" ContentType="application/vnd.openxmlformats-officedocument.drawingml.chart+xml"/>
  <Override PartName="/ppt/tags/tag103.xml" ContentType="application/vnd.openxmlformats-officedocument.presentationml.tags+xml"/>
  <Override PartName="/ppt/charts/chart215.xml" ContentType="application/vnd.openxmlformats-officedocument.drawingml.chart+xml"/>
  <Override PartName="/ppt/charts/chart216.xml" ContentType="application/vnd.openxmlformats-officedocument.drawingml.chart+xml"/>
  <Override PartName="/ppt/charts/chart217.xml" ContentType="application/vnd.openxmlformats-officedocument.drawingml.chart+xml"/>
  <Override PartName="/ppt/charts/chart218.xml" ContentType="application/vnd.openxmlformats-officedocument.drawingml.chart+xml"/>
  <Override PartName="/ppt/tags/tag104.xml" ContentType="application/vnd.openxmlformats-officedocument.presentationml.tags+xml"/>
  <Override PartName="/ppt/charts/chart219.xml" ContentType="application/vnd.openxmlformats-officedocument.drawingml.chart+xml"/>
  <Override PartName="/ppt/charts/chart220.xml" ContentType="application/vnd.openxmlformats-officedocument.drawingml.chart+xml"/>
  <Override PartName="/ppt/charts/chart221.xml" ContentType="application/vnd.openxmlformats-officedocument.drawingml.chart+xml"/>
  <Override PartName="/ppt/charts/chart222.xml" ContentType="application/vnd.openxmlformats-officedocument.drawingml.chart+xml"/>
  <Override PartName="/ppt/tags/tag105.xml" ContentType="application/vnd.openxmlformats-officedocument.presentationml.tags+xml"/>
  <Override PartName="/ppt/charts/chart223.xml" ContentType="application/vnd.openxmlformats-officedocument.drawingml.chart+xml"/>
  <Override PartName="/ppt/charts/chart224.xml" ContentType="application/vnd.openxmlformats-officedocument.drawingml.chart+xml"/>
  <Override PartName="/ppt/charts/chart225.xml" ContentType="application/vnd.openxmlformats-officedocument.drawingml.chart+xml"/>
  <Override PartName="/ppt/tags/tag106.xml" ContentType="application/vnd.openxmlformats-officedocument.presentationml.tags+xml"/>
  <Override PartName="/ppt/charts/chart226.xml" ContentType="application/vnd.openxmlformats-officedocument.drawingml.chart+xml"/>
  <Override PartName="/ppt/charts/chart227.xml" ContentType="application/vnd.openxmlformats-officedocument.drawingml.chart+xml"/>
  <Override PartName="/ppt/charts/chart228.xml" ContentType="application/vnd.openxmlformats-officedocument.drawingml.chart+xml"/>
  <Override PartName="/ppt/charts/chart229.xml" ContentType="application/vnd.openxmlformats-officedocument.drawingml.chart+xml"/>
  <Override PartName="/ppt/tags/tag107.xml" ContentType="application/vnd.openxmlformats-officedocument.presentationml.tags+xml"/>
  <Override PartName="/ppt/charts/chart230.xml" ContentType="application/vnd.openxmlformats-officedocument.drawingml.chart+xml"/>
  <Override PartName="/ppt/charts/chart231.xml" ContentType="application/vnd.openxmlformats-officedocument.drawingml.chart+xml"/>
  <Override PartName="/ppt/charts/chart232.xml" ContentType="application/vnd.openxmlformats-officedocument.drawingml.chart+xml"/>
  <Override PartName="/ppt/charts/chart233.xml" ContentType="application/vnd.openxmlformats-officedocument.drawingml.chart+xml"/>
  <Override PartName="/ppt/tags/tag108.xml" ContentType="application/vnd.openxmlformats-officedocument.presentationml.tags+xml"/>
  <Override PartName="/ppt/charts/chart234.xml" ContentType="application/vnd.openxmlformats-officedocument.drawingml.chart+xml"/>
  <Override PartName="/ppt/charts/chart235.xml" ContentType="application/vnd.openxmlformats-officedocument.drawingml.chart+xml"/>
  <Override PartName="/ppt/charts/chart236.xml" ContentType="application/vnd.openxmlformats-officedocument.drawingml.chart+xml"/>
  <Override PartName="/ppt/tags/tag109.xml" ContentType="application/vnd.openxmlformats-officedocument.presentationml.tags+xml"/>
  <Override PartName="/ppt/charts/chart237.xml" ContentType="application/vnd.openxmlformats-officedocument.drawingml.chart+xml"/>
  <Override PartName="/ppt/charts/chart238.xml" ContentType="application/vnd.openxmlformats-officedocument.drawingml.chart+xml"/>
  <Override PartName="/ppt/charts/chart239.xml" ContentType="application/vnd.openxmlformats-officedocument.drawingml.chart+xml"/>
  <Override PartName="/ppt/charts/chart240.xml" ContentType="application/vnd.openxmlformats-officedocument.drawingml.chart+xml"/>
  <Override PartName="/ppt/tags/tag110.xml" ContentType="application/vnd.openxmlformats-officedocument.presentationml.tags+xml"/>
  <Override PartName="/ppt/charts/chart241.xml" ContentType="application/vnd.openxmlformats-officedocument.drawingml.chart+xml"/>
  <Override PartName="/ppt/charts/chart242.xml" ContentType="application/vnd.openxmlformats-officedocument.drawingml.chart+xml"/>
  <Override PartName="/ppt/charts/chart243.xml" ContentType="application/vnd.openxmlformats-officedocument.drawingml.chart+xml"/>
  <Override PartName="/ppt/charts/chart244.xml" ContentType="application/vnd.openxmlformats-officedocument.drawingml.chart+xml"/>
  <Override PartName="/ppt/tags/tag111.xml" ContentType="application/vnd.openxmlformats-officedocument.presentationml.tags+xml"/>
  <Override PartName="/ppt/charts/chart245.xml" ContentType="application/vnd.openxmlformats-officedocument.drawingml.chart+xml"/>
  <Override PartName="/ppt/charts/chart246.xml" ContentType="application/vnd.openxmlformats-officedocument.drawingml.chart+xml"/>
  <Override PartName="/ppt/charts/chart247.xml" ContentType="application/vnd.openxmlformats-officedocument.drawingml.chart+xml"/>
  <Override PartName="/ppt/tags/tag112.xml" ContentType="application/vnd.openxmlformats-officedocument.presentationml.tags+xml"/>
  <Override PartName="/ppt/charts/chart248.xml" ContentType="application/vnd.openxmlformats-officedocument.drawingml.chart+xml"/>
  <Override PartName="/ppt/charts/chart249.xml" ContentType="application/vnd.openxmlformats-officedocument.drawingml.chart+xml"/>
  <Override PartName="/ppt/charts/chart250.xml" ContentType="application/vnd.openxmlformats-officedocument.drawingml.chart+xml"/>
  <Override PartName="/ppt/charts/chart251.xml" ContentType="application/vnd.openxmlformats-officedocument.drawingml.chart+xml"/>
  <Override PartName="/ppt/tags/tag113.xml" ContentType="application/vnd.openxmlformats-officedocument.presentationml.tags+xml"/>
  <Override PartName="/ppt/charts/chart252.xml" ContentType="application/vnd.openxmlformats-officedocument.drawingml.chart+xml"/>
  <Override PartName="/ppt/charts/chart253.xml" ContentType="application/vnd.openxmlformats-officedocument.drawingml.chart+xml"/>
  <Override PartName="/ppt/charts/chart254.xml" ContentType="application/vnd.openxmlformats-officedocument.drawingml.chart+xml"/>
  <Override PartName="/ppt/charts/chart255.xml" ContentType="application/vnd.openxmlformats-officedocument.drawingml.chart+xml"/>
  <Override PartName="/ppt/tags/tag114.xml" ContentType="application/vnd.openxmlformats-officedocument.presentationml.tags+xml"/>
  <Override PartName="/ppt/charts/chart256.xml" ContentType="application/vnd.openxmlformats-officedocument.drawingml.chart+xml"/>
  <Override PartName="/ppt/charts/chart257.xml" ContentType="application/vnd.openxmlformats-officedocument.drawingml.chart+xml"/>
  <Override PartName="/ppt/charts/chart258.xml" ContentType="application/vnd.openxmlformats-officedocument.drawingml.chart+xml"/>
  <Override PartName="/ppt/tags/tag115.xml" ContentType="application/vnd.openxmlformats-officedocument.presentationml.tags+xml"/>
  <Override PartName="/ppt/charts/chart259.xml" ContentType="application/vnd.openxmlformats-officedocument.drawingml.chart+xml"/>
  <Override PartName="/ppt/charts/chart260.xml" ContentType="application/vnd.openxmlformats-officedocument.drawingml.chart+xml"/>
  <Override PartName="/ppt/charts/chart261.xml" ContentType="application/vnd.openxmlformats-officedocument.drawingml.chart+xml"/>
  <Override PartName="/ppt/charts/chart262.xml" ContentType="application/vnd.openxmlformats-officedocument.drawingml.chart+xml"/>
  <Override PartName="/ppt/tags/tag116.xml" ContentType="application/vnd.openxmlformats-officedocument.presentationml.tags+xml"/>
  <Override PartName="/ppt/charts/chart263.xml" ContentType="application/vnd.openxmlformats-officedocument.drawingml.chart+xml"/>
  <Override PartName="/ppt/charts/chart264.xml" ContentType="application/vnd.openxmlformats-officedocument.drawingml.chart+xml"/>
  <Override PartName="/ppt/charts/chart265.xml" ContentType="application/vnd.openxmlformats-officedocument.drawingml.chart+xml"/>
  <Override PartName="/ppt/charts/chart266.xml" ContentType="application/vnd.openxmlformats-officedocument.drawingml.chart+xml"/>
  <Override PartName="/ppt/tags/tag117.xml" ContentType="application/vnd.openxmlformats-officedocument.presentationml.tags+xml"/>
  <Override PartName="/ppt/charts/chart267.xml" ContentType="application/vnd.openxmlformats-officedocument.drawingml.chart+xml"/>
  <Override PartName="/ppt/charts/chart268.xml" ContentType="application/vnd.openxmlformats-officedocument.drawingml.chart+xml"/>
  <Override PartName="/ppt/charts/chart269.xml" ContentType="application/vnd.openxmlformats-officedocument.drawingml.chart+xml"/>
  <Override PartName="/ppt/tags/tag118.xml" ContentType="application/vnd.openxmlformats-officedocument.presentationml.tags+xml"/>
  <Override PartName="/ppt/charts/chart270.xml" ContentType="application/vnd.openxmlformats-officedocument.drawingml.chart+xml"/>
  <Override PartName="/ppt/tags/tag119.xml" ContentType="application/vnd.openxmlformats-officedocument.presentationml.tags+xml"/>
  <Override PartName="/ppt/charts/chart271.xml" ContentType="application/vnd.openxmlformats-officedocument.drawingml.chart+xml"/>
  <Override PartName="/ppt/tags/tag120.xml" ContentType="application/vnd.openxmlformats-officedocument.presentationml.tags+xml"/>
  <Override PartName="/ppt/charts/chart272.xml" ContentType="application/vnd.openxmlformats-officedocument.drawingml.chart+xml"/>
  <Override PartName="/ppt/tags/tag121.xml" ContentType="application/vnd.openxmlformats-officedocument.presentationml.tags+xml"/>
  <Override PartName="/ppt/charts/chart273.xml" ContentType="application/vnd.openxmlformats-officedocument.drawingml.chart+xml"/>
  <Override PartName="/ppt/tags/tag122.xml" ContentType="application/vnd.openxmlformats-officedocument.presentationml.tags+xml"/>
  <Override PartName="/ppt/charts/chart274.xml" ContentType="application/vnd.openxmlformats-officedocument.drawingml.chart+xml"/>
  <Override PartName="/ppt/tags/tag123.xml" ContentType="application/vnd.openxmlformats-officedocument.presentationml.tags+xml"/>
  <Override PartName="/ppt/charts/chart275.xml" ContentType="application/vnd.openxmlformats-officedocument.drawingml.chart+xml"/>
  <Override PartName="/ppt/tags/tag124.xml" ContentType="application/vnd.openxmlformats-officedocument.presentationml.tags+xml"/>
  <Override PartName="/ppt/charts/chart276.xml" ContentType="application/vnd.openxmlformats-officedocument.drawingml.chart+xml"/>
  <Override PartName="/ppt/tags/tag125.xml" ContentType="application/vnd.openxmlformats-officedocument.presentationml.tags+xml"/>
  <Override PartName="/ppt/charts/chart277.xml" ContentType="application/vnd.openxmlformats-officedocument.drawingml.chart+xml"/>
  <Override PartName="/ppt/tags/tag126.xml" ContentType="application/vnd.openxmlformats-officedocument.presentationml.tags+xml"/>
  <Override PartName="/ppt/charts/chart278.xml" ContentType="application/vnd.openxmlformats-officedocument.drawingml.chart+xml"/>
  <Override PartName="/ppt/tags/tag127.xml" ContentType="application/vnd.openxmlformats-officedocument.presentationml.tags+xml"/>
  <Override PartName="/ppt/charts/chart279.xml" ContentType="application/vnd.openxmlformats-officedocument.drawingml.chart+xml"/>
  <Override PartName="/ppt/tags/tag128.xml" ContentType="application/vnd.openxmlformats-officedocument.presentationml.tags+xml"/>
  <Override PartName="/ppt/charts/chart280.xml" ContentType="application/vnd.openxmlformats-officedocument.drawingml.chart+xml"/>
  <Override PartName="/ppt/tags/tag129.xml" ContentType="application/vnd.openxmlformats-officedocument.presentationml.tags+xml"/>
  <Override PartName="/ppt/charts/chart281.xml" ContentType="application/vnd.openxmlformats-officedocument.drawingml.chart+xml"/>
  <Override PartName="/ppt/tags/tag130.xml" ContentType="application/vnd.openxmlformats-officedocument.presentationml.tags+xml"/>
  <Override PartName="/ppt/charts/chart282.xml" ContentType="application/vnd.openxmlformats-officedocument.drawingml.chart+xml"/>
  <Override PartName="/ppt/tags/tag131.xml" ContentType="application/vnd.openxmlformats-officedocument.presentationml.tags+xml"/>
  <Override PartName="/ppt/charts/chart283.xml" ContentType="application/vnd.openxmlformats-officedocument.drawingml.chart+xml"/>
  <Override PartName="/ppt/tags/tag132.xml" ContentType="application/vnd.openxmlformats-officedocument.presentationml.tags+xml"/>
  <Override PartName="/ppt/charts/chart284.xml" ContentType="application/vnd.openxmlformats-officedocument.drawingml.chart+xml"/>
  <Override PartName="/ppt/tags/tag133.xml" ContentType="application/vnd.openxmlformats-officedocument.presentationml.tags+xml"/>
  <Override PartName="/ppt/charts/chart285.xml" ContentType="application/vnd.openxmlformats-officedocument.drawingml.chart+xml"/>
  <Override PartName="/ppt/tags/tag134.xml" ContentType="application/vnd.openxmlformats-officedocument.presentationml.tags+xml"/>
  <Override PartName="/ppt/charts/chart286.xml" ContentType="application/vnd.openxmlformats-officedocument.drawingml.chart+xml"/>
  <Override PartName="/ppt/tags/tag135.xml" ContentType="application/vnd.openxmlformats-officedocument.presentationml.tags+xml"/>
  <Override PartName="/ppt/charts/chart287.xml" ContentType="application/vnd.openxmlformats-officedocument.drawingml.chart+xml"/>
  <Override PartName="/ppt/tags/tag136.xml" ContentType="application/vnd.openxmlformats-officedocument.presentationml.tags+xml"/>
  <Override PartName="/ppt/charts/chart288.xml" ContentType="application/vnd.openxmlformats-officedocument.drawingml.chart+xml"/>
  <Override PartName="/ppt/tags/tag137.xml" ContentType="application/vnd.openxmlformats-officedocument.presentationml.tags+xml"/>
  <Override PartName="/ppt/charts/chart289.xml" ContentType="application/vnd.openxmlformats-officedocument.drawingml.chart+xml"/>
  <Override PartName="/ppt/tags/tag138.xml" ContentType="application/vnd.openxmlformats-officedocument.presentationml.tags+xml"/>
  <Override PartName="/ppt/charts/chart290.xml" ContentType="application/vnd.openxmlformats-officedocument.drawingml.chart+xml"/>
  <Override PartName="/ppt/tags/tag139.xml" ContentType="application/vnd.openxmlformats-officedocument.presentationml.tags+xml"/>
  <Override PartName="/ppt/charts/chart291.xml" ContentType="application/vnd.openxmlformats-officedocument.drawingml.chart+xml"/>
  <Override PartName="/ppt/tags/tag140.xml" ContentType="application/vnd.openxmlformats-officedocument.presentationml.tags+xml"/>
  <Override PartName="/ppt/charts/chart292.xml" ContentType="application/vnd.openxmlformats-officedocument.drawingml.chart+xml"/>
  <Override PartName="/ppt/tags/tag141.xml" ContentType="application/vnd.openxmlformats-officedocument.presentationml.tags+xml"/>
  <Override PartName="/ppt/charts/chart293.xml" ContentType="application/vnd.openxmlformats-officedocument.drawingml.chart+xml"/>
  <Override PartName="/ppt/tags/tag142.xml" ContentType="application/vnd.openxmlformats-officedocument.presentationml.tags+xml"/>
  <Override PartName="/ppt/charts/chart294.xml" ContentType="application/vnd.openxmlformats-officedocument.drawingml.chart+xml"/>
  <Override PartName="/ppt/tags/tag143.xml" ContentType="application/vnd.openxmlformats-officedocument.presentationml.tags+xml"/>
  <Override PartName="/ppt/charts/chart295.xml" ContentType="application/vnd.openxmlformats-officedocument.drawingml.chart+xml"/>
  <Override PartName="/ppt/tags/tag144.xml" ContentType="application/vnd.openxmlformats-officedocument.presentationml.tags+xml"/>
  <Override PartName="/ppt/charts/chart296.xml" ContentType="application/vnd.openxmlformats-officedocument.drawingml.chart+xml"/>
  <Override PartName="/ppt/tags/tag145.xml" ContentType="application/vnd.openxmlformats-officedocument.presentationml.tags+xml"/>
  <Override PartName="/ppt/charts/chart297.xml" ContentType="application/vnd.openxmlformats-officedocument.drawingml.chart+xml"/>
  <Override PartName="/ppt/tags/tag146.xml" ContentType="application/vnd.openxmlformats-officedocument.presentationml.tags+xml"/>
  <Override PartName="/ppt/charts/chart298.xml" ContentType="application/vnd.openxmlformats-officedocument.drawingml.chart+xml"/>
  <Override PartName="/ppt/tags/tag147.xml" ContentType="application/vnd.openxmlformats-officedocument.presentationml.tags+xml"/>
  <Override PartName="/ppt/charts/chart299.xml" ContentType="application/vnd.openxmlformats-officedocument.drawingml.chart+xml"/>
  <Override PartName="/ppt/tags/tag148.xml" ContentType="application/vnd.openxmlformats-officedocument.presentationml.tags+xml"/>
  <Override PartName="/ppt/charts/chart300.xml" ContentType="application/vnd.openxmlformats-officedocument.drawingml.chart+xml"/>
  <Override PartName="/ppt/tags/tag149.xml" ContentType="application/vnd.openxmlformats-officedocument.presentationml.tags+xml"/>
  <Override PartName="/ppt/charts/chart301.xml" ContentType="application/vnd.openxmlformats-officedocument.drawingml.chart+xml"/>
  <Override PartName="/ppt/tags/tag150.xml" ContentType="application/vnd.openxmlformats-officedocument.presentationml.tags+xml"/>
  <Override PartName="/ppt/charts/chart302.xml" ContentType="application/vnd.openxmlformats-officedocument.drawingml.chart+xml"/>
  <Override PartName="/ppt/tags/tag151.xml" ContentType="application/vnd.openxmlformats-officedocument.presentationml.tags+xml"/>
  <Override PartName="/ppt/charts/chart303.xml" ContentType="application/vnd.openxmlformats-officedocument.drawingml.chart+xml"/>
  <Override PartName="/ppt/tags/tag152.xml" ContentType="application/vnd.openxmlformats-officedocument.presentationml.tags+xml"/>
  <Override PartName="/ppt/charts/chart304.xml" ContentType="application/vnd.openxmlformats-officedocument.drawingml.chart+xml"/>
  <Override PartName="/ppt/tags/tag153.xml" ContentType="application/vnd.openxmlformats-officedocument.presentationml.tags+xml"/>
  <Override PartName="/ppt/charts/chart305.xml" ContentType="application/vnd.openxmlformats-officedocument.drawingml.chart+xml"/>
  <Override PartName="/ppt/tags/tag154.xml" ContentType="application/vnd.openxmlformats-officedocument.presentationml.tags+xml"/>
  <Override PartName="/ppt/charts/chart306.xml" ContentType="application/vnd.openxmlformats-officedocument.drawingml.chart+xml"/>
  <Override PartName="/ppt/tags/tag155.xml" ContentType="application/vnd.openxmlformats-officedocument.presentationml.tags+xml"/>
  <Override PartName="/ppt/charts/chart307.xml" ContentType="application/vnd.openxmlformats-officedocument.drawingml.chart+xml"/>
  <Override PartName="/ppt/tags/tag156.xml" ContentType="application/vnd.openxmlformats-officedocument.presentationml.tags+xml"/>
  <Override PartName="/ppt/charts/chart308.xml" ContentType="application/vnd.openxmlformats-officedocument.drawingml.chart+xml"/>
  <Override PartName="/ppt/tags/tag157.xml" ContentType="application/vnd.openxmlformats-officedocument.presentationml.tags+xml"/>
  <Override PartName="/ppt/charts/chart309.xml" ContentType="application/vnd.openxmlformats-officedocument.drawingml.chart+xml"/>
  <Override PartName="/ppt/tags/tag158.xml" ContentType="application/vnd.openxmlformats-officedocument.presentationml.tags+xml"/>
  <Override PartName="/ppt/charts/chart310.xml" ContentType="application/vnd.openxmlformats-officedocument.drawingml.chart+xml"/>
  <Override PartName="/ppt/tags/tag159.xml" ContentType="application/vnd.openxmlformats-officedocument.presentationml.tags+xml"/>
  <Override PartName="/ppt/charts/chart311.xml" ContentType="application/vnd.openxmlformats-officedocument.drawingml.chart+xml"/>
  <Override PartName="/ppt/tags/tag160.xml" ContentType="application/vnd.openxmlformats-officedocument.presentationml.tags+xml"/>
  <Override PartName="/ppt/charts/chart312.xml" ContentType="application/vnd.openxmlformats-officedocument.drawingml.chart+xml"/>
  <Override PartName="/ppt/tags/tag161.xml" ContentType="application/vnd.openxmlformats-officedocument.presentationml.tags+xml"/>
  <Override PartName="/ppt/charts/chart313.xml" ContentType="application/vnd.openxmlformats-officedocument.drawingml.chart+xml"/>
  <Override PartName="/ppt/tags/tag162.xml" ContentType="application/vnd.openxmlformats-officedocument.presentationml.tags+xml"/>
  <Override PartName="/ppt/charts/chart314.xml" ContentType="application/vnd.openxmlformats-officedocument.drawingml.chart+xml"/>
  <Override PartName="/ppt/tags/tag163.xml" ContentType="application/vnd.openxmlformats-officedocument.presentationml.tags+xml"/>
  <Override PartName="/ppt/charts/chart315.xml" ContentType="application/vnd.openxmlformats-officedocument.drawingml.chart+xml"/>
  <Override PartName="/ppt/tags/tag164.xml" ContentType="application/vnd.openxmlformats-officedocument.presentationml.tags+xml"/>
  <Override PartName="/ppt/charts/chart316.xml" ContentType="application/vnd.openxmlformats-officedocument.drawingml.chart+xml"/>
  <Override PartName="/ppt/tags/tag165.xml" ContentType="application/vnd.openxmlformats-officedocument.presentationml.tags+xml"/>
  <Override PartName="/ppt/charts/chart317.xml" ContentType="application/vnd.openxmlformats-officedocument.drawingml.chart+xml"/>
  <Override PartName="/ppt/tags/tag166.xml" ContentType="application/vnd.openxmlformats-officedocument.presentationml.tags+xml"/>
  <Override PartName="/ppt/charts/chart318.xml" ContentType="application/vnd.openxmlformats-officedocument.drawingml.chart+xml"/>
  <Override PartName="/ppt/tags/tag167.xml" ContentType="application/vnd.openxmlformats-officedocument.presentationml.tags+xml"/>
  <Override PartName="/ppt/charts/chart319.xml" ContentType="application/vnd.openxmlformats-officedocument.drawingml.chart+xml"/>
  <Override PartName="/ppt/tags/tag168.xml" ContentType="application/vnd.openxmlformats-officedocument.presentationml.tags+xml"/>
  <Override PartName="/ppt/charts/chart320.xml" ContentType="application/vnd.openxmlformats-officedocument.drawingml.chart+xml"/>
  <Override PartName="/ppt/tags/tag169.xml" ContentType="application/vnd.openxmlformats-officedocument.presentationml.tags+xml"/>
  <Override PartName="/ppt/charts/chart321.xml" ContentType="application/vnd.openxmlformats-officedocument.drawingml.chart+xml"/>
  <Override PartName="/ppt/tags/tag170.xml" ContentType="application/vnd.openxmlformats-officedocument.presentationml.tags+xml"/>
  <Override PartName="/ppt/charts/chart322.xml" ContentType="application/vnd.openxmlformats-officedocument.drawingml.chart+xml"/>
  <Override PartName="/ppt/tags/tag171.xml" ContentType="application/vnd.openxmlformats-officedocument.presentationml.tags+xml"/>
  <Override PartName="/ppt/charts/chart323.xml" ContentType="application/vnd.openxmlformats-officedocument.drawingml.chart+xml"/>
  <Override PartName="/ppt/tags/tag172.xml" ContentType="application/vnd.openxmlformats-officedocument.presentationml.tags+xml"/>
  <Override PartName="/ppt/charts/chart324.xml" ContentType="application/vnd.openxmlformats-officedocument.drawingml.chart+xml"/>
  <Override PartName="/ppt/tags/tag173.xml" ContentType="application/vnd.openxmlformats-officedocument.presentationml.tags+xml"/>
  <Override PartName="/ppt/charts/chart325.xml" ContentType="application/vnd.openxmlformats-officedocument.drawingml.chart+xml"/>
  <Override PartName="/ppt/tags/tag174.xml" ContentType="application/vnd.openxmlformats-officedocument.presentationml.tags+xml"/>
  <Override PartName="/ppt/charts/chart326.xml" ContentType="application/vnd.openxmlformats-officedocument.drawingml.chart+xml"/>
  <Override PartName="/ppt/tags/tag175.xml" ContentType="application/vnd.openxmlformats-officedocument.presentationml.tags+xml"/>
  <Override PartName="/ppt/charts/chart327.xml" ContentType="application/vnd.openxmlformats-officedocument.drawingml.chart+xml"/>
  <Override PartName="/ppt/tags/tag176.xml" ContentType="application/vnd.openxmlformats-officedocument.presentationml.tags+xml"/>
  <Override PartName="/ppt/charts/chart328.xml" ContentType="application/vnd.openxmlformats-officedocument.drawingml.chart+xml"/>
  <Override PartName="/ppt/tags/tag177.xml" ContentType="application/vnd.openxmlformats-officedocument.presentationml.tags+xml"/>
  <Override PartName="/ppt/charts/chart329.xml" ContentType="application/vnd.openxmlformats-officedocument.drawingml.chart+xml"/>
  <Override PartName="/ppt/tags/tag178.xml" ContentType="application/vnd.openxmlformats-officedocument.presentationml.tags+xml"/>
  <Override PartName="/ppt/charts/chart330.xml" ContentType="application/vnd.openxmlformats-officedocument.drawingml.chart+xml"/>
  <Override PartName="/ppt/tags/tag179.xml" ContentType="application/vnd.openxmlformats-officedocument.presentationml.tags+xml"/>
  <Override PartName="/ppt/charts/chart331.xml" ContentType="application/vnd.openxmlformats-officedocument.drawingml.chart+xml"/>
  <Override PartName="/ppt/tags/tag180.xml" ContentType="application/vnd.openxmlformats-officedocument.presentationml.tags+xml"/>
  <Override PartName="/ppt/charts/chart332.xml" ContentType="application/vnd.openxmlformats-officedocument.drawingml.chart+xml"/>
  <Override PartName="/ppt/tags/tag181.xml" ContentType="application/vnd.openxmlformats-officedocument.presentationml.tags+xml"/>
  <Override PartName="/ppt/charts/chart333.xml" ContentType="application/vnd.openxmlformats-officedocument.drawingml.chart+xml"/>
  <Override PartName="/ppt/tags/tag182.xml" ContentType="application/vnd.openxmlformats-officedocument.presentationml.tags+xml"/>
  <Override PartName="/ppt/charts/chart334.xml" ContentType="application/vnd.openxmlformats-officedocument.drawingml.chart+xml"/>
  <Override PartName="/ppt/tags/tag183.xml" ContentType="application/vnd.openxmlformats-officedocument.presentationml.tags+xml"/>
  <Override PartName="/ppt/charts/chart335.xml" ContentType="application/vnd.openxmlformats-officedocument.drawingml.chart+xml"/>
  <Override PartName="/ppt/tags/tag184.xml" ContentType="application/vnd.openxmlformats-officedocument.presentationml.tags+xml"/>
  <Override PartName="/ppt/charts/chart336.xml" ContentType="application/vnd.openxmlformats-officedocument.drawingml.chart+xml"/>
  <Override PartName="/ppt/tags/tag185.xml" ContentType="application/vnd.openxmlformats-officedocument.presentationml.tags+xml"/>
  <Override PartName="/ppt/charts/chart337.xml" ContentType="application/vnd.openxmlformats-officedocument.drawingml.chart+xml"/>
  <Override PartName="/ppt/tags/tag186.xml" ContentType="application/vnd.openxmlformats-officedocument.presentationml.tags+xml"/>
  <Override PartName="/ppt/charts/chart338.xml" ContentType="application/vnd.openxmlformats-officedocument.drawingml.chart+xml"/>
  <Override PartName="/ppt/tags/tag187.xml" ContentType="application/vnd.openxmlformats-officedocument.presentationml.tags+xml"/>
  <Override PartName="/ppt/charts/chart339.xml" ContentType="application/vnd.openxmlformats-officedocument.drawingml.chart+xml"/>
  <Override PartName="/ppt/tags/tag188.xml" ContentType="application/vnd.openxmlformats-officedocument.presentationml.tags+xml"/>
  <Override PartName="/ppt/charts/chart340.xml" ContentType="application/vnd.openxmlformats-officedocument.drawingml.chart+xml"/>
  <Override PartName="/ppt/tags/tag189.xml" ContentType="application/vnd.openxmlformats-officedocument.presentationml.tags+xml"/>
  <Override PartName="/ppt/charts/chart341.xml" ContentType="application/vnd.openxmlformats-officedocument.drawingml.chart+xml"/>
  <Override PartName="/ppt/tags/tag190.xml" ContentType="application/vnd.openxmlformats-officedocument.presentationml.tags+xml"/>
  <Override PartName="/ppt/charts/chart342.xml" ContentType="application/vnd.openxmlformats-officedocument.drawingml.chart+xml"/>
  <Override PartName="/ppt/tags/tag191.xml" ContentType="application/vnd.openxmlformats-officedocument.presentationml.tags+xml"/>
  <Override PartName="/ppt/charts/chart343.xml" ContentType="application/vnd.openxmlformats-officedocument.drawingml.chart+xml"/>
  <Override PartName="/ppt/tags/tag192.xml" ContentType="application/vnd.openxmlformats-officedocument.presentationml.tags+xml"/>
  <Override PartName="/ppt/charts/chart344.xml" ContentType="application/vnd.openxmlformats-officedocument.drawingml.chart+xml"/>
  <Override PartName="/ppt/tags/tag193.xml" ContentType="application/vnd.openxmlformats-officedocument.presentationml.tags+xml"/>
  <Override PartName="/ppt/charts/chart345.xml" ContentType="application/vnd.openxmlformats-officedocument.drawingml.chart+xml"/>
  <Override PartName="/ppt/tags/tag194.xml" ContentType="application/vnd.openxmlformats-officedocument.presentationml.tags+xml"/>
  <Override PartName="/ppt/charts/chart346.xml" ContentType="application/vnd.openxmlformats-officedocument.drawingml.chart+xml"/>
  <Override PartName="/ppt/tags/tag195.xml" ContentType="application/vnd.openxmlformats-officedocument.presentationml.tags+xml"/>
  <Override PartName="/ppt/charts/chart347.xml" ContentType="application/vnd.openxmlformats-officedocument.drawingml.chart+xml"/>
  <Override PartName="/ppt/tags/tag196.xml" ContentType="application/vnd.openxmlformats-officedocument.presentationml.tags+xml"/>
  <Override PartName="/ppt/charts/chart348.xml" ContentType="application/vnd.openxmlformats-officedocument.drawingml.chart+xml"/>
  <Override PartName="/ppt/tags/tag197.xml" ContentType="application/vnd.openxmlformats-officedocument.presentationml.tags+xml"/>
  <Override PartName="/ppt/charts/chart349.xml" ContentType="application/vnd.openxmlformats-officedocument.drawingml.chart+xml"/>
  <Override PartName="/ppt/tags/tag198.xml" ContentType="application/vnd.openxmlformats-officedocument.presentationml.tags+xml"/>
  <Override PartName="/ppt/charts/chart350.xml" ContentType="application/vnd.openxmlformats-officedocument.drawingml.chart+xml"/>
  <Override PartName="/ppt/tags/tag199.xml" ContentType="application/vnd.openxmlformats-officedocument.presentationml.tags+xml"/>
  <Override PartName="/ppt/charts/chart351.xml" ContentType="application/vnd.openxmlformats-officedocument.drawingml.chart+xml"/>
  <Override PartName="/ppt/tags/tag200.xml" ContentType="application/vnd.openxmlformats-officedocument.presentationml.tags+xml"/>
  <Override PartName="/ppt/charts/chart352.xml" ContentType="application/vnd.openxmlformats-officedocument.drawingml.chart+xml"/>
  <Override PartName="/ppt/tags/tag201.xml" ContentType="application/vnd.openxmlformats-officedocument.presentationml.tags+xml"/>
  <Override PartName="/ppt/charts/chart353.xml" ContentType="application/vnd.openxmlformats-officedocument.drawingml.chart+xml"/>
  <Override PartName="/ppt/tags/tag202.xml" ContentType="application/vnd.openxmlformats-officedocument.presentationml.tags+xml"/>
  <Override PartName="/ppt/charts/chart354.xml" ContentType="application/vnd.openxmlformats-officedocument.drawingml.chart+xml"/>
  <Override PartName="/ppt/tags/tag203.xml" ContentType="application/vnd.openxmlformats-officedocument.presentationml.tags+xml"/>
  <Override PartName="/ppt/charts/chart355.xml" ContentType="application/vnd.openxmlformats-officedocument.drawingml.chart+xml"/>
  <Override PartName="/ppt/tags/tag204.xml" ContentType="application/vnd.openxmlformats-officedocument.presentationml.tags+xml"/>
  <Override PartName="/ppt/charts/chart356.xml" ContentType="application/vnd.openxmlformats-officedocument.drawingml.chart+xml"/>
  <Override PartName="/ppt/tags/tag205.xml" ContentType="application/vnd.openxmlformats-officedocument.presentationml.tags+xml"/>
  <Override PartName="/ppt/charts/chart357.xml" ContentType="application/vnd.openxmlformats-officedocument.drawingml.chart+xml"/>
  <Override PartName="/ppt/tags/tag206.xml" ContentType="application/vnd.openxmlformats-officedocument.presentationml.tags+xml"/>
  <Override PartName="/ppt/charts/chart358.xml" ContentType="application/vnd.openxmlformats-officedocument.drawingml.chart+xml"/>
  <Override PartName="/ppt/tags/tag207.xml" ContentType="application/vnd.openxmlformats-officedocument.presentationml.tags+xml"/>
  <Override PartName="/ppt/charts/chart359.xml" ContentType="application/vnd.openxmlformats-officedocument.drawingml.chart+xml"/>
  <Override PartName="/ppt/tags/tag208.xml" ContentType="application/vnd.openxmlformats-officedocument.presentationml.tags+xml"/>
  <Override PartName="/ppt/charts/chart360.xml" ContentType="application/vnd.openxmlformats-officedocument.drawingml.chart+xml"/>
  <Override PartName="/ppt/tags/tag209.xml" ContentType="application/vnd.openxmlformats-officedocument.presentationml.tags+xml"/>
  <Override PartName="/ppt/charts/chart361.xml" ContentType="application/vnd.openxmlformats-officedocument.drawingml.chart+xml"/>
  <Override PartName="/ppt/tags/tag210.xml" ContentType="application/vnd.openxmlformats-officedocument.presentationml.tags+xml"/>
  <Override PartName="/ppt/charts/chart362.xml" ContentType="application/vnd.openxmlformats-officedocument.drawingml.chart+xml"/>
  <Override PartName="/ppt/tags/tag211.xml" ContentType="application/vnd.openxmlformats-officedocument.presentationml.tags+xml"/>
  <Override PartName="/ppt/charts/chart363.xml" ContentType="application/vnd.openxmlformats-officedocument.drawingml.chart+xml"/>
  <Override PartName="/ppt/tags/tag212.xml" ContentType="application/vnd.openxmlformats-officedocument.presentationml.tags+xml"/>
  <Override PartName="/ppt/charts/chart364.xml" ContentType="application/vnd.openxmlformats-officedocument.drawingml.chart+xml"/>
  <Override PartName="/ppt/tags/tag213.xml" ContentType="application/vnd.openxmlformats-officedocument.presentationml.tags+xml"/>
  <Override PartName="/ppt/charts/chart365.xml" ContentType="application/vnd.openxmlformats-officedocument.drawingml.chart+xml"/>
  <Override PartName="/ppt/tags/tag214.xml" ContentType="application/vnd.openxmlformats-officedocument.presentationml.tags+xml"/>
  <Override PartName="/ppt/charts/chart366.xml" ContentType="application/vnd.openxmlformats-officedocument.drawingml.chart+xml"/>
  <Override PartName="/ppt/tags/tag215.xml" ContentType="application/vnd.openxmlformats-officedocument.presentationml.tags+xml"/>
  <Override PartName="/ppt/charts/chart367.xml" ContentType="application/vnd.openxmlformats-officedocument.drawingml.chart+xml"/>
  <Override PartName="/ppt/tags/tag216.xml" ContentType="application/vnd.openxmlformats-officedocument.presentationml.tags+xml"/>
  <Override PartName="/ppt/charts/chart368.xml" ContentType="application/vnd.openxmlformats-officedocument.drawingml.chart+xml"/>
  <Override PartName="/ppt/tags/tag217.xml" ContentType="application/vnd.openxmlformats-officedocument.presentationml.tags+xml"/>
  <Override PartName="/ppt/charts/chart369.xml" ContentType="application/vnd.openxmlformats-officedocument.drawingml.chart+xml"/>
  <Override PartName="/ppt/tags/tag218.xml" ContentType="application/vnd.openxmlformats-officedocument.presentationml.tags+xml"/>
  <Override PartName="/ppt/charts/chart370.xml" ContentType="application/vnd.openxmlformats-officedocument.drawingml.chart+xml"/>
  <Override PartName="/ppt/tags/tag219.xml" ContentType="application/vnd.openxmlformats-officedocument.presentationml.tags+xml"/>
  <Override PartName="/ppt/charts/chart371.xml" ContentType="application/vnd.openxmlformats-officedocument.drawingml.chart+xml"/>
  <Override PartName="/ppt/tags/tag220.xml" ContentType="application/vnd.openxmlformats-officedocument.presentationml.tags+xml"/>
  <Override PartName="/ppt/charts/chart372.xml" ContentType="application/vnd.openxmlformats-officedocument.drawingml.chart+xml"/>
  <Override PartName="/ppt/tags/tag221.xml" ContentType="application/vnd.openxmlformats-officedocument.presentationml.tags+xml"/>
  <Override PartName="/ppt/charts/chart373.xml" ContentType="application/vnd.openxmlformats-officedocument.drawingml.chart+xml"/>
  <Override PartName="/ppt/tags/tag222.xml" ContentType="application/vnd.openxmlformats-officedocument.presentationml.tags+xml"/>
  <Override PartName="/ppt/charts/chart374.xml" ContentType="application/vnd.openxmlformats-officedocument.drawingml.chart+xml"/>
  <Override PartName="/ppt/tags/tag223.xml" ContentType="application/vnd.openxmlformats-officedocument.presentationml.tags+xml"/>
  <Override PartName="/ppt/charts/chart375.xml" ContentType="application/vnd.openxmlformats-officedocument.drawingml.chart+xml"/>
  <Override PartName="/ppt/tags/tag224.xml" ContentType="application/vnd.openxmlformats-officedocument.presentationml.tags+xml"/>
  <Override PartName="/ppt/charts/chart376.xml" ContentType="application/vnd.openxmlformats-officedocument.drawingml.chart+xml"/>
  <Override PartName="/ppt/tags/tag225.xml" ContentType="application/vnd.openxmlformats-officedocument.presentationml.tags+xml"/>
  <Override PartName="/ppt/charts/chart377.xml" ContentType="application/vnd.openxmlformats-officedocument.drawingml.chart+xml"/>
  <Override PartName="/ppt/tags/tag226.xml" ContentType="application/vnd.openxmlformats-officedocument.presentationml.tags+xml"/>
  <Override PartName="/ppt/charts/chart378.xml" ContentType="application/vnd.openxmlformats-officedocument.drawingml.chart+xml"/>
  <Override PartName="/ppt/tags/tag227.xml" ContentType="application/vnd.openxmlformats-officedocument.presentationml.tags+xml"/>
  <Override PartName="/ppt/charts/chart379.xml" ContentType="application/vnd.openxmlformats-officedocument.drawingml.chart+xml"/>
  <Override PartName="/ppt/tags/tag228.xml" ContentType="application/vnd.openxmlformats-officedocument.presentationml.tags+xml"/>
  <Override PartName="/ppt/charts/chart380.xml" ContentType="application/vnd.openxmlformats-officedocument.drawingml.chart+xml"/>
  <Override PartName="/ppt/tags/tag229.xml" ContentType="application/vnd.openxmlformats-officedocument.presentationml.tags+xml"/>
  <Override PartName="/ppt/charts/chart381.xml" ContentType="application/vnd.openxmlformats-officedocument.drawingml.chart+xml"/>
  <Override PartName="/ppt/tags/tag230.xml" ContentType="application/vnd.openxmlformats-officedocument.presentationml.tags+xml"/>
  <Override PartName="/ppt/charts/chart382.xml" ContentType="application/vnd.openxmlformats-officedocument.drawingml.chart+xml"/>
  <Override PartName="/ppt/tags/tag231.xml" ContentType="application/vnd.openxmlformats-officedocument.presentationml.tags+xml"/>
  <Override PartName="/ppt/charts/chart383.xml" ContentType="application/vnd.openxmlformats-officedocument.drawingml.chart+xml"/>
  <Override PartName="/ppt/tags/tag232.xml" ContentType="application/vnd.openxmlformats-officedocument.presentationml.tags+xml"/>
  <Override PartName="/ppt/charts/chart384.xml" ContentType="application/vnd.openxmlformats-officedocument.drawingml.chart+xml"/>
  <Override PartName="/ppt/tags/tag233.xml" ContentType="application/vnd.openxmlformats-officedocument.presentationml.tags+xml"/>
  <Override PartName="/ppt/charts/chart385.xml" ContentType="application/vnd.openxmlformats-officedocument.drawingml.chart+xml"/>
  <Override PartName="/ppt/tags/tag234.xml" ContentType="application/vnd.openxmlformats-officedocument.presentationml.tags+xml"/>
  <Override PartName="/ppt/charts/chart386.xml" ContentType="application/vnd.openxmlformats-officedocument.drawingml.chart+xml"/>
  <Override PartName="/ppt/tags/tag235.xml" ContentType="application/vnd.openxmlformats-officedocument.presentationml.tags+xml"/>
  <Override PartName="/ppt/charts/chart387.xml" ContentType="application/vnd.openxmlformats-officedocument.drawingml.chart+xml"/>
  <Override PartName="/ppt/tags/tag236.xml" ContentType="application/vnd.openxmlformats-officedocument.presentationml.tags+xml"/>
  <Override PartName="/ppt/charts/chart388.xml" ContentType="application/vnd.openxmlformats-officedocument.drawingml.chart+xml"/>
  <Override PartName="/ppt/tags/tag237.xml" ContentType="application/vnd.openxmlformats-officedocument.presentationml.tags+xml"/>
  <Override PartName="/ppt/charts/chart389.xml" ContentType="application/vnd.openxmlformats-officedocument.drawingml.chart+xml"/>
  <Override PartName="/ppt/tags/tag238.xml" ContentType="application/vnd.openxmlformats-officedocument.presentationml.tags+xml"/>
  <Override PartName="/ppt/charts/chart390.xml" ContentType="application/vnd.openxmlformats-officedocument.drawingml.chart+xml"/>
  <Override PartName="/ppt/tags/tag239.xml" ContentType="application/vnd.openxmlformats-officedocument.presentationml.tags+xml"/>
  <Override PartName="/ppt/charts/chart391.xml" ContentType="application/vnd.openxmlformats-officedocument.drawingml.chart+xml"/>
  <Override PartName="/ppt/tags/tag240.xml" ContentType="application/vnd.openxmlformats-officedocument.presentationml.tags+xml"/>
  <Override PartName="/ppt/charts/chart392.xml" ContentType="application/vnd.openxmlformats-officedocument.drawingml.chart+xml"/>
  <Override PartName="/ppt/tags/tag241.xml" ContentType="application/vnd.openxmlformats-officedocument.presentationml.tags+xml"/>
  <Override PartName="/ppt/charts/chart393.xml" ContentType="application/vnd.openxmlformats-officedocument.drawingml.chart+xml"/>
  <Override PartName="/ppt/tags/tag242.xml" ContentType="application/vnd.openxmlformats-officedocument.presentationml.tags+xml"/>
  <Override PartName="/ppt/charts/chart394.xml" ContentType="application/vnd.openxmlformats-officedocument.drawingml.chart+xml"/>
  <Override PartName="/ppt/tags/tag243.xml" ContentType="application/vnd.openxmlformats-officedocument.presentationml.tags+xml"/>
  <Override PartName="/ppt/charts/chart395.xml" ContentType="application/vnd.openxmlformats-officedocument.drawingml.chart+xml"/>
  <Override PartName="/ppt/tags/tag244.xml" ContentType="application/vnd.openxmlformats-officedocument.presentationml.tags+xml"/>
  <Override PartName="/ppt/charts/chart396.xml" ContentType="application/vnd.openxmlformats-officedocument.drawingml.chart+xml"/>
  <Override PartName="/ppt/tags/tag245.xml" ContentType="application/vnd.openxmlformats-officedocument.presentationml.tags+xml"/>
  <Override PartName="/ppt/charts/chart397.xml" ContentType="application/vnd.openxmlformats-officedocument.drawingml.chart+xml"/>
  <Override PartName="/ppt/tags/tag246.xml" ContentType="application/vnd.openxmlformats-officedocument.presentationml.tags+xml"/>
  <Override PartName="/ppt/charts/chart398.xml" ContentType="application/vnd.openxmlformats-officedocument.drawingml.chart+xml"/>
  <Override PartName="/ppt/tags/tag247.xml" ContentType="application/vnd.openxmlformats-officedocument.presentationml.tags+xml"/>
  <Override PartName="/ppt/charts/chart399.xml" ContentType="application/vnd.openxmlformats-officedocument.drawingml.chart+xml"/>
  <Override PartName="/ppt/tags/tag248.xml" ContentType="application/vnd.openxmlformats-officedocument.presentationml.tags+xml"/>
  <Override PartName="/ppt/charts/chart400.xml" ContentType="application/vnd.openxmlformats-officedocument.drawingml.chart+xml"/>
  <Override PartName="/ppt/tags/tag249.xml" ContentType="application/vnd.openxmlformats-officedocument.presentationml.tags+xml"/>
  <Override PartName="/ppt/charts/chart401.xml" ContentType="application/vnd.openxmlformats-officedocument.drawingml.chart+xml"/>
  <Override PartName="/ppt/tags/tag250.xml" ContentType="application/vnd.openxmlformats-officedocument.presentationml.tags+xml"/>
  <Override PartName="/ppt/charts/chart402.xml" ContentType="application/vnd.openxmlformats-officedocument.drawingml.chart+xml"/>
  <Override PartName="/ppt/tags/tag251.xml" ContentType="application/vnd.openxmlformats-officedocument.presentationml.tags+xml"/>
  <Override PartName="/ppt/charts/chart403.xml" ContentType="application/vnd.openxmlformats-officedocument.drawingml.chart+xml"/>
  <Override PartName="/ppt/tags/tag252.xml" ContentType="application/vnd.openxmlformats-officedocument.presentationml.tags+xml"/>
  <Override PartName="/ppt/charts/chart404.xml" ContentType="application/vnd.openxmlformats-officedocument.drawingml.chart+xml"/>
  <Override PartName="/ppt/tags/tag253.xml" ContentType="application/vnd.openxmlformats-officedocument.presentationml.tags+xml"/>
  <Override PartName="/ppt/charts/chart405.xml" ContentType="application/vnd.openxmlformats-officedocument.drawingml.chart+xml"/>
  <Override PartName="/ppt/tags/tag254.xml" ContentType="application/vnd.openxmlformats-officedocument.presentationml.tags+xml"/>
  <Override PartName="/ppt/charts/chart406.xml" ContentType="application/vnd.openxmlformats-officedocument.drawingml.chart+xml"/>
  <Override PartName="/ppt/tags/tag255.xml" ContentType="application/vnd.openxmlformats-officedocument.presentationml.tags+xml"/>
  <Override PartName="/ppt/charts/chart407.xml" ContentType="application/vnd.openxmlformats-officedocument.drawingml.chart+xml"/>
  <Override PartName="/ppt/tags/tag256.xml" ContentType="application/vnd.openxmlformats-officedocument.presentationml.tags+xml"/>
  <Override PartName="/ppt/charts/chart408.xml" ContentType="application/vnd.openxmlformats-officedocument.drawingml.chart+xml"/>
  <Override PartName="/ppt/tags/tag257.xml" ContentType="application/vnd.openxmlformats-officedocument.presentationml.tags+xml"/>
  <Override PartName="/ppt/charts/chart409.xml" ContentType="application/vnd.openxmlformats-officedocument.drawingml.chart+xml"/>
  <Override PartName="/ppt/tags/tag258.xml" ContentType="application/vnd.openxmlformats-officedocument.presentationml.tags+xml"/>
  <Override PartName="/ppt/charts/chart410.xml" ContentType="application/vnd.openxmlformats-officedocument.drawingml.chart+xml"/>
  <Override PartName="/ppt/tags/tag259.xml" ContentType="application/vnd.openxmlformats-officedocument.presentationml.tags+xml"/>
  <Override PartName="/ppt/charts/chart411.xml" ContentType="application/vnd.openxmlformats-officedocument.drawingml.chart+xml"/>
  <Override PartName="/ppt/tags/tag260.xml" ContentType="application/vnd.openxmlformats-officedocument.presentationml.tags+xml"/>
  <Override PartName="/ppt/charts/chart412.xml" ContentType="application/vnd.openxmlformats-officedocument.drawingml.chart+xml"/>
  <Override PartName="/ppt/tags/tag261.xml" ContentType="application/vnd.openxmlformats-officedocument.presentationml.tags+xml"/>
  <Override PartName="/ppt/charts/chart413.xml" ContentType="application/vnd.openxmlformats-officedocument.drawingml.chart+xml"/>
  <Override PartName="/ppt/tags/tag262.xml" ContentType="application/vnd.openxmlformats-officedocument.presentationml.tags+xml"/>
  <Override PartName="/ppt/charts/chart414.xml" ContentType="application/vnd.openxmlformats-officedocument.drawingml.chart+xml"/>
  <Override PartName="/ppt/tags/tag263.xml" ContentType="application/vnd.openxmlformats-officedocument.presentationml.tags+xml"/>
  <Override PartName="/ppt/charts/chart415.xml" ContentType="application/vnd.openxmlformats-officedocument.drawingml.chart+xml"/>
  <Override PartName="/ppt/tags/tag264.xml" ContentType="application/vnd.openxmlformats-officedocument.presentationml.tags+xml"/>
  <Override PartName="/ppt/charts/chart416.xml" ContentType="application/vnd.openxmlformats-officedocument.drawingml.chart+xml"/>
  <Override PartName="/ppt/tags/tag265.xml" ContentType="application/vnd.openxmlformats-officedocument.presentationml.tags+xml"/>
  <Override PartName="/ppt/charts/chart417.xml" ContentType="application/vnd.openxmlformats-officedocument.drawingml.chart+xml"/>
  <Override PartName="/ppt/tags/tag266.xml" ContentType="application/vnd.openxmlformats-officedocument.presentationml.tags+xml"/>
  <Override PartName="/ppt/charts/chart418.xml" ContentType="application/vnd.openxmlformats-officedocument.drawingml.chart+xml"/>
  <Override PartName="/ppt/tags/tag267.xml" ContentType="application/vnd.openxmlformats-officedocument.presentationml.tags+xml"/>
  <Override PartName="/ppt/charts/chart419.xml" ContentType="application/vnd.openxmlformats-officedocument.drawingml.chart+xml"/>
  <Override PartName="/ppt/tags/tag268.xml" ContentType="application/vnd.openxmlformats-officedocument.presentationml.tags+xml"/>
  <Override PartName="/ppt/charts/chart420.xml" ContentType="application/vnd.openxmlformats-officedocument.drawingml.chart+xml"/>
  <Override PartName="/ppt/tags/tag269.xml" ContentType="application/vnd.openxmlformats-officedocument.presentationml.tags+xml"/>
  <Override PartName="/ppt/charts/chart421.xml" ContentType="application/vnd.openxmlformats-officedocument.drawingml.chart+xml"/>
  <Override PartName="/ppt/tags/tag270.xml" ContentType="application/vnd.openxmlformats-officedocument.presentationml.tags+xml"/>
  <Override PartName="/ppt/charts/chart422.xml" ContentType="application/vnd.openxmlformats-officedocument.drawingml.chart+xml"/>
  <Override PartName="/ppt/tags/tag271.xml" ContentType="application/vnd.openxmlformats-officedocument.presentationml.tags+xml"/>
  <Override PartName="/ppt/charts/chart423.xml" ContentType="application/vnd.openxmlformats-officedocument.drawingml.chart+xml"/>
  <Override PartName="/ppt/tags/tag272.xml" ContentType="application/vnd.openxmlformats-officedocument.presentationml.tags+xml"/>
  <Override PartName="/ppt/charts/chart424.xml" ContentType="application/vnd.openxmlformats-officedocument.drawingml.chart+xml"/>
  <Override PartName="/ppt/tags/tag273.xml" ContentType="application/vnd.openxmlformats-officedocument.presentationml.tags+xml"/>
  <Override PartName="/ppt/charts/chart425.xml" ContentType="application/vnd.openxmlformats-officedocument.drawingml.chart+xml"/>
  <Override PartName="/ppt/tags/tag274.xml" ContentType="application/vnd.openxmlformats-officedocument.presentationml.tags+xml"/>
  <Override PartName="/ppt/charts/chart426.xml" ContentType="application/vnd.openxmlformats-officedocument.drawingml.chart+xml"/>
  <Override PartName="/ppt/tags/tag275.xml" ContentType="application/vnd.openxmlformats-officedocument.presentationml.tags+xml"/>
  <Override PartName="/ppt/charts/chart427.xml" ContentType="application/vnd.openxmlformats-officedocument.drawingml.chart+xml"/>
  <Override PartName="/ppt/tags/tag276.xml" ContentType="application/vnd.openxmlformats-officedocument.presentationml.tags+xml"/>
  <Override PartName="/ppt/charts/chart428.xml" ContentType="application/vnd.openxmlformats-officedocument.drawingml.chart+xml"/>
  <Override PartName="/ppt/tags/tag277.xml" ContentType="application/vnd.openxmlformats-officedocument.presentationml.tags+xml"/>
  <Override PartName="/ppt/charts/chart429.xml" ContentType="application/vnd.openxmlformats-officedocument.drawingml.chart+xml"/>
  <Override PartName="/ppt/tags/tag278.xml" ContentType="application/vnd.openxmlformats-officedocument.presentationml.tags+xml"/>
  <Override PartName="/ppt/charts/chart430.xml" ContentType="application/vnd.openxmlformats-officedocument.drawingml.chart+xml"/>
  <Override PartName="/ppt/tags/tag279.xml" ContentType="application/vnd.openxmlformats-officedocument.presentationml.tags+xml"/>
  <Override PartName="/ppt/charts/chart431.xml" ContentType="application/vnd.openxmlformats-officedocument.drawingml.chart+xml"/>
  <Override PartName="/ppt/tags/tag280.xml" ContentType="application/vnd.openxmlformats-officedocument.presentationml.tags+xml"/>
  <Override PartName="/ppt/charts/chart432.xml" ContentType="application/vnd.openxmlformats-officedocument.drawingml.chart+xml"/>
  <Override PartName="/ppt/tags/tag281.xml" ContentType="application/vnd.openxmlformats-officedocument.presentationml.tags+xml"/>
  <Override PartName="/ppt/charts/chart433.xml" ContentType="application/vnd.openxmlformats-officedocument.drawingml.chart+xml"/>
  <Override PartName="/ppt/tags/tag282.xml" ContentType="application/vnd.openxmlformats-officedocument.presentationml.tags+xml"/>
  <Override PartName="/ppt/charts/chart434.xml" ContentType="application/vnd.openxmlformats-officedocument.drawingml.chart+xml"/>
  <Override PartName="/ppt/tags/tag283.xml" ContentType="application/vnd.openxmlformats-officedocument.presentationml.tags+xml"/>
  <Override PartName="/ppt/charts/chart435.xml" ContentType="application/vnd.openxmlformats-officedocument.drawingml.chart+xml"/>
  <Override PartName="/ppt/tags/tag284.xml" ContentType="application/vnd.openxmlformats-officedocument.presentationml.tags+xml"/>
  <Override PartName="/ppt/charts/chart436.xml" ContentType="application/vnd.openxmlformats-officedocument.drawingml.chart+xml"/>
  <Override PartName="/ppt/tags/tag285.xml" ContentType="application/vnd.openxmlformats-officedocument.presentationml.tags+xml"/>
  <Override PartName="/ppt/charts/chart437.xml" ContentType="application/vnd.openxmlformats-officedocument.drawingml.chart+xml"/>
  <Override PartName="/ppt/tags/tag286.xml" ContentType="application/vnd.openxmlformats-officedocument.presentationml.tags+xml"/>
  <Override PartName="/ppt/charts/chart438.xml" ContentType="application/vnd.openxmlformats-officedocument.drawingml.chart+xml"/>
  <Override PartName="/ppt/tags/tag287.xml" ContentType="application/vnd.openxmlformats-officedocument.presentationml.tags+xml"/>
  <Override PartName="/ppt/charts/chart439.xml" ContentType="application/vnd.openxmlformats-officedocument.drawingml.chart+xml"/>
  <Override PartName="/ppt/tags/tag288.xml" ContentType="application/vnd.openxmlformats-officedocument.presentationml.tags+xml"/>
  <Override PartName="/ppt/charts/chart440.xml" ContentType="application/vnd.openxmlformats-officedocument.drawingml.chart+xml"/>
  <Override PartName="/ppt/tags/tag289.xml" ContentType="application/vnd.openxmlformats-officedocument.presentationml.tags+xml"/>
  <Override PartName="/ppt/charts/chart441.xml" ContentType="application/vnd.openxmlformats-officedocument.drawingml.chart+xml"/>
  <Override PartName="/ppt/tags/tag290.xml" ContentType="application/vnd.openxmlformats-officedocument.presentationml.tags+xml"/>
  <Override PartName="/ppt/charts/chart442.xml" ContentType="application/vnd.openxmlformats-officedocument.drawingml.chart+xml"/>
  <Override PartName="/ppt/tags/tag291.xml" ContentType="application/vnd.openxmlformats-officedocument.presentationml.tags+xml"/>
  <Override PartName="/ppt/charts/chart443.xml" ContentType="application/vnd.openxmlformats-officedocument.drawingml.chart+xml"/>
  <Override PartName="/ppt/tags/tag292.xml" ContentType="application/vnd.openxmlformats-officedocument.presentationml.tags+xml"/>
  <Override PartName="/ppt/charts/chart444.xml" ContentType="application/vnd.openxmlformats-officedocument.drawingml.chart+xml"/>
  <Override PartName="/ppt/tags/tag293.xml" ContentType="application/vnd.openxmlformats-officedocument.presentationml.tags+xml"/>
  <Override PartName="/ppt/charts/chart445.xml" ContentType="application/vnd.openxmlformats-officedocument.drawingml.chart+xml"/>
  <Override PartName="/ppt/tags/tag294.xml" ContentType="application/vnd.openxmlformats-officedocument.presentationml.tags+xml"/>
  <Override PartName="/ppt/charts/chart446.xml" ContentType="application/vnd.openxmlformats-officedocument.drawingml.chart+xml"/>
  <Override PartName="/ppt/tags/tag295.xml" ContentType="application/vnd.openxmlformats-officedocument.presentationml.tags+xml"/>
  <Override PartName="/ppt/charts/chart447.xml" ContentType="application/vnd.openxmlformats-officedocument.drawingml.chart+xml"/>
  <Override PartName="/ppt/tags/tag296.xml" ContentType="application/vnd.openxmlformats-officedocument.presentationml.tags+xml"/>
  <Override PartName="/ppt/charts/chart448.xml" ContentType="application/vnd.openxmlformats-officedocument.drawingml.chart+xml"/>
  <Override PartName="/ppt/tags/tag297.xml" ContentType="application/vnd.openxmlformats-officedocument.presentationml.tags+xml"/>
  <Override PartName="/ppt/charts/chart449.xml" ContentType="application/vnd.openxmlformats-officedocument.drawingml.chart+xml"/>
  <Override PartName="/ppt/tags/tag298.xml" ContentType="application/vnd.openxmlformats-officedocument.presentationml.tags+xml"/>
  <Override PartName="/ppt/charts/chart450.xml" ContentType="application/vnd.openxmlformats-officedocument.drawingml.chart+xml"/>
  <Override PartName="/ppt/tags/tag299.xml" ContentType="application/vnd.openxmlformats-officedocument.presentationml.tags+xml"/>
  <Override PartName="/ppt/charts/chart451.xml" ContentType="application/vnd.openxmlformats-officedocument.drawingml.chart+xml"/>
  <Override PartName="/ppt/tags/tag300.xml" ContentType="application/vnd.openxmlformats-officedocument.presentationml.tags+xml"/>
  <Override PartName="/ppt/charts/chart452.xml" ContentType="application/vnd.openxmlformats-officedocument.drawingml.chart+xml"/>
  <Override PartName="/ppt/tags/tag301.xml" ContentType="application/vnd.openxmlformats-officedocument.presentationml.tags+xml"/>
  <Override PartName="/ppt/charts/chart453.xml" ContentType="application/vnd.openxmlformats-officedocument.drawingml.chart+xml"/>
  <Override PartName="/ppt/tags/tag302.xml" ContentType="application/vnd.openxmlformats-officedocument.presentationml.tags+xml"/>
  <Override PartName="/ppt/charts/chart454.xml" ContentType="application/vnd.openxmlformats-officedocument.drawingml.chart+xml"/>
  <Override PartName="/ppt/tags/tag303.xml" ContentType="application/vnd.openxmlformats-officedocument.presentationml.tags+xml"/>
  <Override PartName="/ppt/charts/chart455.xml" ContentType="application/vnd.openxmlformats-officedocument.drawingml.chart+xml"/>
  <Override PartName="/ppt/tags/tag304.xml" ContentType="application/vnd.openxmlformats-officedocument.presentationml.tags+xml"/>
  <Override PartName="/ppt/charts/chart456.xml" ContentType="application/vnd.openxmlformats-officedocument.drawingml.chart+xml"/>
  <Override PartName="/ppt/tags/tag305.xml" ContentType="application/vnd.openxmlformats-officedocument.presentationml.tags+xml"/>
  <Override PartName="/ppt/charts/chart457.xml" ContentType="application/vnd.openxmlformats-officedocument.drawingml.chart+xml"/>
  <Override PartName="/ppt/tags/tag306.xml" ContentType="application/vnd.openxmlformats-officedocument.presentationml.tags+xml"/>
  <Override PartName="/ppt/charts/chart458.xml" ContentType="application/vnd.openxmlformats-officedocument.drawingml.chart+xml"/>
  <Override PartName="/ppt/tags/tag307.xml" ContentType="application/vnd.openxmlformats-officedocument.presentationml.tags+xml"/>
  <Override PartName="/ppt/charts/chart459.xml" ContentType="application/vnd.openxmlformats-officedocument.drawingml.chart+xml"/>
  <Override PartName="/ppt/tags/tag308.xml" ContentType="application/vnd.openxmlformats-officedocument.presentationml.tags+xml"/>
  <Override PartName="/ppt/charts/chart460.xml" ContentType="application/vnd.openxmlformats-officedocument.drawingml.chart+xml"/>
  <Override PartName="/ppt/tags/tag309.xml" ContentType="application/vnd.openxmlformats-officedocument.presentationml.tags+xml"/>
  <Override PartName="/ppt/charts/chart461.xml" ContentType="application/vnd.openxmlformats-officedocument.drawingml.chart+xml"/>
  <Override PartName="/ppt/tags/tag310.xml" ContentType="application/vnd.openxmlformats-officedocument.presentationml.tags+xml"/>
  <Override PartName="/ppt/charts/chart462.xml" ContentType="application/vnd.openxmlformats-officedocument.drawingml.chart+xml"/>
  <Override PartName="/ppt/tags/tag311.xml" ContentType="application/vnd.openxmlformats-officedocument.presentationml.tags+xml"/>
  <Override PartName="/ppt/charts/chart463.xml" ContentType="application/vnd.openxmlformats-officedocument.drawingml.chart+xml"/>
  <Override PartName="/ppt/tags/tag312.xml" ContentType="application/vnd.openxmlformats-officedocument.presentationml.tags+xml"/>
  <Override PartName="/ppt/charts/chart464.xml" ContentType="application/vnd.openxmlformats-officedocument.drawingml.chart+xml"/>
  <Override PartName="/ppt/tags/tag313.xml" ContentType="application/vnd.openxmlformats-officedocument.presentationml.tags+xml"/>
  <Override PartName="/ppt/charts/chart465.xml" ContentType="application/vnd.openxmlformats-officedocument.drawingml.chart+xml"/>
  <Override PartName="/ppt/tags/tag314.xml" ContentType="application/vnd.openxmlformats-officedocument.presentationml.tags+xml"/>
  <Override PartName="/ppt/charts/chart466.xml" ContentType="application/vnd.openxmlformats-officedocument.drawingml.chart+xml"/>
  <Override PartName="/ppt/tags/tag315.xml" ContentType="application/vnd.openxmlformats-officedocument.presentationml.tags+xml"/>
  <Override PartName="/ppt/charts/chart467.xml" ContentType="application/vnd.openxmlformats-officedocument.drawingml.chart+xml"/>
  <Override PartName="/ppt/tags/tag316.xml" ContentType="application/vnd.openxmlformats-officedocument.presentationml.tags+xml"/>
  <Override PartName="/ppt/charts/chart468.xml" ContentType="application/vnd.openxmlformats-officedocument.drawingml.chart+xml"/>
  <Override PartName="/ppt/tags/tag317.xml" ContentType="application/vnd.openxmlformats-officedocument.presentationml.tags+xml"/>
  <Override PartName="/ppt/charts/chart469.xml" ContentType="application/vnd.openxmlformats-officedocument.drawingml.chart+xml"/>
  <Override PartName="/ppt/tags/tag318.xml" ContentType="application/vnd.openxmlformats-officedocument.presentationml.tags+xml"/>
  <Override PartName="/ppt/charts/chart470.xml" ContentType="application/vnd.openxmlformats-officedocument.drawingml.chart+xml"/>
  <Override PartName="/ppt/tags/tag319.xml" ContentType="application/vnd.openxmlformats-officedocument.presentationml.tags+xml"/>
  <Override PartName="/ppt/charts/chart471.xml" ContentType="application/vnd.openxmlformats-officedocument.drawingml.chart+xml"/>
  <Override PartName="/ppt/tags/tag320.xml" ContentType="application/vnd.openxmlformats-officedocument.presentationml.tags+xml"/>
  <Override PartName="/ppt/charts/chart472.xml" ContentType="application/vnd.openxmlformats-officedocument.drawingml.chart+xml"/>
  <Override PartName="/ppt/tags/tag321.xml" ContentType="application/vnd.openxmlformats-officedocument.presentationml.tags+xml"/>
  <Override PartName="/ppt/charts/chart473.xml" ContentType="application/vnd.openxmlformats-officedocument.drawingml.chart+xml"/>
  <Override PartName="/ppt/tags/tag322.xml" ContentType="application/vnd.openxmlformats-officedocument.presentationml.tags+xml"/>
  <Override PartName="/ppt/charts/chart474.xml" ContentType="application/vnd.openxmlformats-officedocument.drawingml.chart+xml"/>
  <Override PartName="/ppt/tags/tag323.xml" ContentType="application/vnd.openxmlformats-officedocument.presentationml.tags+xml"/>
  <Override PartName="/ppt/charts/chart475.xml" ContentType="application/vnd.openxmlformats-officedocument.drawingml.chart+xml"/>
  <Override PartName="/ppt/tags/tag324.xml" ContentType="application/vnd.openxmlformats-officedocument.presentationml.tags+xml"/>
  <Override PartName="/ppt/charts/chart476.xml" ContentType="application/vnd.openxmlformats-officedocument.drawingml.chart+xml"/>
  <Override PartName="/ppt/tags/tag325.xml" ContentType="application/vnd.openxmlformats-officedocument.presentationml.tags+xml"/>
  <Override PartName="/ppt/charts/chart477.xml" ContentType="application/vnd.openxmlformats-officedocument.drawingml.chart+xml"/>
  <Override PartName="/ppt/tags/tag326.xml" ContentType="application/vnd.openxmlformats-officedocument.presentationml.tags+xml"/>
  <Override PartName="/ppt/charts/chart478.xml" ContentType="application/vnd.openxmlformats-officedocument.drawingml.chart+xml"/>
  <Override PartName="/ppt/tags/tag327.xml" ContentType="application/vnd.openxmlformats-officedocument.presentationml.tags+xml"/>
  <Override PartName="/ppt/charts/chart479.xml" ContentType="application/vnd.openxmlformats-officedocument.drawingml.chart+xml"/>
  <Override PartName="/ppt/tags/tag328.xml" ContentType="application/vnd.openxmlformats-officedocument.presentationml.tags+xml"/>
  <Override PartName="/ppt/charts/chart480.xml" ContentType="application/vnd.openxmlformats-officedocument.drawingml.chart+xml"/>
  <Override PartName="/ppt/tags/tag329.xml" ContentType="application/vnd.openxmlformats-officedocument.presentationml.tags+xml"/>
  <Override PartName="/ppt/charts/chart481.xml" ContentType="application/vnd.openxmlformats-officedocument.drawingml.chart+xml"/>
  <Override PartName="/ppt/tags/tag330.xml" ContentType="application/vnd.openxmlformats-officedocument.presentationml.tags+xml"/>
  <Override PartName="/ppt/charts/chart482.xml" ContentType="application/vnd.openxmlformats-officedocument.drawingml.chart+xml"/>
  <Override PartName="/ppt/tags/tag331.xml" ContentType="application/vnd.openxmlformats-officedocument.presentationml.tags+xml"/>
  <Override PartName="/ppt/charts/chart483.xml" ContentType="application/vnd.openxmlformats-officedocument.drawingml.chart+xml"/>
  <Override PartName="/ppt/tags/tag332.xml" ContentType="application/vnd.openxmlformats-officedocument.presentationml.tags+xml"/>
  <Override PartName="/ppt/charts/chart484.xml" ContentType="application/vnd.openxmlformats-officedocument.drawingml.chart+xml"/>
  <Override PartName="/ppt/tags/tag333.xml" ContentType="application/vnd.openxmlformats-officedocument.presentationml.tags+xml"/>
  <Override PartName="/ppt/charts/chart485.xml" ContentType="application/vnd.openxmlformats-officedocument.drawingml.chart+xml"/>
  <Override PartName="/ppt/tags/tag334.xml" ContentType="application/vnd.openxmlformats-officedocument.presentationml.tags+xml"/>
  <Override PartName="/ppt/charts/chart486.xml" ContentType="application/vnd.openxmlformats-officedocument.drawingml.chart+xml"/>
  <Override PartName="/ppt/tags/tag335.xml" ContentType="application/vnd.openxmlformats-officedocument.presentationml.tags+xml"/>
  <Override PartName="/ppt/charts/chart487.xml" ContentType="application/vnd.openxmlformats-officedocument.drawingml.chart+xml"/>
  <Override PartName="/ppt/tags/tag336.xml" ContentType="application/vnd.openxmlformats-officedocument.presentationml.tags+xml"/>
  <Override PartName="/ppt/charts/chart488.xml" ContentType="application/vnd.openxmlformats-officedocument.drawingml.chart+xml"/>
  <Override PartName="/ppt/tags/tag337.xml" ContentType="application/vnd.openxmlformats-officedocument.presentationml.tags+xml"/>
  <Override PartName="/ppt/charts/chart489.xml" ContentType="application/vnd.openxmlformats-officedocument.drawingml.chart+xml"/>
  <Override PartName="/ppt/tags/tag338.xml" ContentType="application/vnd.openxmlformats-officedocument.presentationml.tags+xml"/>
  <Override PartName="/ppt/charts/chart490.xml" ContentType="application/vnd.openxmlformats-officedocument.drawingml.chart+xml"/>
  <Override PartName="/ppt/tags/tag339.xml" ContentType="application/vnd.openxmlformats-officedocument.presentationml.tags+xml"/>
  <Override PartName="/ppt/charts/chart491.xml" ContentType="application/vnd.openxmlformats-officedocument.drawingml.chart+xml"/>
  <Override PartName="/ppt/tags/tag340.xml" ContentType="application/vnd.openxmlformats-officedocument.presentationml.tags+xml"/>
  <Override PartName="/ppt/charts/chart492.xml" ContentType="application/vnd.openxmlformats-officedocument.drawingml.chart+xml"/>
  <Override PartName="/ppt/tags/tag341.xml" ContentType="application/vnd.openxmlformats-officedocument.presentationml.tags+xml"/>
  <Override PartName="/ppt/charts/chart493.xml" ContentType="application/vnd.openxmlformats-officedocument.drawingml.chart+xml"/>
  <Override PartName="/ppt/tags/tag342.xml" ContentType="application/vnd.openxmlformats-officedocument.presentationml.tags+xml"/>
  <Override PartName="/ppt/charts/chart494.xml" ContentType="application/vnd.openxmlformats-officedocument.drawingml.chart+xml"/>
  <Override PartName="/ppt/tags/tag343.xml" ContentType="application/vnd.openxmlformats-officedocument.presentationml.tags+xml"/>
  <Override PartName="/ppt/charts/chart495.xml" ContentType="application/vnd.openxmlformats-officedocument.drawingml.chart+xml"/>
  <Override PartName="/ppt/tags/tag344.xml" ContentType="application/vnd.openxmlformats-officedocument.presentationml.tags+xml"/>
  <Override PartName="/ppt/charts/chart496.xml" ContentType="application/vnd.openxmlformats-officedocument.drawingml.chart+xml"/>
  <Override PartName="/ppt/tags/tag345.xml" ContentType="application/vnd.openxmlformats-officedocument.presentationml.tags+xml"/>
  <Override PartName="/ppt/charts/chart497.xml" ContentType="application/vnd.openxmlformats-officedocument.drawingml.chart+xml"/>
  <Override PartName="/ppt/tags/tag346.xml" ContentType="application/vnd.openxmlformats-officedocument.presentationml.tags+xml"/>
  <Override PartName="/ppt/charts/chart498.xml" ContentType="application/vnd.openxmlformats-officedocument.drawingml.chart+xml"/>
  <Override PartName="/ppt/tags/tag347.xml" ContentType="application/vnd.openxmlformats-officedocument.presentationml.tags+xml"/>
  <Override PartName="/ppt/charts/chart499.xml" ContentType="application/vnd.openxmlformats-officedocument.drawingml.chart+xml"/>
  <Override PartName="/ppt/tags/tag348.xml" ContentType="application/vnd.openxmlformats-officedocument.presentationml.tags+xml"/>
  <Override PartName="/ppt/charts/chart500.xml" ContentType="application/vnd.openxmlformats-officedocument.drawingml.chart+xml"/>
  <Override PartName="/ppt/tags/tag349.xml" ContentType="application/vnd.openxmlformats-officedocument.presentationml.tags+xml"/>
  <Override PartName="/ppt/charts/chart501.xml" ContentType="application/vnd.openxmlformats-officedocument.drawingml.chart+xml"/>
  <Override PartName="/ppt/tags/tag350.xml" ContentType="application/vnd.openxmlformats-officedocument.presentationml.tags+xml"/>
  <Override PartName="/ppt/charts/chart502.xml" ContentType="application/vnd.openxmlformats-officedocument.drawingml.chart+xml"/>
  <Override PartName="/ppt/tags/tag351.xml" ContentType="application/vnd.openxmlformats-officedocument.presentationml.tags+xml"/>
  <Override PartName="/ppt/charts/chart503.xml" ContentType="application/vnd.openxmlformats-officedocument.drawingml.chart+xml"/>
  <Override PartName="/ppt/tags/tag352.xml" ContentType="application/vnd.openxmlformats-officedocument.presentationml.tags+xml"/>
  <Override PartName="/ppt/charts/chart504.xml" ContentType="application/vnd.openxmlformats-officedocument.drawingml.chart+xml"/>
  <Override PartName="/ppt/tags/tag353.xml" ContentType="application/vnd.openxmlformats-officedocument.presentationml.tags+xml"/>
  <Override PartName="/ppt/charts/chart505.xml" ContentType="application/vnd.openxmlformats-officedocument.drawingml.chart+xml"/>
  <Override PartName="/ppt/tags/tag354.xml" ContentType="application/vnd.openxmlformats-officedocument.presentationml.tags+xml"/>
  <Override PartName="/ppt/charts/chart506.xml" ContentType="application/vnd.openxmlformats-officedocument.drawingml.chart+xml"/>
  <Override PartName="/ppt/tags/tag355.xml" ContentType="application/vnd.openxmlformats-officedocument.presentationml.tags+xml"/>
  <Override PartName="/ppt/charts/chart507.xml" ContentType="application/vnd.openxmlformats-officedocument.drawingml.chart+xml"/>
  <Override PartName="/ppt/tags/tag356.xml" ContentType="application/vnd.openxmlformats-officedocument.presentationml.tags+xml"/>
  <Override PartName="/ppt/charts/chart508.xml" ContentType="application/vnd.openxmlformats-officedocument.drawingml.chart+xml"/>
  <Override PartName="/ppt/tags/tag357.xml" ContentType="application/vnd.openxmlformats-officedocument.presentationml.tags+xml"/>
  <Override PartName="/ppt/charts/chart509.xml" ContentType="application/vnd.openxmlformats-officedocument.drawingml.chart+xml"/>
  <Override PartName="/ppt/tags/tag358.xml" ContentType="application/vnd.openxmlformats-officedocument.presentationml.tags+xml"/>
  <Override PartName="/ppt/charts/chart510.xml" ContentType="application/vnd.openxmlformats-officedocument.drawingml.chart+xml"/>
  <Override PartName="/ppt/tags/tag359.xml" ContentType="application/vnd.openxmlformats-officedocument.presentationml.tags+xml"/>
  <Override PartName="/ppt/charts/chart511.xml" ContentType="application/vnd.openxmlformats-officedocument.drawingml.chart+xml"/>
  <Override PartName="/ppt/tags/tag360.xml" ContentType="application/vnd.openxmlformats-officedocument.presentationml.tags+xml"/>
  <Override PartName="/ppt/charts/chart512.xml" ContentType="application/vnd.openxmlformats-officedocument.drawingml.chart+xml"/>
  <Override PartName="/ppt/tags/tag361.xml" ContentType="application/vnd.openxmlformats-officedocument.presentationml.tags+xml"/>
  <Override PartName="/ppt/charts/chart513.xml" ContentType="application/vnd.openxmlformats-officedocument.drawingml.chart+xml"/>
  <Override PartName="/ppt/tags/tag362.xml" ContentType="application/vnd.openxmlformats-officedocument.presentationml.tags+xml"/>
  <Override PartName="/ppt/charts/chart514.xml" ContentType="application/vnd.openxmlformats-officedocument.drawingml.chart+xml"/>
  <Override PartName="/ppt/tags/tag363.xml" ContentType="application/vnd.openxmlformats-officedocument.presentationml.tags+xml"/>
  <Override PartName="/ppt/charts/chart515.xml" ContentType="application/vnd.openxmlformats-officedocument.drawingml.chart+xml"/>
  <Override PartName="/ppt/tags/tag364.xml" ContentType="application/vnd.openxmlformats-officedocument.presentationml.tags+xml"/>
  <Override PartName="/ppt/charts/chart516.xml" ContentType="application/vnd.openxmlformats-officedocument.drawingml.chart+xml"/>
  <Override PartName="/ppt/tags/tag365.xml" ContentType="application/vnd.openxmlformats-officedocument.presentationml.tags+xml"/>
  <Override PartName="/ppt/charts/chart517.xml" ContentType="application/vnd.openxmlformats-officedocument.drawingml.chart+xml"/>
  <Override PartName="/ppt/tags/tag366.xml" ContentType="application/vnd.openxmlformats-officedocument.presentationml.tags+xml"/>
  <Override PartName="/ppt/charts/chart518.xml" ContentType="application/vnd.openxmlformats-officedocument.drawingml.chart+xml"/>
  <Override PartName="/ppt/tags/tag367.xml" ContentType="application/vnd.openxmlformats-officedocument.presentationml.tags+xml"/>
  <Override PartName="/ppt/charts/chart519.xml" ContentType="application/vnd.openxmlformats-officedocument.drawingml.chart+xml"/>
  <Override PartName="/ppt/tags/tag368.xml" ContentType="application/vnd.openxmlformats-officedocument.presentationml.tags+xml"/>
  <Override PartName="/ppt/charts/chart520.xml" ContentType="application/vnd.openxmlformats-officedocument.drawingml.chart+xml"/>
  <Override PartName="/ppt/tags/tag369.xml" ContentType="application/vnd.openxmlformats-officedocument.presentationml.tags+xml"/>
  <Override PartName="/ppt/charts/chart521.xml" ContentType="application/vnd.openxmlformats-officedocument.drawingml.chart+xml"/>
  <Override PartName="/ppt/tags/tag370.xml" ContentType="application/vnd.openxmlformats-officedocument.presentationml.tags+xml"/>
  <Override PartName="/ppt/charts/chart522.xml" ContentType="application/vnd.openxmlformats-officedocument.drawingml.chart+xml"/>
  <Override PartName="/ppt/tags/tag371.xml" ContentType="application/vnd.openxmlformats-officedocument.presentationml.tags+xml"/>
  <Override PartName="/ppt/charts/chart523.xml" ContentType="application/vnd.openxmlformats-officedocument.drawingml.chart+xml"/>
  <Override PartName="/ppt/tags/tag372.xml" ContentType="application/vnd.openxmlformats-officedocument.presentationml.tags+xml"/>
  <Override PartName="/ppt/charts/chart524.xml" ContentType="application/vnd.openxmlformats-officedocument.drawingml.chart+xml"/>
  <Override PartName="/ppt/tags/tag373.xml" ContentType="application/vnd.openxmlformats-officedocument.presentationml.tags+xml"/>
  <Override PartName="/ppt/charts/chart525.xml" ContentType="application/vnd.openxmlformats-officedocument.drawingml.chart+xml"/>
  <Override PartName="/ppt/tags/tag374.xml" ContentType="application/vnd.openxmlformats-officedocument.presentationml.tags+xml"/>
  <Override PartName="/ppt/charts/chart526.xml" ContentType="application/vnd.openxmlformats-officedocument.drawingml.chart+xml"/>
  <Override PartName="/ppt/tags/tag375.xml" ContentType="application/vnd.openxmlformats-officedocument.presentationml.tags+xml"/>
  <Override PartName="/ppt/charts/chart527.xml" ContentType="application/vnd.openxmlformats-officedocument.drawingml.chart+xml"/>
  <Override PartName="/ppt/tags/tag376.xml" ContentType="application/vnd.openxmlformats-officedocument.presentationml.tags+xml"/>
  <Override PartName="/ppt/charts/chart528.xml" ContentType="application/vnd.openxmlformats-officedocument.drawingml.chart+xml"/>
  <Override PartName="/ppt/tags/tag377.xml" ContentType="application/vnd.openxmlformats-officedocument.presentationml.tags+xml"/>
  <Override PartName="/ppt/charts/chart529.xml" ContentType="application/vnd.openxmlformats-officedocument.drawingml.chart+xml"/>
  <Override PartName="/ppt/tags/tag378.xml" ContentType="application/vnd.openxmlformats-officedocument.presentationml.tags+xml"/>
  <Override PartName="/ppt/charts/chart530.xml" ContentType="application/vnd.openxmlformats-officedocument.drawingml.chart+xml"/>
  <Override PartName="/ppt/tags/tag379.xml" ContentType="application/vnd.openxmlformats-officedocument.presentationml.tags+xml"/>
  <Override PartName="/ppt/charts/chart531.xml" ContentType="application/vnd.openxmlformats-officedocument.drawingml.chart+xml"/>
  <Override PartName="/ppt/tags/tag380.xml" ContentType="application/vnd.openxmlformats-officedocument.presentationml.tags+xml"/>
  <Override PartName="/ppt/charts/chart532.xml" ContentType="application/vnd.openxmlformats-officedocument.drawingml.chart+xml"/>
  <Override PartName="/ppt/tags/tag381.xml" ContentType="application/vnd.openxmlformats-officedocument.presentationml.tags+xml"/>
  <Override PartName="/ppt/charts/chart533.xml" ContentType="application/vnd.openxmlformats-officedocument.drawingml.chart+xml"/>
  <Override PartName="/ppt/tags/tag382.xml" ContentType="application/vnd.openxmlformats-officedocument.presentationml.tags+xml"/>
  <Override PartName="/ppt/charts/chart534.xml" ContentType="application/vnd.openxmlformats-officedocument.drawingml.chart+xml"/>
  <Override PartName="/ppt/tags/tag383.xml" ContentType="application/vnd.openxmlformats-officedocument.presentationml.tags+xml"/>
  <Override PartName="/ppt/charts/chart535.xml" ContentType="application/vnd.openxmlformats-officedocument.drawingml.chart+xml"/>
  <Override PartName="/ppt/tags/tag384.xml" ContentType="application/vnd.openxmlformats-officedocument.presentationml.tags+xml"/>
  <Override PartName="/ppt/charts/chart536.xml" ContentType="application/vnd.openxmlformats-officedocument.drawingml.chart+xml"/>
  <Override PartName="/ppt/tags/tag385.xml" ContentType="application/vnd.openxmlformats-officedocument.presentationml.tags+xml"/>
  <Override PartName="/ppt/charts/chart537.xml" ContentType="application/vnd.openxmlformats-officedocument.drawingml.chart+xml"/>
  <Override PartName="/ppt/tags/tag386.xml" ContentType="application/vnd.openxmlformats-officedocument.presentationml.tags+xml"/>
  <Override PartName="/ppt/charts/chart538.xml" ContentType="application/vnd.openxmlformats-officedocument.drawingml.chart+xml"/>
  <Override PartName="/ppt/tags/tag387.xml" ContentType="application/vnd.openxmlformats-officedocument.presentationml.tags+xml"/>
  <Override PartName="/ppt/charts/chart539.xml" ContentType="application/vnd.openxmlformats-officedocument.drawingml.chart+xml"/>
  <Override PartName="/ppt/tags/tag388.xml" ContentType="application/vnd.openxmlformats-officedocument.presentationml.tags+xml"/>
  <Override PartName="/ppt/charts/chart540.xml" ContentType="application/vnd.openxmlformats-officedocument.drawingml.chart+xml"/>
  <Override PartName="/ppt/tags/tag389.xml" ContentType="application/vnd.openxmlformats-officedocument.presentationml.tags+xml"/>
  <Override PartName="/ppt/charts/chart541.xml" ContentType="application/vnd.openxmlformats-officedocument.drawingml.chart+xml"/>
  <Override PartName="/ppt/tags/tag390.xml" ContentType="application/vnd.openxmlformats-officedocument.presentationml.tags+xml"/>
  <Override PartName="/ppt/charts/chart542.xml" ContentType="application/vnd.openxmlformats-officedocument.drawingml.chart+xml"/>
  <Override PartName="/ppt/tags/tag391.xml" ContentType="application/vnd.openxmlformats-officedocument.presentationml.tags+xml"/>
  <Override PartName="/ppt/charts/chart543.xml" ContentType="application/vnd.openxmlformats-officedocument.drawingml.chart+xml"/>
  <Override PartName="/ppt/tags/tag392.xml" ContentType="application/vnd.openxmlformats-officedocument.presentationml.tags+xml"/>
  <Override PartName="/ppt/charts/chart544.xml" ContentType="application/vnd.openxmlformats-officedocument.drawingml.chart+xml"/>
  <Override PartName="/ppt/tags/tag393.xml" ContentType="application/vnd.openxmlformats-officedocument.presentationml.tags+xml"/>
  <Override PartName="/ppt/charts/chart545.xml" ContentType="application/vnd.openxmlformats-officedocument.drawingml.chart+xml"/>
  <Override PartName="/ppt/tags/tag394.xml" ContentType="application/vnd.openxmlformats-officedocument.presentationml.tags+xml"/>
  <Override PartName="/ppt/charts/chart546.xml" ContentType="application/vnd.openxmlformats-officedocument.drawingml.chart+xml"/>
  <Override PartName="/ppt/tags/tag395.xml" ContentType="application/vnd.openxmlformats-officedocument.presentationml.tags+xml"/>
  <Override PartName="/ppt/charts/chart547.xml" ContentType="application/vnd.openxmlformats-officedocument.drawingml.chart+xml"/>
  <Override PartName="/ppt/tags/tag396.xml" ContentType="application/vnd.openxmlformats-officedocument.presentationml.tags+xml"/>
  <Override PartName="/ppt/charts/chart548.xml" ContentType="application/vnd.openxmlformats-officedocument.drawingml.chart+xml"/>
  <Override PartName="/ppt/tags/tag397.xml" ContentType="application/vnd.openxmlformats-officedocument.presentationml.tags+xml"/>
  <Override PartName="/ppt/charts/chart549.xml" ContentType="application/vnd.openxmlformats-officedocument.drawingml.chart+xml"/>
  <Override PartName="/ppt/tags/tag398.xml" ContentType="application/vnd.openxmlformats-officedocument.presentationml.tags+xml"/>
  <Override PartName="/ppt/charts/chart550.xml" ContentType="application/vnd.openxmlformats-officedocument.drawingml.chart+xml"/>
  <Override PartName="/ppt/tags/tag399.xml" ContentType="application/vnd.openxmlformats-officedocument.presentationml.tags+xml"/>
  <Override PartName="/ppt/charts/chart551.xml" ContentType="application/vnd.openxmlformats-officedocument.drawingml.chart+xml"/>
  <Override PartName="/ppt/tags/tag400.xml" ContentType="application/vnd.openxmlformats-officedocument.presentationml.tags+xml"/>
  <Override PartName="/ppt/charts/chart552.xml" ContentType="application/vnd.openxmlformats-officedocument.drawingml.chart+xml"/>
  <Override PartName="/ppt/tags/tag401.xml" ContentType="application/vnd.openxmlformats-officedocument.presentationml.tags+xml"/>
  <Override PartName="/ppt/charts/chart553.xml" ContentType="application/vnd.openxmlformats-officedocument.drawingml.chart+xml"/>
  <Override PartName="/ppt/tags/tag402.xml" ContentType="application/vnd.openxmlformats-officedocument.presentationml.tags+xml"/>
  <Override PartName="/ppt/charts/chart554.xml" ContentType="application/vnd.openxmlformats-officedocument.drawingml.chart+xml"/>
  <Override PartName="/ppt/tags/tag403.xml" ContentType="application/vnd.openxmlformats-officedocument.presentationml.tags+xml"/>
  <Override PartName="/ppt/charts/chart555.xml" ContentType="application/vnd.openxmlformats-officedocument.drawingml.chart+xml"/>
  <Override PartName="/ppt/tags/tag404.xml" ContentType="application/vnd.openxmlformats-officedocument.presentationml.tags+xml"/>
  <Override PartName="/ppt/charts/chart556.xml" ContentType="application/vnd.openxmlformats-officedocument.drawingml.chart+xml"/>
  <Override PartName="/ppt/tags/tag405.xml" ContentType="application/vnd.openxmlformats-officedocument.presentationml.tags+xml"/>
  <Override PartName="/ppt/charts/chart557.xml" ContentType="application/vnd.openxmlformats-officedocument.drawingml.chart+xml"/>
  <Override PartName="/ppt/tags/tag406.xml" ContentType="application/vnd.openxmlformats-officedocument.presentationml.tags+xml"/>
  <Override PartName="/ppt/charts/chart558.xml" ContentType="application/vnd.openxmlformats-officedocument.drawingml.chart+xml"/>
  <Override PartName="/ppt/tags/tag407.xml" ContentType="application/vnd.openxmlformats-officedocument.presentationml.tags+xml"/>
  <Override PartName="/ppt/charts/chart559.xml" ContentType="application/vnd.openxmlformats-officedocument.drawingml.chart+xml"/>
  <Override PartName="/ppt/tags/tag408.xml" ContentType="application/vnd.openxmlformats-officedocument.presentationml.tags+xml"/>
  <Override PartName="/ppt/charts/chart560.xml" ContentType="application/vnd.openxmlformats-officedocument.drawingml.chart+xml"/>
  <Override PartName="/ppt/tags/tag409.xml" ContentType="application/vnd.openxmlformats-officedocument.presentationml.tags+xml"/>
  <Override PartName="/ppt/charts/chart561.xml" ContentType="application/vnd.openxmlformats-officedocument.drawingml.chart+xml"/>
  <Override PartName="/ppt/tags/tag410.xml" ContentType="application/vnd.openxmlformats-officedocument.presentationml.tags+xml"/>
  <Override PartName="/ppt/charts/chart562.xml" ContentType="application/vnd.openxmlformats-officedocument.drawingml.chart+xml"/>
  <Override PartName="/ppt/tags/tag411.xml" ContentType="application/vnd.openxmlformats-officedocument.presentationml.tags+xml"/>
  <Override PartName="/ppt/charts/chart563.xml" ContentType="application/vnd.openxmlformats-officedocument.drawingml.chart+xml"/>
  <Override PartName="/ppt/tags/tag412.xml" ContentType="application/vnd.openxmlformats-officedocument.presentationml.tags+xml"/>
  <Override PartName="/ppt/charts/chart564.xml" ContentType="application/vnd.openxmlformats-officedocument.drawingml.chart+xml"/>
  <Override PartName="/ppt/tags/tag413.xml" ContentType="application/vnd.openxmlformats-officedocument.presentationml.tags+xml"/>
  <Override PartName="/ppt/charts/chart565.xml" ContentType="application/vnd.openxmlformats-officedocument.drawingml.chart+xml"/>
  <Override PartName="/ppt/tags/tag414.xml" ContentType="application/vnd.openxmlformats-officedocument.presentationml.tags+xml"/>
  <Override PartName="/ppt/charts/chart566.xml" ContentType="application/vnd.openxmlformats-officedocument.drawingml.chart+xml"/>
  <Override PartName="/ppt/tags/tag415.xml" ContentType="application/vnd.openxmlformats-officedocument.presentationml.tags+xml"/>
  <Override PartName="/ppt/charts/chart567.xml" ContentType="application/vnd.openxmlformats-officedocument.drawingml.chart+xml"/>
  <Override PartName="/ppt/tags/tag416.xml" ContentType="application/vnd.openxmlformats-officedocument.presentationml.tags+xml"/>
  <Override PartName="/ppt/charts/chart568.xml" ContentType="application/vnd.openxmlformats-officedocument.drawingml.chart+xml"/>
  <Override PartName="/ppt/tags/tag417.xml" ContentType="application/vnd.openxmlformats-officedocument.presentationml.tags+xml"/>
  <Override PartName="/ppt/charts/chart569.xml" ContentType="application/vnd.openxmlformats-officedocument.drawingml.chart+xml"/>
  <Override PartName="/ppt/tags/tag418.xml" ContentType="application/vnd.openxmlformats-officedocument.presentationml.tags+xml"/>
  <Override PartName="/ppt/charts/chart570.xml" ContentType="application/vnd.openxmlformats-officedocument.drawingml.chart+xml"/>
  <Override PartName="/ppt/tags/tag419.xml" ContentType="application/vnd.openxmlformats-officedocument.presentationml.tags+xml"/>
  <Override PartName="/ppt/charts/chart571.xml" ContentType="application/vnd.openxmlformats-officedocument.drawingml.chart+xml"/>
  <Override PartName="/ppt/tags/tag420.xml" ContentType="application/vnd.openxmlformats-officedocument.presentationml.tags+xml"/>
  <Override PartName="/ppt/charts/chart572.xml" ContentType="application/vnd.openxmlformats-officedocument.drawingml.chart+xml"/>
  <Override PartName="/ppt/tags/tag421.xml" ContentType="application/vnd.openxmlformats-officedocument.presentationml.tags+xml"/>
  <Override PartName="/ppt/charts/chart573.xml" ContentType="application/vnd.openxmlformats-officedocument.drawingml.chart+xml"/>
  <Override PartName="/ppt/tags/tag422.xml" ContentType="application/vnd.openxmlformats-officedocument.presentationml.tags+xml"/>
  <Override PartName="/ppt/charts/chart574.xml" ContentType="application/vnd.openxmlformats-officedocument.drawingml.chart+xml"/>
  <Override PartName="/ppt/tags/tag423.xml" ContentType="application/vnd.openxmlformats-officedocument.presentationml.tags+xml"/>
  <Override PartName="/ppt/charts/chart575.xml" ContentType="application/vnd.openxmlformats-officedocument.drawingml.chart+xml"/>
  <Override PartName="/ppt/tags/tag424.xml" ContentType="application/vnd.openxmlformats-officedocument.presentationml.tags+xml"/>
  <Override PartName="/ppt/charts/chart576.xml" ContentType="application/vnd.openxmlformats-officedocument.drawingml.chart+xml"/>
  <Override PartName="/ppt/tags/tag425.xml" ContentType="application/vnd.openxmlformats-officedocument.presentationml.tags+xml"/>
  <Override PartName="/ppt/charts/chart577.xml" ContentType="application/vnd.openxmlformats-officedocument.drawingml.chart+xml"/>
  <Override PartName="/ppt/tags/tag426.xml" ContentType="application/vnd.openxmlformats-officedocument.presentationml.tags+xml"/>
  <Override PartName="/ppt/charts/chart578.xml" ContentType="application/vnd.openxmlformats-officedocument.drawingml.chart+xml"/>
  <Override PartName="/ppt/tags/tag427.xml" ContentType="application/vnd.openxmlformats-officedocument.presentationml.tags+xml"/>
  <Override PartName="/ppt/charts/chart579.xml" ContentType="application/vnd.openxmlformats-officedocument.drawingml.chart+xml"/>
  <Override PartName="/ppt/tags/tag428.xml" ContentType="application/vnd.openxmlformats-officedocument.presentationml.tags+xml"/>
  <Override PartName="/ppt/charts/chart580.xml" ContentType="application/vnd.openxmlformats-officedocument.drawingml.chart+xml"/>
  <Override PartName="/ppt/tags/tag429.xml" ContentType="application/vnd.openxmlformats-officedocument.presentationml.tags+xml"/>
  <Override PartName="/ppt/charts/chart581.xml" ContentType="application/vnd.openxmlformats-officedocument.drawingml.chart+xml"/>
  <Override PartName="/ppt/tags/tag430.xml" ContentType="application/vnd.openxmlformats-officedocument.presentationml.tags+xml"/>
  <Override PartName="/ppt/charts/chart582.xml" ContentType="application/vnd.openxmlformats-officedocument.drawingml.chart+xml"/>
  <Override PartName="/ppt/tags/tag431.xml" ContentType="application/vnd.openxmlformats-officedocument.presentationml.tags+xml"/>
  <Override PartName="/ppt/charts/chart583.xml" ContentType="application/vnd.openxmlformats-officedocument.drawingml.chart+xml"/>
  <Override PartName="/ppt/tags/tag432.xml" ContentType="application/vnd.openxmlformats-officedocument.presentationml.tags+xml"/>
  <Override PartName="/ppt/charts/chart584.xml" ContentType="application/vnd.openxmlformats-officedocument.drawingml.chart+xml"/>
  <Override PartName="/ppt/tags/tag433.xml" ContentType="application/vnd.openxmlformats-officedocument.presentationml.tags+xml"/>
  <Override PartName="/ppt/charts/chart585.xml" ContentType="application/vnd.openxmlformats-officedocument.drawingml.chart+xml"/>
  <Override PartName="/ppt/tags/tag434.xml" ContentType="application/vnd.openxmlformats-officedocument.presentationml.tags+xml"/>
  <Override PartName="/ppt/charts/chart586.xml" ContentType="application/vnd.openxmlformats-officedocument.drawingml.chart+xml"/>
  <Override PartName="/ppt/tags/tag435.xml" ContentType="application/vnd.openxmlformats-officedocument.presentationml.tags+xml"/>
  <Override PartName="/ppt/charts/chart587.xml" ContentType="application/vnd.openxmlformats-officedocument.drawingml.chart+xml"/>
  <Override PartName="/ppt/tags/tag436.xml" ContentType="application/vnd.openxmlformats-officedocument.presentationml.tags+xml"/>
  <Override PartName="/ppt/charts/chart588.xml" ContentType="application/vnd.openxmlformats-officedocument.drawingml.chart+xml"/>
  <Override PartName="/ppt/tags/tag437.xml" ContentType="application/vnd.openxmlformats-officedocument.presentationml.tags+xml"/>
  <Override PartName="/ppt/charts/chart589.xml" ContentType="application/vnd.openxmlformats-officedocument.drawingml.chart+xml"/>
  <Override PartName="/ppt/tags/tag438.xml" ContentType="application/vnd.openxmlformats-officedocument.presentationml.tags+xml"/>
  <Override PartName="/ppt/charts/chart590.xml" ContentType="application/vnd.openxmlformats-officedocument.drawingml.chart+xml"/>
  <Override PartName="/ppt/tags/tag439.xml" ContentType="application/vnd.openxmlformats-officedocument.presentationml.tags+xml"/>
  <Override PartName="/ppt/charts/chart591.xml" ContentType="application/vnd.openxmlformats-officedocument.drawingml.chart+xml"/>
  <Override PartName="/ppt/tags/tag440.xml" ContentType="application/vnd.openxmlformats-officedocument.presentationml.tags+xml"/>
  <Override PartName="/ppt/charts/chart592.xml" ContentType="application/vnd.openxmlformats-officedocument.drawingml.chart+xml"/>
  <Override PartName="/ppt/tags/tag441.xml" ContentType="application/vnd.openxmlformats-officedocument.presentationml.tags+xml"/>
  <Override PartName="/ppt/charts/chart593.xml" ContentType="application/vnd.openxmlformats-officedocument.drawingml.chart+xml"/>
  <Override PartName="/ppt/tags/tag442.xml" ContentType="application/vnd.openxmlformats-officedocument.presentationml.tags+xml"/>
  <Override PartName="/ppt/charts/chart594.xml" ContentType="application/vnd.openxmlformats-officedocument.drawingml.chart+xml"/>
  <Override PartName="/ppt/tags/tag443.xml" ContentType="application/vnd.openxmlformats-officedocument.presentationml.tags+xml"/>
  <Override PartName="/ppt/charts/chart595.xml" ContentType="application/vnd.openxmlformats-officedocument.drawingml.chart+xml"/>
  <Override PartName="/ppt/tags/tag444.xml" ContentType="application/vnd.openxmlformats-officedocument.presentationml.tags+xml"/>
  <Override PartName="/ppt/charts/chart596.xml" ContentType="application/vnd.openxmlformats-officedocument.drawingml.chart+xml"/>
  <Override PartName="/ppt/tags/tag445.xml" ContentType="application/vnd.openxmlformats-officedocument.presentationml.tags+xml"/>
  <Override PartName="/ppt/charts/chart597.xml" ContentType="application/vnd.openxmlformats-officedocument.drawingml.chart+xml"/>
  <Override PartName="/ppt/tags/tag446.xml" ContentType="application/vnd.openxmlformats-officedocument.presentationml.tags+xml"/>
  <Override PartName="/ppt/charts/chart598.xml" ContentType="application/vnd.openxmlformats-officedocument.drawingml.chart+xml"/>
  <Override PartName="/ppt/tags/tag447.xml" ContentType="application/vnd.openxmlformats-officedocument.presentationml.tags+xml"/>
  <Override PartName="/ppt/charts/chart599.xml" ContentType="application/vnd.openxmlformats-officedocument.drawingml.chart+xml"/>
  <Override PartName="/ppt/tags/tag448.xml" ContentType="application/vnd.openxmlformats-officedocument.presentationml.tags+xml"/>
  <Override PartName="/ppt/charts/chart600.xml" ContentType="application/vnd.openxmlformats-officedocument.drawingml.chart+xml"/>
  <Override PartName="/ppt/tags/tag449.xml" ContentType="application/vnd.openxmlformats-officedocument.presentationml.tags+xml"/>
  <Override PartName="/ppt/charts/chart601.xml" ContentType="application/vnd.openxmlformats-officedocument.drawingml.chart+xml"/>
  <Override PartName="/ppt/tags/tag450.xml" ContentType="application/vnd.openxmlformats-officedocument.presentationml.tags+xml"/>
  <Override PartName="/ppt/charts/chart602.xml" ContentType="application/vnd.openxmlformats-officedocument.drawingml.chart+xml"/>
  <Override PartName="/ppt/tags/tag451.xml" ContentType="application/vnd.openxmlformats-officedocument.presentationml.tags+xml"/>
  <Override PartName="/ppt/charts/chart603.xml" ContentType="application/vnd.openxmlformats-officedocument.drawingml.chart+xml"/>
  <Override PartName="/ppt/tags/tag452.xml" ContentType="application/vnd.openxmlformats-officedocument.presentationml.tags+xml"/>
  <Override PartName="/ppt/charts/chart604.xml" ContentType="application/vnd.openxmlformats-officedocument.drawingml.chart+xml"/>
  <Override PartName="/ppt/tags/tag453.xml" ContentType="application/vnd.openxmlformats-officedocument.presentationml.tags+xml"/>
  <Override PartName="/ppt/charts/chart605.xml" ContentType="application/vnd.openxmlformats-officedocument.drawingml.chart+xml"/>
  <Override PartName="/ppt/tags/tag454.xml" ContentType="application/vnd.openxmlformats-officedocument.presentationml.tags+xml"/>
  <Override PartName="/ppt/charts/chart606.xml" ContentType="application/vnd.openxmlformats-officedocument.drawingml.chart+xml"/>
  <Override PartName="/ppt/tags/tag455.xml" ContentType="application/vnd.openxmlformats-officedocument.presentationml.tags+xml"/>
  <Override PartName="/ppt/charts/chart607.xml" ContentType="application/vnd.openxmlformats-officedocument.drawingml.chart+xml"/>
  <Override PartName="/ppt/tags/tag456.xml" ContentType="application/vnd.openxmlformats-officedocument.presentationml.tags+xml"/>
  <Override PartName="/ppt/charts/chart608.xml" ContentType="application/vnd.openxmlformats-officedocument.drawingml.chart+xml"/>
  <Override PartName="/ppt/tags/tag457.xml" ContentType="application/vnd.openxmlformats-officedocument.presentationml.tags+xml"/>
  <Override PartName="/ppt/charts/chart609.xml" ContentType="application/vnd.openxmlformats-officedocument.drawingml.chart+xml"/>
  <Override PartName="/ppt/tags/tag458.xml" ContentType="application/vnd.openxmlformats-officedocument.presentationml.tags+xml"/>
  <Override PartName="/ppt/charts/chart610.xml" ContentType="application/vnd.openxmlformats-officedocument.drawingml.chart+xml"/>
  <Override PartName="/ppt/tags/tag459.xml" ContentType="application/vnd.openxmlformats-officedocument.presentationml.tags+xml"/>
  <Override PartName="/ppt/charts/chart611.xml" ContentType="application/vnd.openxmlformats-officedocument.drawingml.chart+xml"/>
  <Override PartName="/ppt/tags/tag460.xml" ContentType="application/vnd.openxmlformats-officedocument.presentationml.tags+xml"/>
  <Override PartName="/ppt/charts/chart612.xml" ContentType="application/vnd.openxmlformats-officedocument.drawingml.chart+xml"/>
  <Override PartName="/ppt/tags/tag461.xml" ContentType="application/vnd.openxmlformats-officedocument.presentationml.tags+xml"/>
  <Override PartName="/ppt/charts/chart613.xml" ContentType="application/vnd.openxmlformats-officedocument.drawingml.chart+xml"/>
  <Override PartName="/ppt/tags/tag462.xml" ContentType="application/vnd.openxmlformats-officedocument.presentationml.tags+xml"/>
  <Override PartName="/ppt/charts/chart614.xml" ContentType="application/vnd.openxmlformats-officedocument.drawingml.chart+xml"/>
  <Override PartName="/ppt/tags/tag463.xml" ContentType="application/vnd.openxmlformats-officedocument.presentationml.tags+xml"/>
  <Override PartName="/ppt/charts/chart615.xml" ContentType="application/vnd.openxmlformats-officedocument.drawingml.chart+xml"/>
  <Override PartName="/ppt/tags/tag464.xml" ContentType="application/vnd.openxmlformats-officedocument.presentationml.tags+xml"/>
  <Override PartName="/ppt/charts/chart616.xml" ContentType="application/vnd.openxmlformats-officedocument.drawingml.chart+xml"/>
  <Override PartName="/ppt/tags/tag465.xml" ContentType="application/vnd.openxmlformats-officedocument.presentationml.tags+xml"/>
  <Override PartName="/ppt/charts/chart617.xml" ContentType="application/vnd.openxmlformats-officedocument.drawingml.chart+xml"/>
  <Override PartName="/ppt/tags/tag466.xml" ContentType="application/vnd.openxmlformats-officedocument.presentationml.tags+xml"/>
  <Override PartName="/ppt/charts/chart618.xml" ContentType="application/vnd.openxmlformats-officedocument.drawingml.chart+xml"/>
  <Override PartName="/ppt/tags/tag467.xml" ContentType="application/vnd.openxmlformats-officedocument.presentationml.tags+xml"/>
  <Override PartName="/ppt/charts/chart619.xml" ContentType="application/vnd.openxmlformats-officedocument.drawingml.chart+xml"/>
  <Override PartName="/ppt/tags/tag468.xml" ContentType="application/vnd.openxmlformats-officedocument.presentationml.tags+xml"/>
  <Override PartName="/ppt/charts/chart620.xml" ContentType="application/vnd.openxmlformats-officedocument.drawingml.chart+xml"/>
  <Override PartName="/ppt/tags/tag469.xml" ContentType="application/vnd.openxmlformats-officedocument.presentationml.tags+xml"/>
  <Override PartName="/ppt/charts/chart621.xml" ContentType="application/vnd.openxmlformats-officedocument.drawingml.chart+xml"/>
  <Override PartName="/ppt/tags/tag470.xml" ContentType="application/vnd.openxmlformats-officedocument.presentationml.tags+xml"/>
  <Override PartName="/ppt/charts/chart622.xml" ContentType="application/vnd.openxmlformats-officedocument.drawingml.chart+xml"/>
  <Override PartName="/ppt/tags/tag471.xml" ContentType="application/vnd.openxmlformats-officedocument.presentationml.tags+xml"/>
  <Override PartName="/ppt/charts/chart623.xml" ContentType="application/vnd.openxmlformats-officedocument.drawingml.chart+xml"/>
  <Override PartName="/ppt/tags/tag472.xml" ContentType="application/vnd.openxmlformats-officedocument.presentationml.tags+xml"/>
  <Override PartName="/ppt/charts/chart624.xml" ContentType="application/vnd.openxmlformats-officedocument.drawingml.chart+xml"/>
  <Override PartName="/ppt/tags/tag473.xml" ContentType="application/vnd.openxmlformats-officedocument.presentationml.tags+xml"/>
  <Override PartName="/ppt/charts/chart625.xml" ContentType="application/vnd.openxmlformats-officedocument.drawingml.chart+xml"/>
  <Override PartName="/ppt/tags/tag474.xml" ContentType="application/vnd.openxmlformats-officedocument.presentationml.tags+xml"/>
  <Override PartName="/ppt/charts/chart626.xml" ContentType="application/vnd.openxmlformats-officedocument.drawingml.chart+xml"/>
  <Override PartName="/ppt/tags/tag475.xml" ContentType="application/vnd.openxmlformats-officedocument.presentationml.tags+xml"/>
  <Override PartName="/ppt/charts/chart627.xml" ContentType="application/vnd.openxmlformats-officedocument.drawingml.chart+xml"/>
  <Override PartName="/ppt/tags/tag476.xml" ContentType="application/vnd.openxmlformats-officedocument.presentationml.tags+xml"/>
  <Override PartName="/ppt/charts/chart628.xml" ContentType="application/vnd.openxmlformats-officedocument.drawingml.chart+xml"/>
  <Override PartName="/ppt/tags/tag477.xml" ContentType="application/vnd.openxmlformats-officedocument.presentationml.tags+xml"/>
  <Override PartName="/ppt/charts/chart629.xml" ContentType="application/vnd.openxmlformats-officedocument.drawingml.chart+xml"/>
  <Override PartName="/ppt/tags/tag478.xml" ContentType="application/vnd.openxmlformats-officedocument.presentationml.tags+xml"/>
  <Override PartName="/ppt/charts/chart630.xml" ContentType="application/vnd.openxmlformats-officedocument.drawingml.chart+xml"/>
  <Override PartName="/ppt/tags/tag479.xml" ContentType="application/vnd.openxmlformats-officedocument.presentationml.tags+xml"/>
  <Override PartName="/ppt/charts/chart631.xml" ContentType="application/vnd.openxmlformats-officedocument.drawingml.chart+xml"/>
  <Override PartName="/ppt/tags/tag480.xml" ContentType="application/vnd.openxmlformats-officedocument.presentationml.tags+xml"/>
  <Override PartName="/ppt/charts/chart632.xml" ContentType="application/vnd.openxmlformats-officedocument.drawingml.chart+xml"/>
  <Override PartName="/ppt/tags/tag481.xml" ContentType="application/vnd.openxmlformats-officedocument.presentationml.tags+xml"/>
  <Override PartName="/ppt/charts/chart633.xml" ContentType="application/vnd.openxmlformats-officedocument.drawingml.chart+xml"/>
  <Override PartName="/ppt/tags/tag482.xml" ContentType="application/vnd.openxmlformats-officedocument.presentationml.tags+xml"/>
  <Override PartName="/ppt/charts/chart634.xml" ContentType="application/vnd.openxmlformats-officedocument.drawingml.chart+xml"/>
  <Override PartName="/ppt/tags/tag483.xml" ContentType="application/vnd.openxmlformats-officedocument.presentationml.tags+xml"/>
  <Override PartName="/ppt/charts/chart635.xml" ContentType="application/vnd.openxmlformats-officedocument.drawingml.chart+xml"/>
  <Override PartName="/ppt/tags/tag484.xml" ContentType="application/vnd.openxmlformats-officedocument.presentationml.tags+xml"/>
  <Override PartName="/ppt/charts/chart636.xml" ContentType="application/vnd.openxmlformats-officedocument.drawingml.chart+xml"/>
  <Override PartName="/ppt/tags/tag485.xml" ContentType="application/vnd.openxmlformats-officedocument.presentationml.tags+xml"/>
  <Override PartName="/ppt/charts/chart637.xml" ContentType="application/vnd.openxmlformats-officedocument.drawingml.chart+xml"/>
  <Override PartName="/ppt/tags/tag486.xml" ContentType="application/vnd.openxmlformats-officedocument.presentationml.tags+xml"/>
  <Override PartName="/ppt/charts/chart638.xml" ContentType="application/vnd.openxmlformats-officedocument.drawingml.chart+xml"/>
  <Override PartName="/ppt/tags/tag487.xml" ContentType="application/vnd.openxmlformats-officedocument.presentationml.tags+xml"/>
  <Override PartName="/ppt/charts/chart639.xml" ContentType="application/vnd.openxmlformats-officedocument.drawingml.chart+xml"/>
  <Override PartName="/ppt/tags/tag488.xml" ContentType="application/vnd.openxmlformats-officedocument.presentationml.tags+xml"/>
  <Override PartName="/ppt/charts/chart640.xml" ContentType="application/vnd.openxmlformats-officedocument.drawingml.chart+xml"/>
  <Override PartName="/ppt/tags/tag489.xml" ContentType="application/vnd.openxmlformats-officedocument.presentationml.tags+xml"/>
  <Override PartName="/ppt/charts/chart641.xml" ContentType="application/vnd.openxmlformats-officedocument.drawingml.chart+xml"/>
  <Override PartName="/ppt/tags/tag490.xml" ContentType="application/vnd.openxmlformats-officedocument.presentationml.tags+xml"/>
  <Override PartName="/ppt/charts/chart642.xml" ContentType="application/vnd.openxmlformats-officedocument.drawingml.chart+xml"/>
  <Override PartName="/ppt/tags/tag491.xml" ContentType="application/vnd.openxmlformats-officedocument.presentationml.tags+xml"/>
  <Override PartName="/ppt/charts/chart643.xml" ContentType="application/vnd.openxmlformats-officedocument.drawingml.chart+xml"/>
  <Override PartName="/ppt/tags/tag492.xml" ContentType="application/vnd.openxmlformats-officedocument.presentationml.tags+xml"/>
  <Override PartName="/ppt/charts/chart644.xml" ContentType="application/vnd.openxmlformats-officedocument.drawingml.chart+xml"/>
  <Override PartName="/ppt/tags/tag493.xml" ContentType="application/vnd.openxmlformats-officedocument.presentationml.tags+xml"/>
  <Override PartName="/ppt/charts/chart645.xml" ContentType="application/vnd.openxmlformats-officedocument.drawingml.chart+xml"/>
  <Override PartName="/ppt/tags/tag494.xml" ContentType="application/vnd.openxmlformats-officedocument.presentationml.tags+xml"/>
  <Override PartName="/ppt/charts/chart646.xml" ContentType="application/vnd.openxmlformats-officedocument.drawingml.chart+xml"/>
  <Override PartName="/ppt/tags/tag495.xml" ContentType="application/vnd.openxmlformats-officedocument.presentationml.tags+xml"/>
  <Override PartName="/ppt/charts/chart647.xml" ContentType="application/vnd.openxmlformats-officedocument.drawingml.chart+xml"/>
  <Override PartName="/ppt/tags/tag496.xml" ContentType="application/vnd.openxmlformats-officedocument.presentationml.tags+xml"/>
  <Override PartName="/ppt/charts/chart648.xml" ContentType="application/vnd.openxmlformats-officedocument.drawingml.chart+xml"/>
  <Override PartName="/ppt/tags/tag497.xml" ContentType="application/vnd.openxmlformats-officedocument.presentationml.tags+xml"/>
  <Override PartName="/ppt/charts/chart649.xml" ContentType="application/vnd.openxmlformats-officedocument.drawingml.chart+xml"/>
  <Override PartName="/ppt/tags/tag498.xml" ContentType="application/vnd.openxmlformats-officedocument.presentationml.tags+xml"/>
  <Override PartName="/ppt/charts/chart650.xml" ContentType="application/vnd.openxmlformats-officedocument.drawingml.chart+xml"/>
  <Override PartName="/ppt/tags/tag499.xml" ContentType="application/vnd.openxmlformats-officedocument.presentationml.tags+xml"/>
  <Override PartName="/ppt/charts/chart651.xml" ContentType="application/vnd.openxmlformats-officedocument.drawingml.chart+xml"/>
  <Override PartName="/ppt/tags/tag500.xml" ContentType="application/vnd.openxmlformats-officedocument.presentationml.tags+xml"/>
  <Override PartName="/ppt/charts/chart652.xml" ContentType="application/vnd.openxmlformats-officedocument.drawingml.chart+xml"/>
  <Override PartName="/ppt/tags/tag501.xml" ContentType="application/vnd.openxmlformats-officedocument.presentationml.tags+xml"/>
  <Override PartName="/ppt/charts/chart653.xml" ContentType="application/vnd.openxmlformats-officedocument.drawingml.chart+xml"/>
  <Override PartName="/ppt/tags/tag502.xml" ContentType="application/vnd.openxmlformats-officedocument.presentationml.tags+xml"/>
  <Override PartName="/ppt/charts/chart654.xml" ContentType="application/vnd.openxmlformats-officedocument.drawingml.chart+xml"/>
  <Override PartName="/ppt/tags/tag503.xml" ContentType="application/vnd.openxmlformats-officedocument.presentationml.tags+xml"/>
  <Override PartName="/ppt/charts/chart655.xml" ContentType="application/vnd.openxmlformats-officedocument.drawingml.chart+xml"/>
  <Override PartName="/ppt/tags/tag504.xml" ContentType="application/vnd.openxmlformats-officedocument.presentationml.tags+xml"/>
  <Override PartName="/ppt/charts/chart656.xml" ContentType="application/vnd.openxmlformats-officedocument.drawingml.chart+xml"/>
  <Override PartName="/ppt/tags/tag505.xml" ContentType="application/vnd.openxmlformats-officedocument.presentationml.tags+xml"/>
  <Override PartName="/ppt/charts/chart657.xml" ContentType="application/vnd.openxmlformats-officedocument.drawingml.chart+xml"/>
  <Override PartName="/ppt/tags/tag506.xml" ContentType="application/vnd.openxmlformats-officedocument.presentationml.tags+xml"/>
  <Override PartName="/ppt/charts/chart658.xml" ContentType="application/vnd.openxmlformats-officedocument.drawingml.chart+xml"/>
  <Override PartName="/ppt/tags/tag507.xml" ContentType="application/vnd.openxmlformats-officedocument.presentationml.tags+xml"/>
  <Override PartName="/ppt/charts/chart659.xml" ContentType="application/vnd.openxmlformats-officedocument.drawingml.chart+xml"/>
  <Override PartName="/ppt/tags/tag508.xml" ContentType="application/vnd.openxmlformats-officedocument.presentationml.tags+xml"/>
  <Override PartName="/ppt/charts/chart660.xml" ContentType="application/vnd.openxmlformats-officedocument.drawingml.chart+xml"/>
  <Override PartName="/ppt/tags/tag509.xml" ContentType="application/vnd.openxmlformats-officedocument.presentationml.tags+xml"/>
  <Override PartName="/ppt/charts/chart661.xml" ContentType="application/vnd.openxmlformats-officedocument.drawingml.chart+xml"/>
  <Override PartName="/ppt/tags/tag510.xml" ContentType="application/vnd.openxmlformats-officedocument.presentationml.tags+xml"/>
  <Override PartName="/ppt/charts/chart662.xml" ContentType="application/vnd.openxmlformats-officedocument.drawingml.chart+xml"/>
  <Override PartName="/ppt/tags/tag511.xml" ContentType="application/vnd.openxmlformats-officedocument.presentationml.tags+xml"/>
  <Override PartName="/ppt/charts/chart663.xml" ContentType="application/vnd.openxmlformats-officedocument.drawingml.chart+xml"/>
  <Override PartName="/ppt/tags/tag512.xml" ContentType="application/vnd.openxmlformats-officedocument.presentationml.tags+xml"/>
  <Override PartName="/ppt/charts/chart664.xml" ContentType="application/vnd.openxmlformats-officedocument.drawingml.chart+xml"/>
  <Override PartName="/ppt/tags/tag513.xml" ContentType="application/vnd.openxmlformats-officedocument.presentationml.tags+xml"/>
  <Override PartName="/ppt/charts/chart665.xml" ContentType="application/vnd.openxmlformats-officedocument.drawingml.chart+xml"/>
  <Override PartName="/ppt/tags/tag514.xml" ContentType="application/vnd.openxmlformats-officedocument.presentationml.tags+xml"/>
  <Override PartName="/ppt/charts/chart666.xml" ContentType="application/vnd.openxmlformats-officedocument.drawingml.chart+xml"/>
  <Override PartName="/ppt/tags/tag515.xml" ContentType="application/vnd.openxmlformats-officedocument.presentationml.tags+xml"/>
  <Override PartName="/ppt/charts/chart667.xml" ContentType="application/vnd.openxmlformats-officedocument.drawingml.chart+xml"/>
  <Override PartName="/ppt/tags/tag516.xml" ContentType="application/vnd.openxmlformats-officedocument.presentationml.tags+xml"/>
  <Override PartName="/ppt/charts/chart668.xml" ContentType="application/vnd.openxmlformats-officedocument.drawingml.chart+xml"/>
  <Override PartName="/ppt/tags/tag517.xml" ContentType="application/vnd.openxmlformats-officedocument.presentationml.tags+xml"/>
  <Override PartName="/ppt/charts/chart669.xml" ContentType="application/vnd.openxmlformats-officedocument.drawingml.chart+xml"/>
  <Override PartName="/ppt/tags/tag518.xml" ContentType="application/vnd.openxmlformats-officedocument.presentationml.tags+xml"/>
  <Override PartName="/ppt/charts/chart670.xml" ContentType="application/vnd.openxmlformats-officedocument.drawingml.chart+xml"/>
  <Override PartName="/ppt/tags/tag519.xml" ContentType="application/vnd.openxmlformats-officedocument.presentationml.tags+xml"/>
  <Override PartName="/ppt/charts/chart671.xml" ContentType="application/vnd.openxmlformats-officedocument.drawingml.chart+xml"/>
  <Override PartName="/ppt/tags/tag520.xml" ContentType="application/vnd.openxmlformats-officedocument.presentationml.tags+xml"/>
  <Override PartName="/ppt/charts/chart672.xml" ContentType="application/vnd.openxmlformats-officedocument.drawingml.chart+xml"/>
  <Override PartName="/ppt/tags/tag521.xml" ContentType="application/vnd.openxmlformats-officedocument.presentationml.tags+xml"/>
  <Override PartName="/ppt/charts/chart673.xml" ContentType="application/vnd.openxmlformats-officedocument.drawingml.chart+xml"/>
  <Override PartName="/ppt/tags/tag522.xml" ContentType="application/vnd.openxmlformats-officedocument.presentationml.tags+xml"/>
  <Override PartName="/ppt/charts/chart674.xml" ContentType="application/vnd.openxmlformats-officedocument.drawingml.chart+xml"/>
  <Override PartName="/ppt/tags/tag523.xml" ContentType="application/vnd.openxmlformats-officedocument.presentationml.tags+xml"/>
  <Override PartName="/ppt/charts/chart675.xml" ContentType="application/vnd.openxmlformats-officedocument.drawingml.chart+xml"/>
  <Override PartName="/ppt/tags/tag524.xml" ContentType="application/vnd.openxmlformats-officedocument.presentationml.tags+xml"/>
  <Override PartName="/ppt/charts/chart676.xml" ContentType="application/vnd.openxmlformats-officedocument.drawingml.chart+xml"/>
  <Override PartName="/ppt/tags/tag525.xml" ContentType="application/vnd.openxmlformats-officedocument.presentationml.tags+xml"/>
  <Override PartName="/ppt/charts/chart677.xml" ContentType="application/vnd.openxmlformats-officedocument.drawingml.chart+xml"/>
  <Override PartName="/ppt/tags/tag526.xml" ContentType="application/vnd.openxmlformats-officedocument.presentationml.tags+xml"/>
  <Override PartName="/ppt/charts/chart678.xml" ContentType="application/vnd.openxmlformats-officedocument.drawingml.chart+xml"/>
  <Override PartName="/ppt/tags/tag527.xml" ContentType="application/vnd.openxmlformats-officedocument.presentationml.tags+xml"/>
  <Override PartName="/ppt/charts/chart679.xml" ContentType="application/vnd.openxmlformats-officedocument.drawingml.chart+xml"/>
  <Override PartName="/ppt/tags/tag528.xml" ContentType="application/vnd.openxmlformats-officedocument.presentationml.tags+xml"/>
  <Override PartName="/ppt/charts/chart680.xml" ContentType="application/vnd.openxmlformats-officedocument.drawingml.chart+xml"/>
  <Override PartName="/ppt/tags/tag529.xml" ContentType="application/vnd.openxmlformats-officedocument.presentationml.tags+xml"/>
  <Override PartName="/ppt/charts/chart681.xml" ContentType="application/vnd.openxmlformats-officedocument.drawingml.chart+xml"/>
  <Override PartName="/ppt/tags/tag530.xml" ContentType="application/vnd.openxmlformats-officedocument.presentationml.tags+xml"/>
  <Override PartName="/ppt/charts/chart682.xml" ContentType="application/vnd.openxmlformats-officedocument.drawingml.chart+xml"/>
  <Override PartName="/ppt/tags/tag531.xml" ContentType="application/vnd.openxmlformats-officedocument.presentationml.tags+xml"/>
  <Override PartName="/ppt/charts/chart683.xml" ContentType="application/vnd.openxmlformats-officedocument.drawingml.chart+xml"/>
  <Override PartName="/ppt/tags/tag532.xml" ContentType="application/vnd.openxmlformats-officedocument.presentationml.tags+xml"/>
  <Override PartName="/ppt/charts/chart684.xml" ContentType="application/vnd.openxmlformats-officedocument.drawingml.chart+xml"/>
  <Override PartName="/ppt/tags/tag533.xml" ContentType="application/vnd.openxmlformats-officedocument.presentationml.tags+xml"/>
  <Override PartName="/ppt/charts/chart685.xml" ContentType="application/vnd.openxmlformats-officedocument.drawingml.chart+xml"/>
  <Override PartName="/ppt/tags/tag534.xml" ContentType="application/vnd.openxmlformats-officedocument.presentationml.tags+xml"/>
  <Override PartName="/ppt/charts/chart686.xml" ContentType="application/vnd.openxmlformats-officedocument.drawingml.chart+xml"/>
  <Override PartName="/ppt/tags/tag535.xml" ContentType="application/vnd.openxmlformats-officedocument.presentationml.tags+xml"/>
  <Override PartName="/ppt/charts/chart687.xml" ContentType="application/vnd.openxmlformats-officedocument.drawingml.chart+xml"/>
  <Override PartName="/ppt/tags/tag536.xml" ContentType="application/vnd.openxmlformats-officedocument.presentationml.tags+xml"/>
  <Override PartName="/ppt/charts/chart688.xml" ContentType="application/vnd.openxmlformats-officedocument.drawingml.chart+xml"/>
  <Override PartName="/ppt/tags/tag537.xml" ContentType="application/vnd.openxmlformats-officedocument.presentationml.tags+xml"/>
  <Override PartName="/ppt/charts/chart689.xml" ContentType="application/vnd.openxmlformats-officedocument.drawingml.chart+xml"/>
  <Override PartName="/ppt/tags/tag538.xml" ContentType="application/vnd.openxmlformats-officedocument.presentationml.tags+xml"/>
  <Override PartName="/ppt/charts/chart690.xml" ContentType="application/vnd.openxmlformats-officedocument.drawingml.chart+xml"/>
  <Override PartName="/ppt/tags/tag539.xml" ContentType="application/vnd.openxmlformats-officedocument.presentationml.tags+xml"/>
  <Override PartName="/ppt/charts/chart691.xml" ContentType="application/vnd.openxmlformats-officedocument.drawingml.chart+xml"/>
  <Override PartName="/ppt/tags/tag540.xml" ContentType="application/vnd.openxmlformats-officedocument.presentationml.tags+xml"/>
  <Override PartName="/ppt/charts/chart692.xml" ContentType="application/vnd.openxmlformats-officedocument.drawingml.chart+xml"/>
  <Override PartName="/ppt/tags/tag541.xml" ContentType="application/vnd.openxmlformats-officedocument.presentationml.tags+xml"/>
  <Override PartName="/ppt/charts/chart693.xml" ContentType="application/vnd.openxmlformats-officedocument.drawingml.chart+xml"/>
  <Override PartName="/ppt/tags/tag542.xml" ContentType="application/vnd.openxmlformats-officedocument.presentationml.tags+xml"/>
  <Override PartName="/ppt/charts/chart694.xml" ContentType="application/vnd.openxmlformats-officedocument.drawingml.chart+xml"/>
  <Override PartName="/ppt/tags/tag543.xml" ContentType="application/vnd.openxmlformats-officedocument.presentationml.tags+xml"/>
  <Override PartName="/ppt/charts/chart695.xml" ContentType="application/vnd.openxmlformats-officedocument.drawingml.chart+xml"/>
  <Override PartName="/ppt/tags/tag544.xml" ContentType="application/vnd.openxmlformats-officedocument.presentationml.tags+xml"/>
  <Override PartName="/ppt/charts/chart696.xml" ContentType="application/vnd.openxmlformats-officedocument.drawingml.chart+xml"/>
  <Override PartName="/ppt/tags/tag545.xml" ContentType="application/vnd.openxmlformats-officedocument.presentationml.tags+xml"/>
  <Override PartName="/ppt/charts/chart697.xml" ContentType="application/vnd.openxmlformats-officedocument.drawingml.chart+xml"/>
  <Override PartName="/ppt/tags/tag546.xml" ContentType="application/vnd.openxmlformats-officedocument.presentationml.tags+xml"/>
  <Override PartName="/ppt/charts/chart698.xml" ContentType="application/vnd.openxmlformats-officedocument.drawingml.chart+xml"/>
  <Override PartName="/ppt/tags/tag547.xml" ContentType="application/vnd.openxmlformats-officedocument.presentationml.tags+xml"/>
  <Override PartName="/ppt/charts/chart699.xml" ContentType="application/vnd.openxmlformats-officedocument.drawingml.chart+xml"/>
  <Override PartName="/ppt/tags/tag548.xml" ContentType="application/vnd.openxmlformats-officedocument.presentationml.tags+xml"/>
  <Override PartName="/ppt/charts/chart700.xml" ContentType="application/vnd.openxmlformats-officedocument.drawingml.chart+xml"/>
  <Override PartName="/ppt/tags/tag549.xml" ContentType="application/vnd.openxmlformats-officedocument.presentationml.tags+xml"/>
  <Override PartName="/ppt/charts/chart701.xml" ContentType="application/vnd.openxmlformats-officedocument.drawingml.chart+xml"/>
  <Override PartName="/ppt/tags/tag550.xml" ContentType="application/vnd.openxmlformats-officedocument.presentationml.tags+xml"/>
  <Override PartName="/ppt/charts/chart702.xml" ContentType="application/vnd.openxmlformats-officedocument.drawingml.chart+xml"/>
  <Override PartName="/ppt/tags/tag551.xml" ContentType="application/vnd.openxmlformats-officedocument.presentationml.tags+xml"/>
  <Override PartName="/ppt/charts/chart703.xml" ContentType="application/vnd.openxmlformats-officedocument.drawingml.chart+xml"/>
  <Override PartName="/ppt/tags/tag552.xml" ContentType="application/vnd.openxmlformats-officedocument.presentationml.tags+xml"/>
  <Override PartName="/ppt/charts/chart704.xml" ContentType="application/vnd.openxmlformats-officedocument.drawingml.chart+xml"/>
  <Override PartName="/ppt/tags/tag553.xml" ContentType="application/vnd.openxmlformats-officedocument.presentationml.tags+xml"/>
  <Override PartName="/ppt/charts/chart705.xml" ContentType="application/vnd.openxmlformats-officedocument.drawingml.chart+xml"/>
  <Override PartName="/ppt/tags/tag554.xml" ContentType="application/vnd.openxmlformats-officedocument.presentationml.tags+xml"/>
  <Override PartName="/ppt/charts/chart706.xml" ContentType="application/vnd.openxmlformats-officedocument.drawingml.chart+xml"/>
  <Override PartName="/ppt/tags/tag555.xml" ContentType="application/vnd.openxmlformats-officedocument.presentationml.tags+xml"/>
  <Override PartName="/ppt/charts/chart707.xml" ContentType="application/vnd.openxmlformats-officedocument.drawingml.chart+xml"/>
  <Override PartName="/ppt/tags/tag556.xml" ContentType="application/vnd.openxmlformats-officedocument.presentationml.tags+xml"/>
  <Override PartName="/ppt/charts/chart708.xml" ContentType="application/vnd.openxmlformats-officedocument.drawingml.chart+xml"/>
  <Override PartName="/ppt/tags/tag557.xml" ContentType="application/vnd.openxmlformats-officedocument.presentationml.tags+xml"/>
  <Override PartName="/ppt/charts/chart709.xml" ContentType="application/vnd.openxmlformats-officedocument.drawingml.chart+xml"/>
  <Override PartName="/ppt/tags/tag558.xml" ContentType="application/vnd.openxmlformats-officedocument.presentationml.tags+xml"/>
  <Override PartName="/ppt/charts/chart710.xml" ContentType="application/vnd.openxmlformats-officedocument.drawingml.chart+xml"/>
  <Override PartName="/ppt/tags/tag559.xml" ContentType="application/vnd.openxmlformats-officedocument.presentationml.tags+xml"/>
  <Override PartName="/ppt/charts/chart711.xml" ContentType="application/vnd.openxmlformats-officedocument.drawingml.chart+xml"/>
  <Override PartName="/ppt/tags/tag560.xml" ContentType="application/vnd.openxmlformats-officedocument.presentationml.tags+xml"/>
  <Override PartName="/ppt/charts/chart712.xml" ContentType="application/vnd.openxmlformats-officedocument.drawingml.chart+xml"/>
  <Override PartName="/ppt/tags/tag561.xml" ContentType="application/vnd.openxmlformats-officedocument.presentationml.tags+xml"/>
  <Override PartName="/ppt/charts/chart713.xml" ContentType="application/vnd.openxmlformats-officedocument.drawingml.chart+xml"/>
  <Override PartName="/ppt/tags/tag562.xml" ContentType="application/vnd.openxmlformats-officedocument.presentationml.tags+xml"/>
  <Override PartName="/ppt/charts/chart714.xml" ContentType="application/vnd.openxmlformats-officedocument.drawingml.chart+xml"/>
  <Override PartName="/ppt/tags/tag563.xml" ContentType="application/vnd.openxmlformats-officedocument.presentationml.tags+xml"/>
  <Override PartName="/ppt/charts/chart715.xml" ContentType="application/vnd.openxmlformats-officedocument.drawingml.chart+xml"/>
  <Override PartName="/ppt/tags/tag564.xml" ContentType="application/vnd.openxmlformats-officedocument.presentationml.tags+xml"/>
  <Override PartName="/ppt/charts/chart716.xml" ContentType="application/vnd.openxmlformats-officedocument.drawingml.chart+xml"/>
  <Override PartName="/ppt/tags/tag565.xml" ContentType="application/vnd.openxmlformats-officedocument.presentationml.tags+xml"/>
  <Override PartName="/ppt/charts/chart717.xml" ContentType="application/vnd.openxmlformats-officedocument.drawingml.chart+xml"/>
  <Override PartName="/ppt/tags/tag566.xml" ContentType="application/vnd.openxmlformats-officedocument.presentationml.tags+xml"/>
  <Override PartName="/ppt/charts/chart718.xml" ContentType="application/vnd.openxmlformats-officedocument.drawingml.chart+xml"/>
  <Override PartName="/ppt/tags/tag567.xml" ContentType="application/vnd.openxmlformats-officedocument.presentationml.tags+xml"/>
  <Override PartName="/ppt/charts/chart719.xml" ContentType="application/vnd.openxmlformats-officedocument.drawingml.chart+xml"/>
  <Override PartName="/ppt/tags/tag568.xml" ContentType="application/vnd.openxmlformats-officedocument.presentationml.tags+xml"/>
  <Override PartName="/ppt/charts/chart720.xml" ContentType="application/vnd.openxmlformats-officedocument.drawingml.chart+xml"/>
  <Override PartName="/ppt/tags/tag569.xml" ContentType="application/vnd.openxmlformats-officedocument.presentationml.tags+xml"/>
  <Override PartName="/ppt/charts/chart721.xml" ContentType="application/vnd.openxmlformats-officedocument.drawingml.chart+xml"/>
  <Override PartName="/ppt/tags/tag570.xml" ContentType="application/vnd.openxmlformats-officedocument.presentationml.tags+xml"/>
  <Override PartName="/ppt/charts/chart722.xml" ContentType="application/vnd.openxmlformats-officedocument.drawingml.chart+xml"/>
  <Override PartName="/ppt/tags/tag571.xml" ContentType="application/vnd.openxmlformats-officedocument.presentationml.tags+xml"/>
  <Override PartName="/ppt/charts/chart723.xml" ContentType="application/vnd.openxmlformats-officedocument.drawingml.chart+xml"/>
  <Override PartName="/ppt/tags/tag572.xml" ContentType="application/vnd.openxmlformats-officedocument.presentationml.tags+xml"/>
  <Override PartName="/ppt/charts/chart724.xml" ContentType="application/vnd.openxmlformats-officedocument.drawingml.chart+xml"/>
  <Override PartName="/ppt/tags/tag573.xml" ContentType="application/vnd.openxmlformats-officedocument.presentationml.tags+xml"/>
  <Override PartName="/ppt/charts/chart725.xml" ContentType="application/vnd.openxmlformats-officedocument.drawingml.chart+xml"/>
  <Override PartName="/ppt/tags/tag574.xml" ContentType="application/vnd.openxmlformats-officedocument.presentationml.tags+xml"/>
  <Override PartName="/ppt/charts/chart726.xml" ContentType="application/vnd.openxmlformats-officedocument.drawingml.chart+xml"/>
  <Override PartName="/ppt/tags/tag575.xml" ContentType="application/vnd.openxmlformats-officedocument.presentationml.tags+xml"/>
  <Override PartName="/ppt/charts/chart727.xml" ContentType="application/vnd.openxmlformats-officedocument.drawingml.chart+xml"/>
  <Override PartName="/ppt/tags/tag576.xml" ContentType="application/vnd.openxmlformats-officedocument.presentationml.tags+xml"/>
  <Override PartName="/ppt/charts/chart728.xml" ContentType="application/vnd.openxmlformats-officedocument.drawingml.chart+xml"/>
  <Override PartName="/ppt/tags/tag577.xml" ContentType="application/vnd.openxmlformats-officedocument.presentationml.tags+xml"/>
  <Override PartName="/ppt/charts/chart729.xml" ContentType="application/vnd.openxmlformats-officedocument.drawingml.chart+xml"/>
  <Override PartName="/ppt/tags/tag578.xml" ContentType="application/vnd.openxmlformats-officedocument.presentationml.tags+xml"/>
  <Override PartName="/ppt/charts/chart730.xml" ContentType="application/vnd.openxmlformats-officedocument.drawingml.chart+xml"/>
  <Override PartName="/ppt/tags/tag579.xml" ContentType="application/vnd.openxmlformats-officedocument.presentationml.tags+xml"/>
  <Override PartName="/ppt/charts/chart731.xml" ContentType="application/vnd.openxmlformats-officedocument.drawingml.chart+xml"/>
  <Override PartName="/ppt/tags/tag580.xml" ContentType="application/vnd.openxmlformats-officedocument.presentationml.tags+xml"/>
  <Override PartName="/ppt/charts/chart732.xml" ContentType="application/vnd.openxmlformats-officedocument.drawingml.chart+xml"/>
  <Override PartName="/ppt/tags/tag581.xml" ContentType="application/vnd.openxmlformats-officedocument.presentationml.tags+xml"/>
  <Override PartName="/ppt/charts/chart733.xml" ContentType="application/vnd.openxmlformats-officedocument.drawingml.chart+xml"/>
  <Override PartName="/ppt/tags/tag582.xml" ContentType="application/vnd.openxmlformats-officedocument.presentationml.tags+xml"/>
  <Override PartName="/ppt/charts/chart734.xml" ContentType="application/vnd.openxmlformats-officedocument.drawingml.chart+xml"/>
  <Override PartName="/ppt/tags/tag583.xml" ContentType="application/vnd.openxmlformats-officedocument.presentationml.tags+xml"/>
  <Override PartName="/ppt/charts/chart735.xml" ContentType="application/vnd.openxmlformats-officedocument.drawingml.chart+xml"/>
  <Override PartName="/ppt/tags/tag584.xml" ContentType="application/vnd.openxmlformats-officedocument.presentationml.tags+xml"/>
  <Override PartName="/ppt/charts/chart736.xml" ContentType="application/vnd.openxmlformats-officedocument.drawingml.chart+xml"/>
  <Override PartName="/ppt/tags/tag585.xml" ContentType="application/vnd.openxmlformats-officedocument.presentationml.tags+xml"/>
  <Override PartName="/ppt/charts/chart737.xml" ContentType="application/vnd.openxmlformats-officedocument.drawingml.chart+xml"/>
  <Override PartName="/ppt/tags/tag586.xml" ContentType="application/vnd.openxmlformats-officedocument.presentationml.tags+xml"/>
  <Override PartName="/ppt/charts/chart738.xml" ContentType="application/vnd.openxmlformats-officedocument.drawingml.chart+xml"/>
  <Override PartName="/ppt/tags/tag587.xml" ContentType="application/vnd.openxmlformats-officedocument.presentationml.tags+xml"/>
  <Override PartName="/ppt/charts/chart739.xml" ContentType="application/vnd.openxmlformats-officedocument.drawingml.chart+xml"/>
  <Override PartName="/ppt/tags/tag588.xml" ContentType="application/vnd.openxmlformats-officedocument.presentationml.tags+xml"/>
  <Override PartName="/ppt/charts/chart740.xml" ContentType="application/vnd.openxmlformats-officedocument.drawingml.chart+xml"/>
  <Override PartName="/ppt/tags/tag589.xml" ContentType="application/vnd.openxmlformats-officedocument.presentationml.tags+xml"/>
  <Override PartName="/ppt/charts/chart741.xml" ContentType="application/vnd.openxmlformats-officedocument.drawingml.chart+xml"/>
  <Override PartName="/ppt/tags/tag590.xml" ContentType="application/vnd.openxmlformats-officedocument.presentationml.tags+xml"/>
  <Override PartName="/ppt/charts/chart742.xml" ContentType="application/vnd.openxmlformats-officedocument.drawingml.chart+xml"/>
  <Override PartName="/ppt/tags/tag591.xml" ContentType="application/vnd.openxmlformats-officedocument.presentationml.tags+xml"/>
  <Override PartName="/ppt/charts/chart743.xml" ContentType="application/vnd.openxmlformats-officedocument.drawingml.chart+xml"/>
  <Override PartName="/ppt/tags/tag592.xml" ContentType="application/vnd.openxmlformats-officedocument.presentationml.tags+xml"/>
  <Override PartName="/ppt/charts/chart744.xml" ContentType="application/vnd.openxmlformats-officedocument.drawingml.chart+xml"/>
  <Override PartName="/ppt/tags/tag593.xml" ContentType="application/vnd.openxmlformats-officedocument.presentationml.tags+xml"/>
  <Override PartName="/ppt/charts/chart745.xml" ContentType="application/vnd.openxmlformats-officedocument.drawingml.chart+xml"/>
  <Override PartName="/ppt/tags/tag594.xml" ContentType="application/vnd.openxmlformats-officedocument.presentationml.tags+xml"/>
  <Override PartName="/ppt/charts/chart746.xml" ContentType="application/vnd.openxmlformats-officedocument.drawingml.chart+xml"/>
  <Override PartName="/ppt/tags/tag595.xml" ContentType="application/vnd.openxmlformats-officedocument.presentationml.tags+xml"/>
  <Override PartName="/ppt/charts/chart747.xml" ContentType="application/vnd.openxmlformats-officedocument.drawingml.chart+xml"/>
  <Override PartName="/ppt/tags/tag596.xml" ContentType="application/vnd.openxmlformats-officedocument.presentationml.tags+xml"/>
  <Override PartName="/ppt/charts/chart748.xml" ContentType="application/vnd.openxmlformats-officedocument.drawingml.chart+xml"/>
  <Override PartName="/ppt/tags/tag597.xml" ContentType="application/vnd.openxmlformats-officedocument.presentationml.tags+xml"/>
  <Override PartName="/ppt/charts/chart749.xml" ContentType="application/vnd.openxmlformats-officedocument.drawingml.chart+xml"/>
  <Override PartName="/ppt/tags/tag598.xml" ContentType="application/vnd.openxmlformats-officedocument.presentationml.tags+xml"/>
  <Override PartName="/ppt/charts/chart750.xml" ContentType="application/vnd.openxmlformats-officedocument.drawingml.chart+xml"/>
  <Override PartName="/ppt/tags/tag599.xml" ContentType="application/vnd.openxmlformats-officedocument.presentationml.tags+xml"/>
  <Override PartName="/ppt/charts/chart751.xml" ContentType="application/vnd.openxmlformats-officedocument.drawingml.chart+xml"/>
  <Override PartName="/ppt/tags/tag600.xml" ContentType="application/vnd.openxmlformats-officedocument.presentationml.tags+xml"/>
  <Override PartName="/ppt/charts/chart752.xml" ContentType="application/vnd.openxmlformats-officedocument.drawingml.chart+xml"/>
  <Override PartName="/ppt/tags/tag601.xml" ContentType="application/vnd.openxmlformats-officedocument.presentationml.tags+xml"/>
  <Override PartName="/ppt/charts/chart753.xml" ContentType="application/vnd.openxmlformats-officedocument.drawingml.chart+xml"/>
  <Override PartName="/ppt/tags/tag602.xml" ContentType="application/vnd.openxmlformats-officedocument.presentationml.tags+xml"/>
  <Override PartName="/ppt/charts/chart754.xml" ContentType="application/vnd.openxmlformats-officedocument.drawingml.chart+xml"/>
  <Override PartName="/ppt/tags/tag603.xml" ContentType="application/vnd.openxmlformats-officedocument.presentationml.tags+xml"/>
  <Override PartName="/ppt/charts/chart755.xml" ContentType="application/vnd.openxmlformats-officedocument.drawingml.chart+xml"/>
  <Override PartName="/ppt/tags/tag604.xml" ContentType="application/vnd.openxmlformats-officedocument.presentationml.tags+xml"/>
  <Override PartName="/ppt/charts/chart756.xml" ContentType="application/vnd.openxmlformats-officedocument.drawingml.chart+xml"/>
  <Override PartName="/ppt/tags/tag605.xml" ContentType="application/vnd.openxmlformats-officedocument.presentationml.tags+xml"/>
  <Override PartName="/ppt/charts/chart757.xml" ContentType="application/vnd.openxmlformats-officedocument.drawingml.chart+xml"/>
  <Override PartName="/ppt/tags/tag606.xml" ContentType="application/vnd.openxmlformats-officedocument.presentationml.tags+xml"/>
  <Override PartName="/ppt/charts/chart758.xml" ContentType="application/vnd.openxmlformats-officedocument.drawingml.chart+xml"/>
  <Override PartName="/ppt/tags/tag607.xml" ContentType="application/vnd.openxmlformats-officedocument.presentationml.tags+xml"/>
  <Override PartName="/ppt/charts/chart759.xml" ContentType="application/vnd.openxmlformats-officedocument.drawingml.chart+xml"/>
  <Override PartName="/ppt/tags/tag608.xml" ContentType="application/vnd.openxmlformats-officedocument.presentationml.tags+xml"/>
  <Override PartName="/ppt/charts/chart760.xml" ContentType="application/vnd.openxmlformats-officedocument.drawingml.chart+xml"/>
  <Override PartName="/ppt/tags/tag609.xml" ContentType="application/vnd.openxmlformats-officedocument.presentationml.tags+xml"/>
  <Override PartName="/ppt/charts/chart761.xml" ContentType="application/vnd.openxmlformats-officedocument.drawingml.chart+xml"/>
  <Override PartName="/ppt/tags/tag610.xml" ContentType="application/vnd.openxmlformats-officedocument.presentationml.tags+xml"/>
  <Override PartName="/ppt/charts/chart762.xml" ContentType="application/vnd.openxmlformats-officedocument.drawingml.chart+xml"/>
  <Override PartName="/ppt/tags/tag611.xml" ContentType="application/vnd.openxmlformats-officedocument.presentationml.tags+xml"/>
  <Override PartName="/ppt/charts/chart763.xml" ContentType="application/vnd.openxmlformats-officedocument.drawingml.chart+xml"/>
  <Override PartName="/ppt/tags/tag612.xml" ContentType="application/vnd.openxmlformats-officedocument.presentationml.tags+xml"/>
  <Override PartName="/ppt/charts/chart764.xml" ContentType="application/vnd.openxmlformats-officedocument.drawingml.chart+xml"/>
  <Override PartName="/ppt/tags/tag613.xml" ContentType="application/vnd.openxmlformats-officedocument.presentationml.tags+xml"/>
  <Override PartName="/ppt/charts/chart765.xml" ContentType="application/vnd.openxmlformats-officedocument.drawingml.chart+xml"/>
  <Override PartName="/ppt/tags/tag614.xml" ContentType="application/vnd.openxmlformats-officedocument.presentationml.tags+xml"/>
  <Override PartName="/ppt/charts/chart766.xml" ContentType="application/vnd.openxmlformats-officedocument.drawingml.chart+xml"/>
  <Override PartName="/ppt/tags/tag615.xml" ContentType="application/vnd.openxmlformats-officedocument.presentationml.tags+xml"/>
  <Override PartName="/ppt/charts/chart767.xml" ContentType="application/vnd.openxmlformats-officedocument.drawingml.chart+xml"/>
  <Override PartName="/ppt/tags/tag616.xml" ContentType="application/vnd.openxmlformats-officedocument.presentationml.tags+xml"/>
  <Override PartName="/ppt/charts/chart768.xml" ContentType="application/vnd.openxmlformats-officedocument.drawingml.chart+xml"/>
  <Override PartName="/ppt/tags/tag617.xml" ContentType="application/vnd.openxmlformats-officedocument.presentationml.tags+xml"/>
  <Override PartName="/ppt/charts/chart769.xml" ContentType="application/vnd.openxmlformats-officedocument.drawingml.chart+xml"/>
  <Override PartName="/ppt/tags/tag618.xml" ContentType="application/vnd.openxmlformats-officedocument.presentationml.tags+xml"/>
  <Override PartName="/ppt/charts/chart770.xml" ContentType="application/vnd.openxmlformats-officedocument.drawingml.chart+xml"/>
  <Override PartName="/ppt/tags/tag619.xml" ContentType="application/vnd.openxmlformats-officedocument.presentationml.tags+xml"/>
  <Override PartName="/ppt/charts/chart771.xml" ContentType="application/vnd.openxmlformats-officedocument.drawingml.chart+xml"/>
  <Override PartName="/ppt/tags/tag620.xml" ContentType="application/vnd.openxmlformats-officedocument.presentationml.tags+xml"/>
  <Override PartName="/ppt/charts/chart772.xml" ContentType="application/vnd.openxmlformats-officedocument.drawingml.chart+xml"/>
  <Override PartName="/ppt/tags/tag621.xml" ContentType="application/vnd.openxmlformats-officedocument.presentationml.tags+xml"/>
  <Override PartName="/ppt/charts/chart773.xml" ContentType="application/vnd.openxmlformats-officedocument.drawingml.chart+xml"/>
  <Override PartName="/ppt/tags/tag622.xml" ContentType="application/vnd.openxmlformats-officedocument.presentationml.tags+xml"/>
  <Override PartName="/ppt/charts/chart774.xml" ContentType="application/vnd.openxmlformats-officedocument.drawingml.chart+xml"/>
  <Override PartName="/ppt/tags/tag623.xml" ContentType="application/vnd.openxmlformats-officedocument.presentationml.tags+xml"/>
  <Override PartName="/ppt/charts/chart775.xml" ContentType="application/vnd.openxmlformats-officedocument.drawingml.chart+xml"/>
  <Override PartName="/ppt/tags/tag624.xml" ContentType="application/vnd.openxmlformats-officedocument.presentationml.tags+xml"/>
  <Override PartName="/ppt/charts/chart776.xml" ContentType="application/vnd.openxmlformats-officedocument.drawingml.chart+xml"/>
  <Override PartName="/ppt/tags/tag625.xml" ContentType="application/vnd.openxmlformats-officedocument.presentationml.tags+xml"/>
  <Override PartName="/ppt/charts/chart777.xml" ContentType="application/vnd.openxmlformats-officedocument.drawingml.chart+xml"/>
  <Override PartName="/ppt/tags/tag626.xml" ContentType="application/vnd.openxmlformats-officedocument.presentationml.tags+xml"/>
  <Override PartName="/ppt/charts/chart778.xml" ContentType="application/vnd.openxmlformats-officedocument.drawingml.chart+xml"/>
  <Override PartName="/ppt/tags/tag627.xml" ContentType="application/vnd.openxmlformats-officedocument.presentationml.tags+xml"/>
  <Override PartName="/ppt/charts/chart779.xml" ContentType="application/vnd.openxmlformats-officedocument.drawingml.chart+xml"/>
  <Override PartName="/ppt/tags/tag628.xml" ContentType="application/vnd.openxmlformats-officedocument.presentationml.tags+xml"/>
  <Override PartName="/ppt/charts/chart780.xml" ContentType="application/vnd.openxmlformats-officedocument.drawingml.chart+xml"/>
  <Override PartName="/ppt/tags/tag629.xml" ContentType="application/vnd.openxmlformats-officedocument.presentationml.tags+xml"/>
  <Override PartName="/ppt/charts/chart781.xml" ContentType="application/vnd.openxmlformats-officedocument.drawingml.chart+xml"/>
  <Override PartName="/ppt/tags/tag630.xml" ContentType="application/vnd.openxmlformats-officedocument.presentationml.tags+xml"/>
  <Override PartName="/ppt/charts/chart782.xml" ContentType="application/vnd.openxmlformats-officedocument.drawingml.chart+xml"/>
  <Override PartName="/ppt/tags/tag631.xml" ContentType="application/vnd.openxmlformats-officedocument.presentationml.tags+xml"/>
  <Override PartName="/ppt/charts/chart783.xml" ContentType="application/vnd.openxmlformats-officedocument.drawingml.chart+xml"/>
  <Override PartName="/ppt/tags/tag632.xml" ContentType="application/vnd.openxmlformats-officedocument.presentationml.tags+xml"/>
  <Override PartName="/ppt/charts/chart784.xml" ContentType="application/vnd.openxmlformats-officedocument.drawingml.chart+xml"/>
  <Override PartName="/ppt/tags/tag633.xml" ContentType="application/vnd.openxmlformats-officedocument.presentationml.tags+xml"/>
  <Override PartName="/ppt/charts/chart785.xml" ContentType="application/vnd.openxmlformats-officedocument.drawingml.chart+xml"/>
  <Override PartName="/ppt/tags/tag634.xml" ContentType="application/vnd.openxmlformats-officedocument.presentationml.tags+xml"/>
  <Override PartName="/ppt/charts/chart786.xml" ContentType="application/vnd.openxmlformats-officedocument.drawingml.chart+xml"/>
  <Override PartName="/ppt/tags/tag635.xml" ContentType="application/vnd.openxmlformats-officedocument.presentationml.tags+xml"/>
  <Override PartName="/ppt/charts/chart787.xml" ContentType="application/vnd.openxmlformats-officedocument.drawingml.chart+xml"/>
  <Override PartName="/ppt/tags/tag636.xml" ContentType="application/vnd.openxmlformats-officedocument.presentationml.tags+xml"/>
  <Override PartName="/ppt/charts/chart788.xml" ContentType="application/vnd.openxmlformats-officedocument.drawingml.chart+xml"/>
  <Override PartName="/ppt/tags/tag637.xml" ContentType="application/vnd.openxmlformats-officedocument.presentationml.tags+xml"/>
  <Override PartName="/ppt/charts/chart789.xml" ContentType="application/vnd.openxmlformats-officedocument.drawingml.chart+xml"/>
  <Override PartName="/ppt/tags/tag638.xml" ContentType="application/vnd.openxmlformats-officedocument.presentationml.tags+xml"/>
  <Override PartName="/ppt/charts/chart790.xml" ContentType="application/vnd.openxmlformats-officedocument.drawingml.chart+xml"/>
  <Override PartName="/ppt/tags/tag639.xml" ContentType="application/vnd.openxmlformats-officedocument.presentationml.tags+xml"/>
  <Override PartName="/ppt/charts/chart791.xml" ContentType="application/vnd.openxmlformats-officedocument.drawingml.chart+xml"/>
  <Override PartName="/ppt/tags/tag640.xml" ContentType="application/vnd.openxmlformats-officedocument.presentationml.tags+xml"/>
  <Override PartName="/ppt/charts/chart792.xml" ContentType="application/vnd.openxmlformats-officedocument.drawingml.chart+xml"/>
  <Override PartName="/ppt/tags/tag641.xml" ContentType="application/vnd.openxmlformats-officedocument.presentationml.tags+xml"/>
  <Override PartName="/ppt/charts/chart793.xml" ContentType="application/vnd.openxmlformats-officedocument.drawingml.chart+xml"/>
  <Override PartName="/ppt/tags/tag642.xml" ContentType="application/vnd.openxmlformats-officedocument.presentationml.tags+xml"/>
  <Override PartName="/ppt/charts/chart794.xml" ContentType="application/vnd.openxmlformats-officedocument.drawingml.chart+xml"/>
  <Override PartName="/ppt/tags/tag643.xml" ContentType="application/vnd.openxmlformats-officedocument.presentationml.tags+xml"/>
  <Override PartName="/ppt/charts/chart795.xml" ContentType="application/vnd.openxmlformats-officedocument.drawingml.chart+xml"/>
  <Override PartName="/ppt/tags/tag644.xml" ContentType="application/vnd.openxmlformats-officedocument.presentationml.tags+xml"/>
  <Override PartName="/ppt/charts/chart796.xml" ContentType="application/vnd.openxmlformats-officedocument.drawingml.chart+xml"/>
  <Override PartName="/ppt/tags/tag645.xml" ContentType="application/vnd.openxmlformats-officedocument.presentationml.tags+xml"/>
  <Override PartName="/ppt/charts/chart797.xml" ContentType="application/vnd.openxmlformats-officedocument.drawingml.chart+xml"/>
  <Override PartName="/ppt/tags/tag646.xml" ContentType="application/vnd.openxmlformats-officedocument.presentationml.tags+xml"/>
  <Override PartName="/ppt/charts/chart798.xml" ContentType="application/vnd.openxmlformats-officedocument.drawingml.chart+xml"/>
  <Override PartName="/ppt/tags/tag647.xml" ContentType="application/vnd.openxmlformats-officedocument.presentationml.tags+xml"/>
  <Override PartName="/ppt/charts/chart799.xml" ContentType="application/vnd.openxmlformats-officedocument.drawingml.chart+xml"/>
  <Override PartName="/ppt/tags/tag648.xml" ContentType="application/vnd.openxmlformats-officedocument.presentationml.tags+xml"/>
  <Override PartName="/ppt/charts/chart800.xml" ContentType="application/vnd.openxmlformats-officedocument.drawingml.chart+xml"/>
  <Override PartName="/ppt/tags/tag649.xml" ContentType="application/vnd.openxmlformats-officedocument.presentationml.tags+xml"/>
  <Override PartName="/ppt/charts/chart801.xml" ContentType="application/vnd.openxmlformats-officedocument.drawingml.chart+xml"/>
  <Override PartName="/ppt/tags/tag650.xml" ContentType="application/vnd.openxmlformats-officedocument.presentationml.tags+xml"/>
  <Override PartName="/ppt/charts/chart802.xml" ContentType="application/vnd.openxmlformats-officedocument.drawingml.chart+xml"/>
  <Override PartName="/ppt/tags/tag651.xml" ContentType="application/vnd.openxmlformats-officedocument.presentationml.tags+xml"/>
  <Override PartName="/ppt/charts/chart803.xml" ContentType="application/vnd.openxmlformats-officedocument.drawingml.chart+xml"/>
  <Override PartName="/ppt/tags/tag652.xml" ContentType="application/vnd.openxmlformats-officedocument.presentationml.tags+xml"/>
  <Override PartName="/ppt/charts/chart804.xml" ContentType="application/vnd.openxmlformats-officedocument.drawingml.chart+xml"/>
  <Override PartName="/ppt/tags/tag653.xml" ContentType="application/vnd.openxmlformats-officedocument.presentationml.tags+xml"/>
  <Override PartName="/ppt/charts/chart805.xml" ContentType="application/vnd.openxmlformats-officedocument.drawingml.chart+xml"/>
  <Override PartName="/ppt/tags/tag654.xml" ContentType="application/vnd.openxmlformats-officedocument.presentationml.tags+xml"/>
  <Override PartName="/ppt/charts/chart806.xml" ContentType="application/vnd.openxmlformats-officedocument.drawingml.chart+xml"/>
  <Override PartName="/ppt/tags/tag655.xml" ContentType="application/vnd.openxmlformats-officedocument.presentationml.tags+xml"/>
  <Override PartName="/ppt/charts/chart807.xml" ContentType="application/vnd.openxmlformats-officedocument.drawingml.chart+xml"/>
  <Override PartName="/ppt/tags/tag656.xml" ContentType="application/vnd.openxmlformats-officedocument.presentationml.tags+xml"/>
  <Override PartName="/ppt/notesSlides/notesSlide1.xml" ContentType="application/vnd.openxmlformats-officedocument.presentationml.notesSlide+xml"/>
  <Override PartName="/ppt/tags/tag657.xml" ContentType="application/vnd.openxmlformats-officedocument.presentationml.tags+xml"/>
  <Override PartName="/ppt/notesSlides/notesSlide2.xml" ContentType="application/vnd.openxmlformats-officedocument.presentationml.notesSlide+xml"/>
  <Override PartName="/ppt/tags/tag658.xml" ContentType="application/vnd.openxmlformats-officedocument.presentationml.tags+xml"/>
  <Override PartName="/ppt/notesSlides/notesSlide3.xml" ContentType="application/vnd.openxmlformats-officedocument.presentationml.notesSlide+xml"/>
  <Override PartName="/ppt/tags/tag659.xml" ContentType="application/vnd.openxmlformats-officedocument.presentationml.tags+xml"/>
  <Override PartName="/ppt/notesSlides/notesSlide4.xml" ContentType="application/vnd.openxmlformats-officedocument.presentationml.notesSlide+xml"/>
  <Override PartName="/ppt/tags/tag660.xml" ContentType="application/vnd.openxmlformats-officedocument.presentationml.tags+xml"/>
  <Override PartName="/ppt/notesSlides/notesSlide5.xml" ContentType="application/vnd.openxmlformats-officedocument.presentationml.notesSlide+xml"/>
  <Override PartName="/ppt/tags/tag661.xml" ContentType="application/vnd.openxmlformats-officedocument.presentationml.tags+xml"/>
  <Override PartName="/ppt/notesSlides/notesSlide6.xml" ContentType="application/vnd.openxmlformats-officedocument.presentationml.notesSlide+xml"/>
  <Override PartName="/ppt/tags/tag662.xml" ContentType="application/vnd.openxmlformats-officedocument.presentationml.tags+xml"/>
  <Override PartName="/ppt/notesSlides/notesSlide7.xml" ContentType="application/vnd.openxmlformats-officedocument.presentationml.notesSlide+xml"/>
  <Override PartName="/ppt/tags/tag663.xml" ContentType="application/vnd.openxmlformats-officedocument.presentationml.tags+xml"/>
  <Override PartName="/ppt/notesSlides/notesSlide8.xml" ContentType="application/vnd.openxmlformats-officedocument.presentationml.notesSlide+xml"/>
  <Override PartName="/ppt/tags/tag664.xml" ContentType="application/vnd.openxmlformats-officedocument.presentationml.tags+xml"/>
  <Override PartName="/ppt/notesSlides/notesSlide9.xml" ContentType="application/vnd.openxmlformats-officedocument.presentationml.notesSlide+xml"/>
  <Override PartName="/ppt/tags/tag665.xml" ContentType="application/vnd.openxmlformats-officedocument.presentationml.tags+xml"/>
  <Override PartName="/ppt/notesSlides/notesSlide10.xml" ContentType="application/vnd.openxmlformats-officedocument.presentationml.notesSlide+xml"/>
  <Override PartName="/ppt/tags/tag666.xml" ContentType="application/vnd.openxmlformats-officedocument.presentationml.tags+xml"/>
  <Override PartName="/ppt/notesSlides/notesSlide11.xml" ContentType="application/vnd.openxmlformats-officedocument.presentationml.notesSlide+xml"/>
  <Override PartName="/ppt/tags/tag667.xml" ContentType="application/vnd.openxmlformats-officedocument.presentationml.tags+xml"/>
  <Override PartName="/ppt/notesSlides/notesSlide12.xml" ContentType="application/vnd.openxmlformats-officedocument.presentationml.notesSlide+xml"/>
  <Override PartName="/ppt/tags/tag668.xml" ContentType="application/vnd.openxmlformats-officedocument.presentationml.tags+xml"/>
  <Override PartName="/ppt/notesSlides/notesSlide13.xml" ContentType="application/vnd.openxmlformats-officedocument.presentationml.notesSlide+xml"/>
  <Override PartName="/ppt/tags/tag669.xml" ContentType="application/vnd.openxmlformats-officedocument.presentationml.tags+xml"/>
  <Override PartName="/ppt/notesSlides/notesSlide14.xml" ContentType="application/vnd.openxmlformats-officedocument.presentationml.notesSlide+xml"/>
  <Override PartName="/ppt/tags/tag670.xml" ContentType="application/vnd.openxmlformats-officedocument.presentationml.tags+xml"/>
  <Override PartName="/ppt/notesSlides/notesSlide15.xml" ContentType="application/vnd.openxmlformats-officedocument.presentationml.notesSlide+xml"/>
  <Override PartName="/ppt/tags/tag671.xml" ContentType="application/vnd.openxmlformats-officedocument.presentationml.tags+xml"/>
  <Override PartName="/ppt/notesSlides/notesSlide16.xml" ContentType="application/vnd.openxmlformats-officedocument.presentationml.notesSlide+xml"/>
  <Override PartName="/ppt/tags/tag672.xml" ContentType="application/vnd.openxmlformats-officedocument.presentationml.tags+xml"/>
  <Override PartName="/ppt/notesSlides/notesSlide17.xml" ContentType="application/vnd.openxmlformats-officedocument.presentationml.notesSlide+xml"/>
  <Override PartName="/ppt/tags/tag673.xml" ContentType="application/vnd.openxmlformats-officedocument.presentationml.tags+xml"/>
  <Override PartName="/ppt/notesSlides/notesSlide18.xml" ContentType="application/vnd.openxmlformats-officedocument.presentationml.notesSlide+xml"/>
  <Override PartName="/ppt/tags/tag674.xml" ContentType="application/vnd.openxmlformats-officedocument.presentationml.tags+xml"/>
  <Override PartName="/ppt/notesSlides/notesSlide19.xml" ContentType="application/vnd.openxmlformats-officedocument.presentationml.notesSlide+xml"/>
  <Override PartName="/ppt/tags/tag675.xml" ContentType="application/vnd.openxmlformats-officedocument.presentationml.tags+xml"/>
  <Override PartName="/ppt/notesSlides/notesSlide20.xml" ContentType="application/vnd.openxmlformats-officedocument.presentationml.notesSlide+xml"/>
  <Override PartName="/ppt/tags/tag676.xml" ContentType="application/vnd.openxmlformats-officedocument.presentationml.tags+xml"/>
  <Override PartName="/ppt/notesSlides/notesSlide21.xml" ContentType="application/vnd.openxmlformats-officedocument.presentationml.notesSlide+xml"/>
  <Override PartName="/ppt/tags/tag677.xml" ContentType="application/vnd.openxmlformats-officedocument.presentationml.tags+xml"/>
  <Override PartName="/ppt/notesSlides/notesSlide22.xml" ContentType="application/vnd.openxmlformats-officedocument.presentationml.notesSlide+xml"/>
  <Override PartName="/ppt/tags/tag678.xml" ContentType="application/vnd.openxmlformats-officedocument.presentationml.tags+xml"/>
  <Override PartName="/ppt/notesSlides/notesSlide23.xml" ContentType="application/vnd.openxmlformats-officedocument.presentationml.notesSlide+xml"/>
  <Override PartName="/ppt/tags/tag679.xml" ContentType="application/vnd.openxmlformats-officedocument.presentationml.tags+xml"/>
  <Override PartName="/ppt/notesSlides/notesSlide24.xml" ContentType="application/vnd.openxmlformats-officedocument.presentationml.notesSlide+xml"/>
  <Override PartName="/ppt/tags/tag680.xml" ContentType="application/vnd.openxmlformats-officedocument.presentationml.tags+xml"/>
  <Override PartName="/ppt/notesSlides/notesSlide25.xml" ContentType="application/vnd.openxmlformats-officedocument.presentationml.notesSlide+xml"/>
  <Override PartName="/ppt/tags/tag681.xml" ContentType="application/vnd.openxmlformats-officedocument.presentationml.tags+xml"/>
  <Override PartName="/ppt/notesSlides/notesSlide26.xml" ContentType="application/vnd.openxmlformats-officedocument.presentationml.notesSlide+xml"/>
  <Override PartName="/ppt/tags/tag682.xml" ContentType="application/vnd.openxmlformats-officedocument.presentationml.tags+xml"/>
  <Override PartName="/ppt/notesSlides/notesSlide27.xml" ContentType="application/vnd.openxmlformats-officedocument.presentationml.notesSlide+xml"/>
  <Override PartName="/ppt/tags/tag683.xml" ContentType="application/vnd.openxmlformats-officedocument.presentationml.tags+xml"/>
  <Override PartName="/ppt/notesSlides/notesSlide28.xml" ContentType="application/vnd.openxmlformats-officedocument.presentationml.notesSlide+xml"/>
  <Override PartName="/ppt/tags/tag684.xml" ContentType="application/vnd.openxmlformats-officedocument.presentationml.tags+xml"/>
  <Override PartName="/ppt/notesSlides/notesSlide29.xml" ContentType="application/vnd.openxmlformats-officedocument.presentationml.notesSlide+xml"/>
  <Override PartName="/ppt/tags/tag685.xml" ContentType="application/vnd.openxmlformats-officedocument.presentationml.tags+xml"/>
  <Override PartName="/ppt/notesSlides/notesSlide30.xml" ContentType="application/vnd.openxmlformats-officedocument.presentationml.notesSlide+xml"/>
  <Override PartName="/ppt/tags/tag686.xml" ContentType="application/vnd.openxmlformats-officedocument.presentationml.tags+xml"/>
  <Override PartName="/ppt/notesSlides/notesSlide31.xml" ContentType="application/vnd.openxmlformats-officedocument.presentationml.notesSlide+xml"/>
  <Override PartName="/ppt/tags/tag687.xml" ContentType="application/vnd.openxmlformats-officedocument.presentationml.tags+xml"/>
  <Override PartName="/ppt/notesSlides/notesSlide32.xml" ContentType="application/vnd.openxmlformats-officedocument.presentationml.notesSlide+xml"/>
  <Override PartName="/ppt/tags/tag688.xml" ContentType="application/vnd.openxmlformats-officedocument.presentationml.tags+xml"/>
  <Override PartName="/ppt/notesSlides/notesSlide33.xml" ContentType="application/vnd.openxmlformats-officedocument.presentationml.notesSlide+xml"/>
  <Override PartName="/ppt/tags/tag689.xml" ContentType="application/vnd.openxmlformats-officedocument.presentationml.tags+xml"/>
  <Override PartName="/ppt/notesSlides/notesSlide34.xml" ContentType="application/vnd.openxmlformats-officedocument.presentationml.notesSlide+xml"/>
  <Override PartName="/ppt/tags/tag690.xml" ContentType="application/vnd.openxmlformats-officedocument.presentationml.tags+xml"/>
  <Override PartName="/ppt/notesSlides/notesSlide35.xml" ContentType="application/vnd.openxmlformats-officedocument.presentationml.notesSlide+xml"/>
  <Override PartName="/ppt/tags/tag691.xml" ContentType="application/vnd.openxmlformats-officedocument.presentationml.tags+xml"/>
  <Override PartName="/ppt/notesSlides/notesSlide36.xml" ContentType="application/vnd.openxmlformats-officedocument.presentationml.notesSlide+xml"/>
  <Override PartName="/ppt/tags/tag692.xml" ContentType="application/vnd.openxmlformats-officedocument.presentationml.tags+xml"/>
  <Override PartName="/ppt/notesSlides/notesSlide37.xml" ContentType="application/vnd.openxmlformats-officedocument.presentationml.notesSlide+xml"/>
  <Override PartName="/ppt/tags/tag693.xml" ContentType="application/vnd.openxmlformats-officedocument.presentationml.tags+xml"/>
  <Override PartName="/ppt/notesSlides/notesSlide38.xml" ContentType="application/vnd.openxmlformats-officedocument.presentationml.notesSlide+xml"/>
  <Override PartName="/ppt/tags/tag694.xml" ContentType="application/vnd.openxmlformats-officedocument.presentationml.tags+xml"/>
  <Override PartName="/ppt/notesSlides/notesSlide39.xml" ContentType="application/vnd.openxmlformats-officedocument.presentationml.notesSlide+xml"/>
  <Override PartName="/ppt/tags/tag695.xml" ContentType="application/vnd.openxmlformats-officedocument.presentationml.tags+xml"/>
  <Override PartName="/ppt/notesSlides/notesSlide40.xml" ContentType="application/vnd.openxmlformats-officedocument.presentationml.notesSlide+xml"/>
  <Override PartName="/ppt/tags/tag696.xml" ContentType="application/vnd.openxmlformats-officedocument.presentationml.tags+xml"/>
  <Override PartName="/ppt/notesSlides/notesSlide41.xml" ContentType="application/vnd.openxmlformats-officedocument.presentationml.notesSlide+xml"/>
  <Override PartName="/ppt/tags/tag697.xml" ContentType="application/vnd.openxmlformats-officedocument.presentationml.tags+xml"/>
  <Override PartName="/ppt/notesSlides/notesSlide42.xml" ContentType="application/vnd.openxmlformats-officedocument.presentationml.notesSlide+xml"/>
  <Override PartName="/ppt/tags/tag698.xml" ContentType="application/vnd.openxmlformats-officedocument.presentationml.tags+xml"/>
  <Override PartName="/ppt/notesSlides/notesSlide43.xml" ContentType="application/vnd.openxmlformats-officedocument.presentationml.notesSlide+xml"/>
  <Override PartName="/ppt/tags/tag699.xml" ContentType="application/vnd.openxmlformats-officedocument.presentationml.tags+xml"/>
  <Override PartName="/ppt/notesSlides/notesSlide44.xml" ContentType="application/vnd.openxmlformats-officedocument.presentationml.notesSlide+xml"/>
  <Override PartName="/ppt/tags/tag700.xml" ContentType="application/vnd.openxmlformats-officedocument.presentationml.tags+xml"/>
  <Override PartName="/ppt/notesSlides/notesSlide45.xml" ContentType="application/vnd.openxmlformats-officedocument.presentationml.notesSlide+xml"/>
  <Override PartName="/ppt/tags/tag701.xml" ContentType="application/vnd.openxmlformats-officedocument.presentationml.tags+xml"/>
  <Override PartName="/ppt/notesSlides/notesSlide46.xml" ContentType="application/vnd.openxmlformats-officedocument.presentationml.notesSlide+xml"/>
  <Override PartName="/ppt/tags/tag702.xml" ContentType="application/vnd.openxmlformats-officedocument.presentationml.tags+xml"/>
  <Override PartName="/ppt/notesSlides/notesSlide47.xml" ContentType="application/vnd.openxmlformats-officedocument.presentationml.notesSlide+xml"/>
  <Override PartName="/ppt/tags/tag703.xml" ContentType="application/vnd.openxmlformats-officedocument.presentationml.tags+xml"/>
  <Override PartName="/ppt/notesSlides/notesSlide48.xml" ContentType="application/vnd.openxmlformats-officedocument.presentationml.notesSlide+xml"/>
  <Override PartName="/ppt/tags/tag704.xml" ContentType="application/vnd.openxmlformats-officedocument.presentationml.tags+xml"/>
  <Override PartName="/ppt/notesSlides/notesSlide49.xml" ContentType="application/vnd.openxmlformats-officedocument.presentationml.notesSlide+xml"/>
  <Override PartName="/ppt/tags/tag705.xml" ContentType="application/vnd.openxmlformats-officedocument.presentationml.tags+xml"/>
  <Override PartName="/ppt/notesSlides/notesSlide50.xml" ContentType="application/vnd.openxmlformats-officedocument.presentationml.notesSlide+xml"/>
  <Override PartName="/ppt/tags/tag706.xml" ContentType="application/vnd.openxmlformats-officedocument.presentationml.tags+xml"/>
  <Override PartName="/ppt/notesSlides/notesSlide51.xml" ContentType="application/vnd.openxmlformats-officedocument.presentationml.notesSlide+xml"/>
  <Override PartName="/ppt/tags/tag707.xml" ContentType="application/vnd.openxmlformats-officedocument.presentationml.tags+xml"/>
  <Override PartName="/ppt/notesSlides/notesSlide52.xml" ContentType="application/vnd.openxmlformats-officedocument.presentationml.notesSlide+xml"/>
  <Override PartName="/ppt/tags/tag708.xml" ContentType="application/vnd.openxmlformats-officedocument.presentationml.tags+xml"/>
  <Override PartName="/ppt/notesSlides/notesSlide53.xml" ContentType="application/vnd.openxmlformats-officedocument.presentationml.notesSlide+xml"/>
  <Override PartName="/ppt/tags/tag709.xml" ContentType="application/vnd.openxmlformats-officedocument.presentationml.tags+xml"/>
  <Override PartName="/ppt/notesSlides/notesSlide54.xml" ContentType="application/vnd.openxmlformats-officedocument.presentationml.notesSlide+xml"/>
  <Override PartName="/ppt/tags/tag710.xml" ContentType="application/vnd.openxmlformats-officedocument.presentationml.tags+xml"/>
  <Override PartName="/ppt/notesSlides/notesSlide55.xml" ContentType="application/vnd.openxmlformats-officedocument.presentationml.notesSlide+xml"/>
  <Override PartName="/ppt/tags/tag711.xml" ContentType="application/vnd.openxmlformats-officedocument.presentationml.tags+xml"/>
  <Override PartName="/ppt/notesSlides/notesSlide56.xml" ContentType="application/vnd.openxmlformats-officedocument.presentationml.notesSlide+xml"/>
  <Override PartName="/ppt/tags/tag712.xml" ContentType="application/vnd.openxmlformats-officedocument.presentationml.tags+xml"/>
  <Override PartName="/ppt/notesSlides/notesSlide57.xml" ContentType="application/vnd.openxmlformats-officedocument.presentationml.notesSlide+xml"/>
  <Override PartName="/ppt/tags/tag713.xml" ContentType="application/vnd.openxmlformats-officedocument.presentationml.tags+xml"/>
  <Override PartName="/ppt/notesSlides/notesSlide58.xml" ContentType="application/vnd.openxmlformats-officedocument.presentationml.notesSlide+xml"/>
  <Override PartName="/ppt/tags/tag714.xml" ContentType="application/vnd.openxmlformats-officedocument.presentationml.tags+xml"/>
  <Override PartName="/ppt/notesSlides/notesSlide59.xml" ContentType="application/vnd.openxmlformats-officedocument.presentationml.notesSlide+xml"/>
  <Override PartName="/ppt/tags/tag715.xml" ContentType="application/vnd.openxmlformats-officedocument.presentationml.tags+xml"/>
  <Override PartName="/ppt/notesSlides/notesSlide60.xml" ContentType="application/vnd.openxmlformats-officedocument.presentationml.notesSlide+xml"/>
  <Override PartName="/ppt/tags/tag716.xml" ContentType="application/vnd.openxmlformats-officedocument.presentationml.tags+xml"/>
  <Override PartName="/ppt/notesSlides/notesSlide61.xml" ContentType="application/vnd.openxmlformats-officedocument.presentationml.notesSlide+xml"/>
  <Override PartName="/ppt/tags/tag717.xml" ContentType="application/vnd.openxmlformats-officedocument.presentationml.tags+xml"/>
  <Override PartName="/ppt/notesSlides/notesSlide62.xml" ContentType="application/vnd.openxmlformats-officedocument.presentationml.notesSlide+xml"/>
  <Override PartName="/ppt/tags/tag718.xml" ContentType="application/vnd.openxmlformats-officedocument.presentationml.tags+xml"/>
  <Override PartName="/ppt/notesSlides/notesSlide63.xml" ContentType="application/vnd.openxmlformats-officedocument.presentationml.notesSlide+xml"/>
  <Override PartName="/ppt/tags/tag719.xml" ContentType="application/vnd.openxmlformats-officedocument.presentationml.tags+xml"/>
  <Override PartName="/ppt/notesSlides/notesSlide64.xml" ContentType="application/vnd.openxmlformats-officedocument.presentationml.notesSlide+xml"/>
  <Override PartName="/ppt/tags/tag720.xml" ContentType="application/vnd.openxmlformats-officedocument.presentationml.tags+xml"/>
  <Override PartName="/ppt/notesSlides/notesSlide65.xml" ContentType="application/vnd.openxmlformats-officedocument.presentationml.notesSlide+xml"/>
  <Override PartName="/ppt/tags/tag721.xml" ContentType="application/vnd.openxmlformats-officedocument.presentationml.tags+xml"/>
  <Override PartName="/ppt/notesSlides/notesSlide66.xml" ContentType="application/vnd.openxmlformats-officedocument.presentationml.notesSlide+xml"/>
  <Override PartName="/ppt/tags/tag722.xml" ContentType="application/vnd.openxmlformats-officedocument.presentationml.tags+xml"/>
  <Override PartName="/ppt/notesSlides/notesSlide67.xml" ContentType="application/vnd.openxmlformats-officedocument.presentationml.notesSlide+xml"/>
  <Override PartName="/ppt/charts/chart808.xml" ContentType="application/vnd.openxmlformats-officedocument.drawingml.chart+xml"/>
  <Override PartName="/ppt/charts/style1.xml" ContentType="application/vnd.ms-office.chartstyle+xml"/>
  <Override PartName="/ppt/charts/colors1.xml" ContentType="application/vnd.ms-office.chartcolorstyle+xml"/>
  <Override PartName="/ppt/tags/tag723.xml" ContentType="application/vnd.openxmlformats-officedocument.presentationml.tags+xml"/>
  <Override PartName="/ppt/notesSlides/notesSlide68.xml" ContentType="application/vnd.openxmlformats-officedocument.presentationml.notesSlide+xml"/>
  <Override PartName="/ppt/charts/chart809.xml" ContentType="application/vnd.openxmlformats-officedocument.drawingml.chart+xml"/>
  <Override PartName="/ppt/charts/style2.xml" ContentType="application/vnd.ms-office.chartstyle+xml"/>
  <Override PartName="/ppt/charts/colors2.xml" ContentType="application/vnd.ms-office.chartcolorstyle+xml"/>
  <Override PartName="/ppt/tags/tag724.xml" ContentType="application/vnd.openxmlformats-officedocument.presentationml.tags+xml"/>
  <Override PartName="/ppt/notesSlides/notesSlide69.xml" ContentType="application/vnd.openxmlformats-officedocument.presentationml.notesSlide+xml"/>
  <Override PartName="/ppt/charts/chart810.xml" ContentType="application/vnd.openxmlformats-officedocument.drawingml.chart+xml"/>
  <Override PartName="/ppt/charts/style3.xml" ContentType="application/vnd.ms-office.chartstyle+xml"/>
  <Override PartName="/ppt/charts/colors3.xml" ContentType="application/vnd.ms-office.chartcolorstyle+xml"/>
  <Override PartName="/ppt/tags/tag725.xml" ContentType="application/vnd.openxmlformats-officedocument.presentationml.tags+xml"/>
  <Override PartName="/ppt/notesSlides/notesSlide70.xml" ContentType="application/vnd.openxmlformats-officedocument.presentationml.notesSlide+xml"/>
  <Override PartName="/ppt/charts/chart811.xml" ContentType="application/vnd.openxmlformats-officedocument.drawingml.chart+xml"/>
  <Override PartName="/ppt/charts/style4.xml" ContentType="application/vnd.ms-office.chartstyle+xml"/>
  <Override PartName="/ppt/charts/colors4.xml" ContentType="application/vnd.ms-office.chartcolorstyle+xml"/>
  <Override PartName="/ppt/tags/tag726.xml" ContentType="application/vnd.openxmlformats-officedocument.presentationml.tags+xml"/>
  <Override PartName="/ppt/notesSlides/notesSlide71.xml" ContentType="application/vnd.openxmlformats-officedocument.presentationml.notesSlide+xml"/>
  <Override PartName="/ppt/charts/chart812.xml" ContentType="application/vnd.openxmlformats-officedocument.drawingml.chart+xml"/>
  <Override PartName="/ppt/charts/style5.xml" ContentType="application/vnd.ms-office.chartstyle+xml"/>
  <Override PartName="/ppt/charts/colors5.xml" ContentType="application/vnd.ms-office.chartcolorstyle+xml"/>
  <Override PartName="/ppt/tags/tag727.xml" ContentType="application/vnd.openxmlformats-officedocument.presentationml.tags+xml"/>
  <Override PartName="/ppt/notesSlides/notesSlide72.xml" ContentType="application/vnd.openxmlformats-officedocument.presentationml.notesSlide+xml"/>
  <Override PartName="/ppt/charts/chart813.xml" ContentType="application/vnd.openxmlformats-officedocument.drawingml.chart+xml"/>
  <Override PartName="/ppt/charts/style6.xml" ContentType="application/vnd.ms-office.chartstyle+xml"/>
  <Override PartName="/ppt/charts/colors6.xml" ContentType="application/vnd.ms-office.chartcolorstyle+xml"/>
  <Override PartName="/ppt/tags/tag728.xml" ContentType="application/vnd.openxmlformats-officedocument.presentationml.tags+xml"/>
  <Override PartName="/ppt/notesSlides/notesSlide73.xml" ContentType="application/vnd.openxmlformats-officedocument.presentationml.notesSlide+xml"/>
  <Override PartName="/ppt/charts/chart814.xml" ContentType="application/vnd.openxmlformats-officedocument.drawingml.chart+xml"/>
  <Override PartName="/ppt/charts/style7.xml" ContentType="application/vnd.ms-office.chartstyle+xml"/>
  <Override PartName="/ppt/charts/colors7.xml" ContentType="application/vnd.ms-office.chartcolorstyle+xml"/>
  <Override PartName="/ppt/tags/tag729.xml" ContentType="application/vnd.openxmlformats-officedocument.presentationml.tags+xml"/>
  <Override PartName="/ppt/notesSlides/notesSlide74.xml" ContentType="application/vnd.openxmlformats-officedocument.presentationml.notesSlide+xml"/>
  <Override PartName="/ppt/charts/chart815.xml" ContentType="application/vnd.openxmlformats-officedocument.drawingml.chart+xml"/>
  <Override PartName="/ppt/charts/style8.xml" ContentType="application/vnd.ms-office.chartstyle+xml"/>
  <Override PartName="/ppt/charts/colors8.xml" ContentType="application/vnd.ms-office.chartcolorstyle+xml"/>
  <Override PartName="/ppt/tags/tag730.xml" ContentType="application/vnd.openxmlformats-officedocument.presentationml.tags+xml"/>
  <Override PartName="/ppt/notesSlides/notesSlide75.xml" ContentType="application/vnd.openxmlformats-officedocument.presentationml.notesSlide+xml"/>
  <Override PartName="/ppt/charts/chart816.xml" ContentType="application/vnd.openxmlformats-officedocument.drawingml.chart+xml"/>
  <Override PartName="/ppt/charts/style9.xml" ContentType="application/vnd.ms-office.chartstyle+xml"/>
  <Override PartName="/ppt/charts/colors9.xml" ContentType="application/vnd.ms-office.chartcolorstyle+xml"/>
  <Override PartName="/ppt/tags/tag731.xml" ContentType="application/vnd.openxmlformats-officedocument.presentationml.tags+xml"/>
  <Override PartName="/ppt/notesSlides/notesSlide76.xml" ContentType="application/vnd.openxmlformats-officedocument.presentationml.notesSlide+xml"/>
  <Override PartName="/ppt/charts/chart817.xml" ContentType="application/vnd.openxmlformats-officedocument.drawingml.chart+xml"/>
  <Override PartName="/ppt/charts/style10.xml" ContentType="application/vnd.ms-office.chartstyle+xml"/>
  <Override PartName="/ppt/charts/colors10.xml" ContentType="application/vnd.ms-office.chartcolorstyle+xml"/>
  <Override PartName="/ppt/tags/tag732.xml" ContentType="application/vnd.openxmlformats-officedocument.presentationml.tags+xml"/>
  <Override PartName="/ppt/notesSlides/notesSlide77.xml" ContentType="application/vnd.openxmlformats-officedocument.presentationml.notesSlide+xml"/>
  <Override PartName="/ppt/charts/chart818.xml" ContentType="application/vnd.openxmlformats-officedocument.drawingml.chart+xml"/>
  <Override PartName="/ppt/charts/style11.xml" ContentType="application/vnd.ms-office.chartstyle+xml"/>
  <Override PartName="/ppt/charts/colors11.xml" ContentType="application/vnd.ms-office.chartcolorstyle+xml"/>
  <Override PartName="/ppt/tags/tag733.xml" ContentType="application/vnd.openxmlformats-officedocument.presentationml.tags+xml"/>
  <Override PartName="/ppt/notesSlides/notesSlide78.xml" ContentType="application/vnd.openxmlformats-officedocument.presentationml.notesSlide+xml"/>
  <Override PartName="/ppt/charts/chart819.xml" ContentType="application/vnd.openxmlformats-officedocument.drawingml.chart+xml"/>
  <Override PartName="/ppt/charts/style12.xml" ContentType="application/vnd.ms-office.chartstyle+xml"/>
  <Override PartName="/ppt/charts/colors12.xml" ContentType="application/vnd.ms-office.chartcolorstyle+xml"/>
  <Override PartName="/ppt/tags/tag734.xml" ContentType="application/vnd.openxmlformats-officedocument.presentationml.tags+xml"/>
  <Override PartName="/ppt/notesSlides/notesSlide79.xml" ContentType="application/vnd.openxmlformats-officedocument.presentationml.notesSlide+xml"/>
  <Override PartName="/ppt/charts/chart820.xml" ContentType="application/vnd.openxmlformats-officedocument.drawingml.chart+xml"/>
  <Override PartName="/ppt/charts/style13.xml" ContentType="application/vnd.ms-office.chartstyle+xml"/>
  <Override PartName="/ppt/charts/colors13.xml" ContentType="application/vnd.ms-office.chartcolorstyle+xml"/>
  <Override PartName="/ppt/tags/tag735.xml" ContentType="application/vnd.openxmlformats-officedocument.presentationml.tags+xml"/>
  <Override PartName="/ppt/notesSlides/notesSlide80.xml" ContentType="application/vnd.openxmlformats-officedocument.presentationml.notesSlide+xml"/>
  <Override PartName="/ppt/charts/chart821.xml" ContentType="application/vnd.openxmlformats-officedocument.drawingml.chart+xml"/>
  <Override PartName="/ppt/charts/style14.xml" ContentType="application/vnd.ms-office.chartstyle+xml"/>
  <Override PartName="/ppt/charts/colors14.xml" ContentType="application/vnd.ms-office.chartcolorstyle+xml"/>
  <Override PartName="/ppt/tags/tag736.xml" ContentType="application/vnd.openxmlformats-officedocument.presentationml.tags+xml"/>
  <Override PartName="/ppt/notesSlides/notesSlide81.xml" ContentType="application/vnd.openxmlformats-officedocument.presentationml.notesSlide+xml"/>
  <Override PartName="/ppt/charts/chart822.xml" ContentType="application/vnd.openxmlformats-officedocument.drawingml.chart+xml"/>
  <Override PartName="/ppt/charts/style15.xml" ContentType="application/vnd.ms-office.chartstyle+xml"/>
  <Override PartName="/ppt/charts/colors15.xml" ContentType="application/vnd.ms-office.chartcolorstyle+xml"/>
  <Override PartName="/ppt/tags/tag737.xml" ContentType="application/vnd.openxmlformats-officedocument.presentationml.tags+xml"/>
  <Override PartName="/ppt/notesSlides/notesSlide82.xml" ContentType="application/vnd.openxmlformats-officedocument.presentationml.notesSlide+xml"/>
  <Override PartName="/ppt/charts/chart823.xml" ContentType="application/vnd.openxmlformats-officedocument.drawingml.chart+xml"/>
  <Override PartName="/ppt/charts/style16.xml" ContentType="application/vnd.ms-office.chartstyle+xml"/>
  <Override PartName="/ppt/charts/colors16.xml" ContentType="application/vnd.ms-office.chartcolorstyle+xml"/>
  <Override PartName="/ppt/tags/tag738.xml" ContentType="application/vnd.openxmlformats-officedocument.presentationml.tags+xml"/>
  <Override PartName="/ppt/notesSlides/notesSlide83.xml" ContentType="application/vnd.openxmlformats-officedocument.presentationml.notesSlide+xml"/>
  <Override PartName="/ppt/charts/chart824.xml" ContentType="application/vnd.openxmlformats-officedocument.drawingml.chart+xml"/>
  <Override PartName="/ppt/charts/style17.xml" ContentType="application/vnd.ms-office.chartstyle+xml"/>
  <Override PartName="/ppt/charts/colors17.xml" ContentType="application/vnd.ms-office.chartcolorstyle+xml"/>
  <Override PartName="/ppt/tags/tag739.xml" ContentType="application/vnd.openxmlformats-officedocument.presentationml.tags+xml"/>
  <Override PartName="/ppt/notesSlides/notesSlide84.xml" ContentType="application/vnd.openxmlformats-officedocument.presentationml.notesSlide+xml"/>
  <Override PartName="/ppt/charts/chart825.xml" ContentType="application/vnd.openxmlformats-officedocument.drawingml.chart+xml"/>
  <Override PartName="/ppt/charts/style18.xml" ContentType="application/vnd.ms-office.chartstyle+xml"/>
  <Override PartName="/ppt/charts/colors18.xml" ContentType="application/vnd.ms-office.chartcolorstyle+xml"/>
  <Override PartName="/ppt/tags/tag740.xml" ContentType="application/vnd.openxmlformats-officedocument.presentationml.tags+xml"/>
  <Override PartName="/ppt/notesSlides/notesSlide85.xml" ContentType="application/vnd.openxmlformats-officedocument.presentationml.notesSlide+xml"/>
  <Override PartName="/ppt/charts/chart826.xml" ContentType="application/vnd.openxmlformats-officedocument.drawingml.chart+xml"/>
  <Override PartName="/ppt/charts/style19.xml" ContentType="application/vnd.ms-office.chartstyle+xml"/>
  <Override PartName="/ppt/charts/colors19.xml" ContentType="application/vnd.ms-office.chartcolorstyle+xml"/>
  <Override PartName="/ppt/tags/tag741.xml" ContentType="application/vnd.openxmlformats-officedocument.presentationml.tags+xml"/>
  <Override PartName="/ppt/notesSlides/notesSlide86.xml" ContentType="application/vnd.openxmlformats-officedocument.presentationml.notesSlide+xml"/>
  <Override PartName="/ppt/charts/chart827.xml" ContentType="application/vnd.openxmlformats-officedocument.drawingml.chart+xml"/>
  <Override PartName="/ppt/charts/style20.xml" ContentType="application/vnd.ms-office.chartstyle+xml"/>
  <Override PartName="/ppt/charts/colors20.xml" ContentType="application/vnd.ms-office.chartcolorstyle+xml"/>
  <Override PartName="/ppt/tags/tag742.xml" ContentType="application/vnd.openxmlformats-officedocument.presentationml.tags+xml"/>
  <Override PartName="/ppt/notesSlides/notesSlide87.xml" ContentType="application/vnd.openxmlformats-officedocument.presentationml.notesSlide+xml"/>
  <Override PartName="/ppt/charts/chart828.xml" ContentType="application/vnd.openxmlformats-officedocument.drawingml.chart+xml"/>
  <Override PartName="/ppt/charts/style21.xml" ContentType="application/vnd.ms-office.chartstyle+xml"/>
  <Override PartName="/ppt/charts/colors21.xml" ContentType="application/vnd.ms-office.chartcolorstyle+xml"/>
  <Override PartName="/ppt/tags/tag743.xml" ContentType="application/vnd.openxmlformats-officedocument.presentationml.tags+xml"/>
  <Override PartName="/ppt/notesSlides/notesSlide88.xml" ContentType="application/vnd.openxmlformats-officedocument.presentationml.notesSlide+xml"/>
  <Override PartName="/ppt/charts/chart829.xml" ContentType="application/vnd.openxmlformats-officedocument.drawingml.chart+xml"/>
  <Override PartName="/ppt/charts/style22.xml" ContentType="application/vnd.ms-office.chartstyle+xml"/>
  <Override PartName="/ppt/charts/colors22.xml" ContentType="application/vnd.ms-office.chartcolorstyle+xml"/>
  <Override PartName="/ppt/tags/tag744.xml" ContentType="application/vnd.openxmlformats-officedocument.presentationml.tags+xml"/>
  <Override PartName="/ppt/notesSlides/notesSlide89.xml" ContentType="application/vnd.openxmlformats-officedocument.presentationml.notesSlide+xml"/>
  <Override PartName="/ppt/charts/chart830.xml" ContentType="application/vnd.openxmlformats-officedocument.drawingml.chart+xml"/>
  <Override PartName="/ppt/charts/style23.xml" ContentType="application/vnd.ms-office.chartstyle+xml"/>
  <Override PartName="/ppt/charts/colors23.xml" ContentType="application/vnd.ms-office.chartcolorstyle+xml"/>
  <Override PartName="/ppt/tags/tag745.xml" ContentType="application/vnd.openxmlformats-officedocument.presentationml.tags+xml"/>
  <Override PartName="/ppt/notesSlides/notesSlide90.xml" ContentType="application/vnd.openxmlformats-officedocument.presentationml.notesSlide+xml"/>
  <Override PartName="/ppt/charts/chart831.xml" ContentType="application/vnd.openxmlformats-officedocument.drawingml.chart+xml"/>
  <Override PartName="/ppt/charts/style24.xml" ContentType="application/vnd.ms-office.chartstyle+xml"/>
  <Override PartName="/ppt/charts/colors24.xml" ContentType="application/vnd.ms-office.chartcolorstyle+xml"/>
  <Override PartName="/ppt/tags/tag746.xml" ContentType="application/vnd.openxmlformats-officedocument.presentationml.tags+xml"/>
  <Override PartName="/ppt/notesSlides/notesSlide91.xml" ContentType="application/vnd.openxmlformats-officedocument.presentationml.notesSlide+xml"/>
  <Override PartName="/ppt/charts/chart832.xml" ContentType="application/vnd.openxmlformats-officedocument.drawingml.chart+xml"/>
  <Override PartName="/ppt/charts/style25.xml" ContentType="application/vnd.ms-office.chartstyle+xml"/>
  <Override PartName="/ppt/charts/colors25.xml" ContentType="application/vnd.ms-office.chartcolorstyle+xml"/>
  <Override PartName="/ppt/tags/tag747.xml" ContentType="application/vnd.openxmlformats-officedocument.presentationml.tags+xml"/>
  <Override PartName="/ppt/notesSlides/notesSlide92.xml" ContentType="application/vnd.openxmlformats-officedocument.presentationml.notesSlide+xml"/>
  <Override PartName="/ppt/charts/chart833.xml" ContentType="application/vnd.openxmlformats-officedocument.drawingml.chart+xml"/>
  <Override PartName="/ppt/charts/style26.xml" ContentType="application/vnd.ms-office.chartstyle+xml"/>
  <Override PartName="/ppt/charts/colors26.xml" ContentType="application/vnd.ms-office.chartcolorstyle+xml"/>
  <Override PartName="/ppt/tags/tag748.xml" ContentType="application/vnd.openxmlformats-officedocument.presentationml.tags+xml"/>
  <Override PartName="/ppt/notesSlides/notesSlide93.xml" ContentType="application/vnd.openxmlformats-officedocument.presentationml.notesSlide+xml"/>
  <Override PartName="/ppt/charts/chart834.xml" ContentType="application/vnd.openxmlformats-officedocument.drawingml.chart+xml"/>
  <Override PartName="/ppt/charts/style27.xml" ContentType="application/vnd.ms-office.chartstyle+xml"/>
  <Override PartName="/ppt/charts/colors27.xml" ContentType="application/vnd.ms-office.chartcolorstyle+xml"/>
  <Override PartName="/ppt/tags/tag749.xml" ContentType="application/vnd.openxmlformats-officedocument.presentationml.tags+xml"/>
  <Override PartName="/ppt/notesSlides/notesSlide94.xml" ContentType="application/vnd.openxmlformats-officedocument.presentationml.notesSlide+xml"/>
  <Override PartName="/ppt/charts/chart835.xml" ContentType="application/vnd.openxmlformats-officedocument.drawingml.chart+xml"/>
  <Override PartName="/ppt/charts/style28.xml" ContentType="application/vnd.ms-office.chartstyle+xml"/>
  <Override PartName="/ppt/charts/colors28.xml" ContentType="application/vnd.ms-office.chartcolorstyle+xml"/>
  <Override PartName="/ppt/tags/tag750.xml" ContentType="application/vnd.openxmlformats-officedocument.presentationml.tags+xml"/>
  <Override PartName="/ppt/notesSlides/notesSlide95.xml" ContentType="application/vnd.openxmlformats-officedocument.presentationml.notesSlide+xml"/>
  <Override PartName="/ppt/charts/chart836.xml" ContentType="application/vnd.openxmlformats-officedocument.drawingml.chart+xml"/>
  <Override PartName="/ppt/charts/style29.xml" ContentType="application/vnd.ms-office.chartstyle+xml"/>
  <Override PartName="/ppt/charts/colors29.xml" ContentType="application/vnd.ms-office.chartcolorstyle+xml"/>
  <Override PartName="/ppt/tags/tag751.xml" ContentType="application/vnd.openxmlformats-officedocument.presentationml.tags+xml"/>
  <Override PartName="/ppt/notesSlides/notesSlide96.xml" ContentType="application/vnd.openxmlformats-officedocument.presentationml.notesSlide+xml"/>
  <Override PartName="/ppt/charts/chart837.xml" ContentType="application/vnd.openxmlformats-officedocument.drawingml.chart+xml"/>
  <Override PartName="/ppt/charts/style30.xml" ContentType="application/vnd.ms-office.chartstyle+xml"/>
  <Override PartName="/ppt/charts/colors30.xml" ContentType="application/vnd.ms-office.chartcolorstyle+xml"/>
  <Override PartName="/ppt/tags/tag752.xml" ContentType="application/vnd.openxmlformats-officedocument.presentationml.tags+xml"/>
  <Override PartName="/ppt/notesSlides/notesSlide97.xml" ContentType="application/vnd.openxmlformats-officedocument.presentationml.notesSlide+xml"/>
  <Override PartName="/ppt/charts/chart838.xml" ContentType="application/vnd.openxmlformats-officedocument.drawingml.chart+xml"/>
  <Override PartName="/ppt/charts/style31.xml" ContentType="application/vnd.ms-office.chartstyle+xml"/>
  <Override PartName="/ppt/charts/colors31.xml" ContentType="application/vnd.ms-office.chartcolorstyle+xml"/>
  <Override PartName="/ppt/tags/tag753.xml" ContentType="application/vnd.openxmlformats-officedocument.presentationml.tags+xml"/>
  <Override PartName="/ppt/notesSlides/notesSlide98.xml" ContentType="application/vnd.openxmlformats-officedocument.presentationml.notesSlide+xml"/>
  <Override PartName="/ppt/charts/chart839.xml" ContentType="application/vnd.openxmlformats-officedocument.drawingml.chart+xml"/>
  <Override PartName="/ppt/charts/style32.xml" ContentType="application/vnd.ms-office.chartstyle+xml"/>
  <Override PartName="/ppt/charts/colors32.xml" ContentType="application/vnd.ms-office.chartcolorstyle+xml"/>
  <Override PartName="/ppt/tags/tag754.xml" ContentType="application/vnd.openxmlformats-officedocument.presentationml.tags+xml"/>
  <Override PartName="/ppt/notesSlides/notesSlide99.xml" ContentType="application/vnd.openxmlformats-officedocument.presentationml.notesSlide+xml"/>
  <Override PartName="/ppt/charts/chart840.xml" ContentType="application/vnd.openxmlformats-officedocument.drawingml.chart+xml"/>
  <Override PartName="/ppt/charts/style33.xml" ContentType="application/vnd.ms-office.chartstyle+xml"/>
  <Override PartName="/ppt/charts/colors33.xml" ContentType="application/vnd.ms-office.chartcolorstyle+xml"/>
  <Override PartName="/ppt/tags/tag755.xml" ContentType="application/vnd.openxmlformats-officedocument.presentationml.tags+xml"/>
  <Override PartName="/ppt/notesSlides/notesSlide100.xml" ContentType="application/vnd.openxmlformats-officedocument.presentationml.notesSlide+xml"/>
  <Override PartName="/ppt/charts/chart841.xml" ContentType="application/vnd.openxmlformats-officedocument.drawingml.chart+xml"/>
  <Override PartName="/ppt/charts/style34.xml" ContentType="application/vnd.ms-office.chartstyle+xml"/>
  <Override PartName="/ppt/charts/colors34.xml" ContentType="application/vnd.ms-office.chartcolorstyle+xml"/>
  <Override PartName="/ppt/tags/tag756.xml" ContentType="application/vnd.openxmlformats-officedocument.presentationml.tags+xml"/>
  <Override PartName="/ppt/notesSlides/notesSlide101.xml" ContentType="application/vnd.openxmlformats-officedocument.presentationml.notesSlide+xml"/>
  <Override PartName="/ppt/charts/chart842.xml" ContentType="application/vnd.openxmlformats-officedocument.drawingml.chart+xml"/>
  <Override PartName="/ppt/charts/style35.xml" ContentType="application/vnd.ms-office.chartstyle+xml"/>
  <Override PartName="/ppt/charts/colors35.xml" ContentType="application/vnd.ms-office.chartcolorstyle+xml"/>
  <Override PartName="/ppt/tags/tag757.xml" ContentType="application/vnd.openxmlformats-officedocument.presentationml.tags+xml"/>
  <Override PartName="/ppt/notesSlides/notesSlide102.xml" ContentType="application/vnd.openxmlformats-officedocument.presentationml.notesSlide+xml"/>
  <Override PartName="/ppt/charts/chart843.xml" ContentType="application/vnd.openxmlformats-officedocument.drawingml.chart+xml"/>
  <Override PartName="/ppt/charts/style36.xml" ContentType="application/vnd.ms-office.chartstyle+xml"/>
  <Override PartName="/ppt/charts/colors36.xml" ContentType="application/vnd.ms-office.chartcolorstyle+xml"/>
  <Override PartName="/ppt/tags/tag758.xml" ContentType="application/vnd.openxmlformats-officedocument.presentationml.tags+xml"/>
  <Override PartName="/ppt/notesSlides/notesSlide103.xml" ContentType="application/vnd.openxmlformats-officedocument.presentationml.notesSlide+xml"/>
  <Override PartName="/ppt/charts/chart844.xml" ContentType="application/vnd.openxmlformats-officedocument.drawingml.chart+xml"/>
  <Override PartName="/ppt/charts/style37.xml" ContentType="application/vnd.ms-office.chartstyle+xml"/>
  <Override PartName="/ppt/charts/colors37.xml" ContentType="application/vnd.ms-office.chartcolorstyle+xml"/>
  <Override PartName="/ppt/tags/tag759.xml" ContentType="application/vnd.openxmlformats-officedocument.presentationml.tags+xml"/>
  <Override PartName="/ppt/notesSlides/notesSlide104.xml" ContentType="application/vnd.openxmlformats-officedocument.presentationml.notesSlide+xml"/>
  <Override PartName="/ppt/charts/chart845.xml" ContentType="application/vnd.openxmlformats-officedocument.drawingml.chart+xml"/>
  <Override PartName="/ppt/charts/style38.xml" ContentType="application/vnd.ms-office.chartstyle+xml"/>
  <Override PartName="/ppt/charts/colors38.xml" ContentType="application/vnd.ms-office.chartcolorstyle+xml"/>
  <Override PartName="/ppt/tags/tag760.xml" ContentType="application/vnd.openxmlformats-officedocument.presentationml.tags+xml"/>
  <Override PartName="/ppt/notesSlides/notesSlide105.xml" ContentType="application/vnd.openxmlformats-officedocument.presentationml.notesSlide+xml"/>
  <Override PartName="/ppt/charts/chart846.xml" ContentType="application/vnd.openxmlformats-officedocument.drawingml.chart+xml"/>
  <Override PartName="/ppt/charts/style39.xml" ContentType="application/vnd.ms-office.chartstyle+xml"/>
  <Override PartName="/ppt/charts/colors39.xml" ContentType="application/vnd.ms-office.chartcolorstyle+xml"/>
  <Override PartName="/ppt/tags/tag761.xml" ContentType="application/vnd.openxmlformats-officedocument.presentationml.tags+xml"/>
  <Override PartName="/ppt/notesSlides/notesSlide106.xml" ContentType="application/vnd.openxmlformats-officedocument.presentationml.notesSlide+xml"/>
  <Override PartName="/ppt/charts/chart847.xml" ContentType="application/vnd.openxmlformats-officedocument.drawingml.chart+xml"/>
  <Override PartName="/ppt/charts/style40.xml" ContentType="application/vnd.ms-office.chartstyle+xml"/>
  <Override PartName="/ppt/charts/colors40.xml" ContentType="application/vnd.ms-office.chartcolorstyle+xml"/>
  <Override PartName="/ppt/tags/tag762.xml" ContentType="application/vnd.openxmlformats-officedocument.presentationml.tags+xml"/>
  <Override PartName="/ppt/notesSlides/notesSlide107.xml" ContentType="application/vnd.openxmlformats-officedocument.presentationml.notesSlide+xml"/>
  <Override PartName="/ppt/charts/chart848.xml" ContentType="application/vnd.openxmlformats-officedocument.drawingml.chart+xml"/>
  <Override PartName="/ppt/charts/style41.xml" ContentType="application/vnd.ms-office.chartstyle+xml"/>
  <Override PartName="/ppt/charts/colors41.xml" ContentType="application/vnd.ms-office.chartcolorstyle+xml"/>
  <Override PartName="/ppt/tags/tag763.xml" ContentType="application/vnd.openxmlformats-officedocument.presentationml.tags+xml"/>
  <Override PartName="/ppt/notesSlides/notesSlide108.xml" ContentType="application/vnd.openxmlformats-officedocument.presentationml.notesSlide+xml"/>
  <Override PartName="/ppt/charts/chart849.xml" ContentType="application/vnd.openxmlformats-officedocument.drawingml.chart+xml"/>
  <Override PartName="/ppt/charts/style42.xml" ContentType="application/vnd.ms-office.chartstyle+xml"/>
  <Override PartName="/ppt/charts/colors42.xml" ContentType="application/vnd.ms-office.chartcolorstyle+xml"/>
  <Override PartName="/ppt/tags/tag764.xml" ContentType="application/vnd.openxmlformats-officedocument.presentationml.tags+xml"/>
  <Override PartName="/ppt/notesSlides/notesSlide109.xml" ContentType="application/vnd.openxmlformats-officedocument.presentationml.notesSlide+xml"/>
  <Override PartName="/ppt/charts/chart850.xml" ContentType="application/vnd.openxmlformats-officedocument.drawingml.chart+xml"/>
  <Override PartName="/ppt/charts/style43.xml" ContentType="application/vnd.ms-office.chartstyle+xml"/>
  <Override PartName="/ppt/charts/colors43.xml" ContentType="application/vnd.ms-office.chartcolorstyle+xml"/>
  <Override PartName="/ppt/tags/tag765.xml" ContentType="application/vnd.openxmlformats-officedocument.presentationml.tags+xml"/>
  <Override PartName="/ppt/notesSlides/notesSlide110.xml" ContentType="application/vnd.openxmlformats-officedocument.presentationml.notesSlide+xml"/>
  <Override PartName="/ppt/charts/chart851.xml" ContentType="application/vnd.openxmlformats-officedocument.drawingml.chart+xml"/>
  <Override PartName="/ppt/charts/style44.xml" ContentType="application/vnd.ms-office.chartstyle+xml"/>
  <Override PartName="/ppt/charts/colors44.xml" ContentType="application/vnd.ms-office.chartcolorstyle+xml"/>
  <Override PartName="/ppt/tags/tag766.xml" ContentType="application/vnd.openxmlformats-officedocument.presentationml.tags+xml"/>
  <Override PartName="/ppt/notesSlides/notesSlide111.xml" ContentType="application/vnd.openxmlformats-officedocument.presentationml.notesSlide+xml"/>
  <Override PartName="/ppt/charts/chart852.xml" ContentType="application/vnd.openxmlformats-officedocument.drawingml.chart+xml"/>
  <Override PartName="/ppt/charts/style45.xml" ContentType="application/vnd.ms-office.chartstyle+xml"/>
  <Override PartName="/ppt/charts/colors45.xml" ContentType="application/vnd.ms-office.chartcolorstyle+xml"/>
  <Override PartName="/ppt/tags/tag767.xml" ContentType="application/vnd.openxmlformats-officedocument.presentationml.tags+xml"/>
  <Override PartName="/ppt/notesSlides/notesSlide112.xml" ContentType="application/vnd.openxmlformats-officedocument.presentationml.notesSlide+xml"/>
  <Override PartName="/ppt/charts/chart853.xml" ContentType="application/vnd.openxmlformats-officedocument.drawingml.chart+xml"/>
  <Override PartName="/ppt/charts/style46.xml" ContentType="application/vnd.ms-office.chartstyle+xml"/>
  <Override PartName="/ppt/charts/colors46.xml" ContentType="application/vnd.ms-office.chartcolorstyle+xml"/>
  <Override PartName="/ppt/tags/tag768.xml" ContentType="application/vnd.openxmlformats-officedocument.presentationml.tags+xml"/>
  <Override PartName="/ppt/notesSlides/notesSlide113.xml" ContentType="application/vnd.openxmlformats-officedocument.presentationml.notesSlide+xml"/>
  <Override PartName="/ppt/charts/chart854.xml" ContentType="application/vnd.openxmlformats-officedocument.drawingml.chart+xml"/>
  <Override PartName="/ppt/charts/style47.xml" ContentType="application/vnd.ms-office.chartstyle+xml"/>
  <Override PartName="/ppt/charts/colors47.xml" ContentType="application/vnd.ms-office.chartcolorstyle+xml"/>
  <Override PartName="/ppt/tags/tag769.xml" ContentType="application/vnd.openxmlformats-officedocument.presentationml.tags+xml"/>
  <Override PartName="/ppt/notesSlides/notesSlide114.xml" ContentType="application/vnd.openxmlformats-officedocument.presentationml.notesSlide+xml"/>
  <Override PartName="/ppt/charts/chart855.xml" ContentType="application/vnd.openxmlformats-officedocument.drawingml.chart+xml"/>
  <Override PartName="/ppt/charts/style48.xml" ContentType="application/vnd.ms-office.chartstyle+xml"/>
  <Override PartName="/ppt/charts/colors48.xml" ContentType="application/vnd.ms-office.chartcolorstyle+xml"/>
  <Override PartName="/ppt/tags/tag770.xml" ContentType="application/vnd.openxmlformats-officedocument.presentationml.tags+xml"/>
  <Override PartName="/ppt/notesSlides/notesSlide115.xml" ContentType="application/vnd.openxmlformats-officedocument.presentationml.notesSlide+xml"/>
  <Override PartName="/ppt/charts/chart856.xml" ContentType="application/vnd.openxmlformats-officedocument.drawingml.chart+xml"/>
  <Override PartName="/ppt/charts/style49.xml" ContentType="application/vnd.ms-office.chartstyle+xml"/>
  <Override PartName="/ppt/charts/colors49.xml" ContentType="application/vnd.ms-office.chartcolorstyle+xml"/>
  <Override PartName="/ppt/tags/tag771.xml" ContentType="application/vnd.openxmlformats-officedocument.presentationml.tags+xml"/>
  <Override PartName="/ppt/notesSlides/notesSlide116.xml" ContentType="application/vnd.openxmlformats-officedocument.presentationml.notesSlide+xml"/>
  <Override PartName="/ppt/charts/chart857.xml" ContentType="application/vnd.openxmlformats-officedocument.drawingml.chart+xml"/>
  <Override PartName="/ppt/charts/style50.xml" ContentType="application/vnd.ms-office.chartstyle+xml"/>
  <Override PartName="/ppt/charts/colors50.xml" ContentType="application/vnd.ms-office.chartcolorstyle+xml"/>
  <Override PartName="/ppt/tags/tag772.xml" ContentType="application/vnd.openxmlformats-officedocument.presentationml.tags+xml"/>
  <Override PartName="/ppt/notesSlides/notesSlide117.xml" ContentType="application/vnd.openxmlformats-officedocument.presentationml.notesSlide+xml"/>
  <Override PartName="/ppt/charts/chart858.xml" ContentType="application/vnd.openxmlformats-officedocument.drawingml.chart+xml"/>
  <Override PartName="/ppt/charts/style51.xml" ContentType="application/vnd.ms-office.chartstyle+xml"/>
  <Override PartName="/ppt/charts/colors51.xml" ContentType="application/vnd.ms-office.chartcolorstyle+xml"/>
  <Override PartName="/ppt/tags/tag773.xml" ContentType="application/vnd.openxmlformats-officedocument.presentationml.tags+xml"/>
  <Override PartName="/ppt/notesSlides/notesSlide118.xml" ContentType="application/vnd.openxmlformats-officedocument.presentationml.notesSlide+xml"/>
  <Override PartName="/ppt/charts/chart859.xml" ContentType="application/vnd.openxmlformats-officedocument.drawingml.chart+xml"/>
  <Override PartName="/ppt/charts/style52.xml" ContentType="application/vnd.ms-office.chartstyle+xml"/>
  <Override PartName="/ppt/charts/colors52.xml" ContentType="application/vnd.ms-office.chartcolorstyle+xml"/>
  <Override PartName="/ppt/tags/tag774.xml" ContentType="application/vnd.openxmlformats-officedocument.presentationml.tags+xml"/>
  <Override PartName="/ppt/notesSlides/notesSlide119.xml" ContentType="application/vnd.openxmlformats-officedocument.presentationml.notesSlide+xml"/>
  <Override PartName="/ppt/charts/chart860.xml" ContentType="application/vnd.openxmlformats-officedocument.drawingml.chart+xml"/>
  <Override PartName="/ppt/charts/style53.xml" ContentType="application/vnd.ms-office.chartstyle+xml"/>
  <Override PartName="/ppt/charts/colors53.xml" ContentType="application/vnd.ms-office.chartcolorstyle+xml"/>
  <Override PartName="/ppt/tags/tag775.xml" ContentType="application/vnd.openxmlformats-officedocument.presentationml.tags+xml"/>
  <Override PartName="/ppt/notesSlides/notesSlide120.xml" ContentType="application/vnd.openxmlformats-officedocument.presentationml.notesSlide+xml"/>
  <Override PartName="/ppt/charts/chart861.xml" ContentType="application/vnd.openxmlformats-officedocument.drawingml.chart+xml"/>
  <Override PartName="/ppt/charts/style54.xml" ContentType="application/vnd.ms-office.chartstyle+xml"/>
  <Override PartName="/ppt/charts/colors54.xml" ContentType="application/vnd.ms-office.chartcolorstyle+xml"/>
  <Override PartName="/ppt/tags/tag776.xml" ContentType="application/vnd.openxmlformats-officedocument.presentationml.tags+xml"/>
  <Override PartName="/ppt/notesSlides/notesSlide121.xml" ContentType="application/vnd.openxmlformats-officedocument.presentationml.notesSlide+xml"/>
  <Override PartName="/ppt/charts/chart862.xml" ContentType="application/vnd.openxmlformats-officedocument.drawingml.chart+xml"/>
  <Override PartName="/ppt/charts/style55.xml" ContentType="application/vnd.ms-office.chartstyle+xml"/>
  <Override PartName="/ppt/charts/colors55.xml" ContentType="application/vnd.ms-office.chartcolorstyle+xml"/>
  <Override PartName="/ppt/tags/tag777.xml" ContentType="application/vnd.openxmlformats-officedocument.presentationml.tags+xml"/>
  <Override PartName="/ppt/notesSlides/notesSlide122.xml" ContentType="application/vnd.openxmlformats-officedocument.presentationml.notesSlide+xml"/>
  <Override PartName="/ppt/charts/chart863.xml" ContentType="application/vnd.openxmlformats-officedocument.drawingml.chart+xml"/>
  <Override PartName="/ppt/charts/style56.xml" ContentType="application/vnd.ms-office.chartstyle+xml"/>
  <Override PartName="/ppt/charts/colors56.xml" ContentType="application/vnd.ms-office.chartcolorstyle+xml"/>
  <Override PartName="/ppt/tags/tag778.xml" ContentType="application/vnd.openxmlformats-officedocument.presentationml.tags+xml"/>
  <Override PartName="/ppt/notesSlides/notesSlide123.xml" ContentType="application/vnd.openxmlformats-officedocument.presentationml.notesSlide+xml"/>
  <Override PartName="/ppt/charts/chart864.xml" ContentType="application/vnd.openxmlformats-officedocument.drawingml.chart+xml"/>
  <Override PartName="/ppt/charts/style57.xml" ContentType="application/vnd.ms-office.chartstyle+xml"/>
  <Override PartName="/ppt/charts/colors57.xml" ContentType="application/vnd.ms-office.chartcolorstyle+xml"/>
  <Override PartName="/ppt/tags/tag779.xml" ContentType="application/vnd.openxmlformats-officedocument.presentationml.tags+xml"/>
  <Override PartName="/ppt/notesSlides/notesSlide124.xml" ContentType="application/vnd.openxmlformats-officedocument.presentationml.notesSlide+xml"/>
  <Override PartName="/ppt/charts/chart865.xml" ContentType="application/vnd.openxmlformats-officedocument.drawingml.chart+xml"/>
  <Override PartName="/ppt/charts/style58.xml" ContentType="application/vnd.ms-office.chartstyle+xml"/>
  <Override PartName="/ppt/charts/colors58.xml" ContentType="application/vnd.ms-office.chartcolorstyle+xml"/>
  <Override PartName="/ppt/tags/tag780.xml" ContentType="application/vnd.openxmlformats-officedocument.presentationml.tags+xml"/>
  <Override PartName="/ppt/notesSlides/notesSlide125.xml" ContentType="application/vnd.openxmlformats-officedocument.presentationml.notesSlide+xml"/>
  <Override PartName="/ppt/charts/chart866.xml" ContentType="application/vnd.openxmlformats-officedocument.drawingml.chart+xml"/>
  <Override PartName="/ppt/charts/style59.xml" ContentType="application/vnd.ms-office.chartstyle+xml"/>
  <Override PartName="/ppt/charts/colors59.xml" ContentType="application/vnd.ms-office.chartcolorstyle+xml"/>
  <Override PartName="/ppt/tags/tag781.xml" ContentType="application/vnd.openxmlformats-officedocument.presentationml.tags+xml"/>
  <Override PartName="/ppt/notesSlides/notesSlide126.xml" ContentType="application/vnd.openxmlformats-officedocument.presentationml.notesSlide+xml"/>
  <Override PartName="/ppt/charts/chart867.xml" ContentType="application/vnd.openxmlformats-officedocument.drawingml.chart+xml"/>
  <Override PartName="/ppt/charts/style60.xml" ContentType="application/vnd.ms-office.chartstyle+xml"/>
  <Override PartName="/ppt/charts/colors60.xml" ContentType="application/vnd.ms-office.chartcolorstyle+xml"/>
  <Override PartName="/ppt/tags/tag782.xml" ContentType="application/vnd.openxmlformats-officedocument.presentationml.tags+xml"/>
  <Override PartName="/ppt/notesSlides/notesSlide127.xml" ContentType="application/vnd.openxmlformats-officedocument.presentationml.notesSlide+xml"/>
  <Override PartName="/ppt/charts/chart868.xml" ContentType="application/vnd.openxmlformats-officedocument.drawingml.chart+xml"/>
  <Override PartName="/ppt/charts/style61.xml" ContentType="application/vnd.ms-office.chartstyle+xml"/>
  <Override PartName="/ppt/charts/colors61.xml" ContentType="application/vnd.ms-office.chartcolorstyle+xml"/>
  <Override PartName="/ppt/tags/tag783.xml" ContentType="application/vnd.openxmlformats-officedocument.presentationml.tags+xml"/>
  <Override PartName="/ppt/notesSlides/notesSlide128.xml" ContentType="application/vnd.openxmlformats-officedocument.presentationml.notesSlide+xml"/>
  <Override PartName="/ppt/charts/chart869.xml" ContentType="application/vnd.openxmlformats-officedocument.drawingml.chart+xml"/>
  <Override PartName="/ppt/charts/style62.xml" ContentType="application/vnd.ms-office.chartstyle+xml"/>
  <Override PartName="/ppt/charts/colors62.xml" ContentType="application/vnd.ms-office.chartcolorstyle+xml"/>
  <Override PartName="/ppt/tags/tag784.xml" ContentType="application/vnd.openxmlformats-officedocument.presentationml.tags+xml"/>
  <Override PartName="/ppt/notesSlides/notesSlide129.xml" ContentType="application/vnd.openxmlformats-officedocument.presentationml.notesSlide+xml"/>
  <Override PartName="/ppt/charts/chart870.xml" ContentType="application/vnd.openxmlformats-officedocument.drawingml.chart+xml"/>
  <Override PartName="/ppt/charts/style63.xml" ContentType="application/vnd.ms-office.chartstyle+xml"/>
  <Override PartName="/ppt/charts/colors63.xml" ContentType="application/vnd.ms-office.chartcolorstyle+xml"/>
  <Override PartName="/ppt/tags/tag785.xml" ContentType="application/vnd.openxmlformats-officedocument.presentationml.tags+xml"/>
  <Override PartName="/ppt/notesSlides/notesSlide130.xml" ContentType="application/vnd.openxmlformats-officedocument.presentationml.notesSlide+xml"/>
  <Override PartName="/ppt/charts/chart871.xml" ContentType="application/vnd.openxmlformats-officedocument.drawingml.chart+xml"/>
  <Override PartName="/ppt/charts/style64.xml" ContentType="application/vnd.ms-office.chartstyle+xml"/>
  <Override PartName="/ppt/charts/colors64.xml" ContentType="application/vnd.ms-office.chartcolorstyle+xml"/>
  <Override PartName="/ppt/tags/tag786.xml" ContentType="application/vnd.openxmlformats-officedocument.presentationml.tags+xml"/>
  <Override PartName="/ppt/notesSlides/notesSlide131.xml" ContentType="application/vnd.openxmlformats-officedocument.presentationml.notesSlide+xml"/>
  <Override PartName="/ppt/charts/chart872.xml" ContentType="application/vnd.openxmlformats-officedocument.drawingml.chart+xml"/>
  <Override PartName="/ppt/charts/style65.xml" ContentType="application/vnd.ms-office.chartstyle+xml"/>
  <Override PartName="/ppt/charts/colors65.xml" ContentType="application/vnd.ms-office.chartcolorstyle+xml"/>
  <Override PartName="/ppt/tags/tag787.xml" ContentType="application/vnd.openxmlformats-officedocument.presentationml.tags+xml"/>
  <Override PartName="/ppt/notesSlides/notesSlide132.xml" ContentType="application/vnd.openxmlformats-officedocument.presentationml.notesSlide+xml"/>
  <Override PartName="/ppt/charts/chart873.xml" ContentType="application/vnd.openxmlformats-officedocument.drawingml.chart+xml"/>
  <Override PartName="/ppt/charts/style66.xml" ContentType="application/vnd.ms-office.chartstyle+xml"/>
  <Override PartName="/ppt/charts/colors66.xml" ContentType="application/vnd.ms-office.chartcolorstyle+xml"/>
  <Override PartName="/ppt/tags/tag788.xml" ContentType="application/vnd.openxmlformats-officedocument.presentationml.tags+xml"/>
  <Override PartName="/ppt/notesSlides/notesSlide133.xml" ContentType="application/vnd.openxmlformats-officedocument.presentationml.notesSlide+xml"/>
  <Override PartName="/ppt/charts/chart874.xml" ContentType="application/vnd.openxmlformats-officedocument.drawingml.chart+xml"/>
  <Override PartName="/ppt/charts/style67.xml" ContentType="application/vnd.ms-office.chartstyle+xml"/>
  <Override PartName="/ppt/charts/colors67.xml" ContentType="application/vnd.ms-office.chartcolorstyle+xml"/>
  <Override PartName="/ppt/tags/tag789.xml" ContentType="application/vnd.openxmlformats-officedocument.presentationml.tags+xml"/>
  <Override PartName="/ppt/notesSlides/notesSlide134.xml" ContentType="application/vnd.openxmlformats-officedocument.presentationml.notesSlide+xml"/>
  <Override PartName="/ppt/charts/chart875.xml" ContentType="application/vnd.openxmlformats-officedocument.drawingml.chart+xml"/>
  <Override PartName="/ppt/charts/style68.xml" ContentType="application/vnd.ms-office.chartstyle+xml"/>
  <Override PartName="/ppt/charts/colors68.xml" ContentType="application/vnd.ms-office.chartcolorstyl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54" r:id="rId4"/>
  </p:sldMasterIdLst>
  <p:notesMasterIdLst>
    <p:notesMasterId r:id="rId767"/>
  </p:notesMasterIdLst>
  <p:sldIdLst>
    <p:sldId id="2147477365" r:id="rId5"/>
    <p:sldId id="2147477366" r:id="rId6"/>
    <p:sldId id="2147477367" r:id="rId7"/>
    <p:sldId id="2147477368" r:id="rId8"/>
    <p:sldId id="2147477369" r:id="rId9"/>
    <p:sldId id="2147477370" r:id="rId10"/>
    <p:sldId id="2147477371" r:id="rId11"/>
    <p:sldId id="2147477372" r:id="rId12"/>
    <p:sldId id="2147477373" r:id="rId13"/>
    <p:sldId id="2147477374" r:id="rId14"/>
    <p:sldId id="2147477375" r:id="rId15"/>
    <p:sldId id="2147477376" r:id="rId16"/>
    <p:sldId id="2147477377" r:id="rId17"/>
    <p:sldId id="2147477378" r:id="rId18"/>
    <p:sldId id="2147477379" r:id="rId19"/>
    <p:sldId id="2147477380" r:id="rId20"/>
    <p:sldId id="2147477381" r:id="rId21"/>
    <p:sldId id="2147477382" r:id="rId22"/>
    <p:sldId id="2147477383" r:id="rId23"/>
    <p:sldId id="2147477384" r:id="rId24"/>
    <p:sldId id="2147477385" r:id="rId25"/>
    <p:sldId id="2147477386" r:id="rId26"/>
    <p:sldId id="2147477387" r:id="rId27"/>
    <p:sldId id="2147477388" r:id="rId28"/>
    <p:sldId id="2147477389" r:id="rId29"/>
    <p:sldId id="2147477390" r:id="rId30"/>
    <p:sldId id="2147477391" r:id="rId31"/>
    <p:sldId id="2147477392" r:id="rId32"/>
    <p:sldId id="2147477393" r:id="rId33"/>
    <p:sldId id="2147477394" r:id="rId34"/>
    <p:sldId id="2147477395" r:id="rId35"/>
    <p:sldId id="2147477396" r:id="rId36"/>
    <p:sldId id="2147477397" r:id="rId37"/>
    <p:sldId id="2147477398" r:id="rId38"/>
    <p:sldId id="2147477399" r:id="rId39"/>
    <p:sldId id="2147477400" r:id="rId40"/>
    <p:sldId id="2147477401" r:id="rId41"/>
    <p:sldId id="2147477402" r:id="rId42"/>
    <p:sldId id="2147477403" r:id="rId43"/>
    <p:sldId id="2147477404" r:id="rId44"/>
    <p:sldId id="2147477405" r:id="rId45"/>
    <p:sldId id="2147477406" r:id="rId46"/>
    <p:sldId id="2147477407" r:id="rId47"/>
    <p:sldId id="2147477408" r:id="rId48"/>
    <p:sldId id="2147477409" r:id="rId49"/>
    <p:sldId id="2147477410" r:id="rId50"/>
    <p:sldId id="2147477411" r:id="rId51"/>
    <p:sldId id="2147477412" r:id="rId52"/>
    <p:sldId id="2147477413" r:id="rId53"/>
    <p:sldId id="2147477414" r:id="rId54"/>
    <p:sldId id="2147477415" r:id="rId55"/>
    <p:sldId id="2147477416" r:id="rId56"/>
    <p:sldId id="2147477417" r:id="rId57"/>
    <p:sldId id="2147477418" r:id="rId58"/>
    <p:sldId id="2147477419" r:id="rId59"/>
    <p:sldId id="2147477420" r:id="rId60"/>
    <p:sldId id="2147477421" r:id="rId61"/>
    <p:sldId id="2147477422" r:id="rId62"/>
    <p:sldId id="2147477423" r:id="rId63"/>
    <p:sldId id="2147477424" r:id="rId64"/>
    <p:sldId id="2147477425" r:id="rId65"/>
    <p:sldId id="2147477426" r:id="rId66"/>
    <p:sldId id="2147477427" r:id="rId67"/>
    <p:sldId id="2147477428" r:id="rId68"/>
    <p:sldId id="2147477429" r:id="rId69"/>
    <p:sldId id="2147477430" r:id="rId70"/>
    <p:sldId id="2147477431" r:id="rId71"/>
    <p:sldId id="2147477432" r:id="rId72"/>
    <p:sldId id="2147477433" r:id="rId73"/>
    <p:sldId id="2147477434" r:id="rId74"/>
    <p:sldId id="2147477435" r:id="rId75"/>
    <p:sldId id="2147477436" r:id="rId76"/>
    <p:sldId id="2147477437" r:id="rId77"/>
    <p:sldId id="2147477438" r:id="rId78"/>
    <p:sldId id="2147477439" r:id="rId79"/>
    <p:sldId id="2147477440" r:id="rId80"/>
    <p:sldId id="2147477441" r:id="rId81"/>
    <p:sldId id="2147477442" r:id="rId82"/>
    <p:sldId id="2147477443" r:id="rId83"/>
    <p:sldId id="2147477444" r:id="rId84"/>
    <p:sldId id="2147477445" r:id="rId85"/>
    <p:sldId id="2147477446" r:id="rId86"/>
    <p:sldId id="2147477447" r:id="rId87"/>
    <p:sldId id="2147477448" r:id="rId88"/>
    <p:sldId id="2147477449" r:id="rId89"/>
    <p:sldId id="2147477450" r:id="rId90"/>
    <p:sldId id="2147477451" r:id="rId91"/>
    <p:sldId id="2147477452" r:id="rId92"/>
    <p:sldId id="2147477453" r:id="rId93"/>
    <p:sldId id="2147477454" r:id="rId94"/>
    <p:sldId id="2147477455" r:id="rId95"/>
    <p:sldId id="2147477456" r:id="rId96"/>
    <p:sldId id="2147477457" r:id="rId97"/>
    <p:sldId id="2147477458" r:id="rId98"/>
    <p:sldId id="2147477459" r:id="rId99"/>
    <p:sldId id="2147477460" r:id="rId100"/>
    <p:sldId id="2147477461" r:id="rId101"/>
    <p:sldId id="2147477462" r:id="rId102"/>
    <p:sldId id="2147477463" r:id="rId103"/>
    <p:sldId id="2147477464" r:id="rId104"/>
    <p:sldId id="2147477465" r:id="rId105"/>
    <p:sldId id="2147477466" r:id="rId106"/>
    <p:sldId id="2147477467" r:id="rId107"/>
    <p:sldId id="2147477468" r:id="rId108"/>
    <p:sldId id="2147477469" r:id="rId109"/>
    <p:sldId id="2147477470" r:id="rId110"/>
    <p:sldId id="2147477471" r:id="rId111"/>
    <p:sldId id="2147477472" r:id="rId112"/>
    <p:sldId id="2147477473" r:id="rId113"/>
    <p:sldId id="2147477474" r:id="rId114"/>
    <p:sldId id="2147477475" r:id="rId115"/>
    <p:sldId id="2147477476" r:id="rId116"/>
    <p:sldId id="2147477477" r:id="rId117"/>
    <p:sldId id="2147477478" r:id="rId118"/>
    <p:sldId id="2147477479" r:id="rId119"/>
    <p:sldId id="2147477480" r:id="rId120"/>
    <p:sldId id="2147477481" r:id="rId121"/>
    <p:sldId id="2147477482" r:id="rId122"/>
    <p:sldId id="2147477483" r:id="rId123"/>
    <p:sldId id="2147477484" r:id="rId124"/>
    <p:sldId id="2147477485" r:id="rId125"/>
    <p:sldId id="2147477486" r:id="rId126"/>
    <p:sldId id="2147477487" r:id="rId127"/>
    <p:sldId id="2147477488" r:id="rId128"/>
    <p:sldId id="2147477489" r:id="rId129"/>
    <p:sldId id="2147477490" r:id="rId130"/>
    <p:sldId id="2147477491" r:id="rId131"/>
    <p:sldId id="2147477492" r:id="rId132"/>
    <p:sldId id="2147477493" r:id="rId133"/>
    <p:sldId id="2147477494" r:id="rId134"/>
    <p:sldId id="2147477495" r:id="rId135"/>
    <p:sldId id="2147477496" r:id="rId136"/>
    <p:sldId id="2147477497" r:id="rId137"/>
    <p:sldId id="2147477498" r:id="rId138"/>
    <p:sldId id="2147477499" r:id="rId139"/>
    <p:sldId id="2147477500" r:id="rId140"/>
    <p:sldId id="2147477501" r:id="rId141"/>
    <p:sldId id="2147477502" r:id="rId142"/>
    <p:sldId id="2147477503" r:id="rId143"/>
    <p:sldId id="2147477504" r:id="rId144"/>
    <p:sldId id="2147477505" r:id="rId145"/>
    <p:sldId id="2147477506" r:id="rId146"/>
    <p:sldId id="2147477507" r:id="rId147"/>
    <p:sldId id="2147477508" r:id="rId148"/>
    <p:sldId id="2147477509" r:id="rId149"/>
    <p:sldId id="2147477510" r:id="rId150"/>
    <p:sldId id="2147477511" r:id="rId151"/>
    <p:sldId id="2147477512" r:id="rId152"/>
    <p:sldId id="2147477513" r:id="rId153"/>
    <p:sldId id="2147477514" r:id="rId154"/>
    <p:sldId id="2147477515" r:id="rId155"/>
    <p:sldId id="2147477516" r:id="rId156"/>
    <p:sldId id="2147477517" r:id="rId157"/>
    <p:sldId id="2147477518" r:id="rId158"/>
    <p:sldId id="2147477519" r:id="rId159"/>
    <p:sldId id="2147477520" r:id="rId160"/>
    <p:sldId id="2147477521" r:id="rId161"/>
    <p:sldId id="2147477522" r:id="rId162"/>
    <p:sldId id="2147477523" r:id="rId163"/>
    <p:sldId id="2147477524" r:id="rId164"/>
    <p:sldId id="2147477525" r:id="rId165"/>
    <p:sldId id="2147477526" r:id="rId166"/>
    <p:sldId id="2147477527" r:id="rId167"/>
    <p:sldId id="2147477528" r:id="rId168"/>
    <p:sldId id="2147477529" r:id="rId169"/>
    <p:sldId id="2147477530" r:id="rId170"/>
    <p:sldId id="2147477531" r:id="rId171"/>
    <p:sldId id="2147477532" r:id="rId172"/>
    <p:sldId id="2147477533" r:id="rId173"/>
    <p:sldId id="2147477534" r:id="rId174"/>
    <p:sldId id="2147477535" r:id="rId175"/>
    <p:sldId id="2147477536" r:id="rId176"/>
    <p:sldId id="2147477537" r:id="rId177"/>
    <p:sldId id="2147477538" r:id="rId178"/>
    <p:sldId id="2147477539" r:id="rId179"/>
    <p:sldId id="2147477540" r:id="rId180"/>
    <p:sldId id="2147477541" r:id="rId181"/>
    <p:sldId id="2147477542" r:id="rId182"/>
    <p:sldId id="2147477543" r:id="rId183"/>
    <p:sldId id="2147477544" r:id="rId184"/>
    <p:sldId id="2147477545" r:id="rId185"/>
    <p:sldId id="2147477546" r:id="rId186"/>
    <p:sldId id="2147477547" r:id="rId187"/>
    <p:sldId id="2147477548" r:id="rId188"/>
    <p:sldId id="2147477549" r:id="rId189"/>
    <p:sldId id="2147477550" r:id="rId190"/>
    <p:sldId id="2147477551" r:id="rId191"/>
    <p:sldId id="2147477552" r:id="rId192"/>
    <p:sldId id="2147477553" r:id="rId193"/>
    <p:sldId id="2147477554" r:id="rId194"/>
    <p:sldId id="2147477555" r:id="rId195"/>
    <p:sldId id="2147477556" r:id="rId196"/>
    <p:sldId id="2147477557" r:id="rId197"/>
    <p:sldId id="2147477558" r:id="rId198"/>
    <p:sldId id="2147477559" r:id="rId199"/>
    <p:sldId id="2147477560" r:id="rId200"/>
    <p:sldId id="2147477561" r:id="rId201"/>
    <p:sldId id="2147477562" r:id="rId202"/>
    <p:sldId id="2147477563" r:id="rId203"/>
    <p:sldId id="2147477564" r:id="rId204"/>
    <p:sldId id="2147477565" r:id="rId205"/>
    <p:sldId id="2147477566" r:id="rId206"/>
    <p:sldId id="2147477567" r:id="rId207"/>
    <p:sldId id="2147477568" r:id="rId208"/>
    <p:sldId id="2147477569" r:id="rId209"/>
    <p:sldId id="2147477570" r:id="rId210"/>
    <p:sldId id="2147477571" r:id="rId211"/>
    <p:sldId id="2147477572" r:id="rId212"/>
    <p:sldId id="2147477573" r:id="rId213"/>
    <p:sldId id="2147477574" r:id="rId214"/>
    <p:sldId id="2147477575" r:id="rId215"/>
    <p:sldId id="2147477576" r:id="rId216"/>
    <p:sldId id="2147477577" r:id="rId217"/>
    <p:sldId id="2147477578" r:id="rId218"/>
    <p:sldId id="2147477579" r:id="rId219"/>
    <p:sldId id="2147477580" r:id="rId220"/>
    <p:sldId id="2147477581" r:id="rId221"/>
    <p:sldId id="2147477582" r:id="rId222"/>
    <p:sldId id="2147477583" r:id="rId223"/>
    <p:sldId id="2147477584" r:id="rId224"/>
    <p:sldId id="2147477585" r:id="rId225"/>
    <p:sldId id="2147477586" r:id="rId226"/>
    <p:sldId id="2147477587" r:id="rId227"/>
    <p:sldId id="2147477588" r:id="rId228"/>
    <p:sldId id="2147477589" r:id="rId229"/>
    <p:sldId id="2147477590" r:id="rId230"/>
    <p:sldId id="2147477591" r:id="rId231"/>
    <p:sldId id="2147477592" r:id="rId232"/>
    <p:sldId id="2147477593" r:id="rId233"/>
    <p:sldId id="2147477594" r:id="rId234"/>
    <p:sldId id="2147477595" r:id="rId235"/>
    <p:sldId id="2147477596" r:id="rId236"/>
    <p:sldId id="2147477597" r:id="rId237"/>
    <p:sldId id="2147477598" r:id="rId238"/>
    <p:sldId id="2147477599" r:id="rId239"/>
    <p:sldId id="2147477600" r:id="rId240"/>
    <p:sldId id="2147477601" r:id="rId241"/>
    <p:sldId id="2147477602" r:id="rId242"/>
    <p:sldId id="2147477603" r:id="rId243"/>
    <p:sldId id="2147477604" r:id="rId244"/>
    <p:sldId id="2147477605" r:id="rId245"/>
    <p:sldId id="2147477606" r:id="rId246"/>
    <p:sldId id="2147477607" r:id="rId247"/>
    <p:sldId id="2147477608" r:id="rId248"/>
    <p:sldId id="2147477609" r:id="rId249"/>
    <p:sldId id="2147477610" r:id="rId250"/>
    <p:sldId id="2147477611" r:id="rId251"/>
    <p:sldId id="2147477612" r:id="rId252"/>
    <p:sldId id="2147477613" r:id="rId253"/>
    <p:sldId id="2147477614" r:id="rId254"/>
    <p:sldId id="2147477615" r:id="rId255"/>
    <p:sldId id="2147477616" r:id="rId256"/>
    <p:sldId id="2147477617" r:id="rId257"/>
    <p:sldId id="2147477618" r:id="rId258"/>
    <p:sldId id="2147477619" r:id="rId259"/>
    <p:sldId id="2147477620" r:id="rId260"/>
    <p:sldId id="2147477621" r:id="rId261"/>
    <p:sldId id="2147477622" r:id="rId262"/>
    <p:sldId id="2147477623" r:id="rId263"/>
    <p:sldId id="2147477624" r:id="rId264"/>
    <p:sldId id="2147477625" r:id="rId265"/>
    <p:sldId id="2147477626" r:id="rId266"/>
    <p:sldId id="2147477627" r:id="rId267"/>
    <p:sldId id="2147477628" r:id="rId268"/>
    <p:sldId id="2147477629" r:id="rId269"/>
    <p:sldId id="2147477630" r:id="rId270"/>
    <p:sldId id="2147477631" r:id="rId271"/>
    <p:sldId id="2147477632" r:id="rId272"/>
    <p:sldId id="2147477633" r:id="rId273"/>
    <p:sldId id="2147477634" r:id="rId274"/>
    <p:sldId id="2147477635" r:id="rId275"/>
    <p:sldId id="2147477636" r:id="rId276"/>
    <p:sldId id="2147477637" r:id="rId277"/>
    <p:sldId id="2147477638" r:id="rId278"/>
    <p:sldId id="2147477639" r:id="rId279"/>
    <p:sldId id="2147477640" r:id="rId280"/>
    <p:sldId id="2147477641" r:id="rId281"/>
    <p:sldId id="2147477642" r:id="rId282"/>
    <p:sldId id="2147477643" r:id="rId283"/>
    <p:sldId id="2147477644" r:id="rId284"/>
    <p:sldId id="2147477645" r:id="rId285"/>
    <p:sldId id="2147477646" r:id="rId286"/>
    <p:sldId id="2147477647" r:id="rId287"/>
    <p:sldId id="2147477648" r:id="rId288"/>
    <p:sldId id="2147477649" r:id="rId289"/>
    <p:sldId id="2147477650" r:id="rId290"/>
    <p:sldId id="2147477651" r:id="rId291"/>
    <p:sldId id="2147477652" r:id="rId292"/>
    <p:sldId id="2147477653" r:id="rId293"/>
    <p:sldId id="2147477654" r:id="rId294"/>
    <p:sldId id="2147477655" r:id="rId295"/>
    <p:sldId id="2147477656" r:id="rId296"/>
    <p:sldId id="2147477657" r:id="rId297"/>
    <p:sldId id="2147477658" r:id="rId298"/>
    <p:sldId id="2147477659" r:id="rId299"/>
    <p:sldId id="2147477660" r:id="rId300"/>
    <p:sldId id="2147477661" r:id="rId301"/>
    <p:sldId id="2147477662" r:id="rId302"/>
    <p:sldId id="2147477663" r:id="rId303"/>
    <p:sldId id="2147477664" r:id="rId304"/>
    <p:sldId id="2147477665" r:id="rId305"/>
    <p:sldId id="2147477666" r:id="rId306"/>
    <p:sldId id="2147477667" r:id="rId307"/>
    <p:sldId id="2147477668" r:id="rId308"/>
    <p:sldId id="2147477669" r:id="rId309"/>
    <p:sldId id="2147477670" r:id="rId310"/>
    <p:sldId id="2147477671" r:id="rId311"/>
    <p:sldId id="2147477672" r:id="rId312"/>
    <p:sldId id="2147477673" r:id="rId313"/>
    <p:sldId id="2147477674" r:id="rId314"/>
    <p:sldId id="2147477675" r:id="rId315"/>
    <p:sldId id="2147477676" r:id="rId316"/>
    <p:sldId id="2147477677" r:id="rId317"/>
    <p:sldId id="2147477678" r:id="rId318"/>
    <p:sldId id="2147477679" r:id="rId319"/>
    <p:sldId id="2147477680" r:id="rId320"/>
    <p:sldId id="2147477681" r:id="rId321"/>
    <p:sldId id="2147477682" r:id="rId322"/>
    <p:sldId id="2147477683" r:id="rId323"/>
    <p:sldId id="2147477684" r:id="rId324"/>
    <p:sldId id="2147477685" r:id="rId325"/>
    <p:sldId id="2147477686" r:id="rId326"/>
    <p:sldId id="2147477687" r:id="rId327"/>
    <p:sldId id="2147477688" r:id="rId328"/>
    <p:sldId id="2147477689" r:id="rId329"/>
    <p:sldId id="2147477690" r:id="rId330"/>
    <p:sldId id="2147477691" r:id="rId331"/>
    <p:sldId id="2147477692" r:id="rId332"/>
    <p:sldId id="2147477693" r:id="rId333"/>
    <p:sldId id="2147477694" r:id="rId334"/>
    <p:sldId id="2147477695" r:id="rId335"/>
    <p:sldId id="2147477696" r:id="rId336"/>
    <p:sldId id="2147477697" r:id="rId337"/>
    <p:sldId id="2147477698" r:id="rId338"/>
    <p:sldId id="2147477699" r:id="rId339"/>
    <p:sldId id="2147477700" r:id="rId340"/>
    <p:sldId id="2147477701" r:id="rId341"/>
    <p:sldId id="2147477702" r:id="rId342"/>
    <p:sldId id="2147477703" r:id="rId343"/>
    <p:sldId id="2147477704" r:id="rId344"/>
    <p:sldId id="2147477705" r:id="rId345"/>
    <p:sldId id="2147477706" r:id="rId346"/>
    <p:sldId id="2147477707" r:id="rId347"/>
    <p:sldId id="2147477708" r:id="rId348"/>
    <p:sldId id="2147477709" r:id="rId349"/>
    <p:sldId id="2147477710" r:id="rId350"/>
    <p:sldId id="2147477711" r:id="rId351"/>
    <p:sldId id="2147477712" r:id="rId352"/>
    <p:sldId id="2147477713" r:id="rId353"/>
    <p:sldId id="2147477714" r:id="rId354"/>
    <p:sldId id="2147477715" r:id="rId355"/>
    <p:sldId id="2147477716" r:id="rId356"/>
    <p:sldId id="2147477717" r:id="rId357"/>
    <p:sldId id="2147477718" r:id="rId358"/>
    <p:sldId id="2147477719" r:id="rId359"/>
    <p:sldId id="2147477720" r:id="rId360"/>
    <p:sldId id="2147477721" r:id="rId361"/>
    <p:sldId id="2147477722" r:id="rId362"/>
    <p:sldId id="2147477723" r:id="rId363"/>
    <p:sldId id="2147477724" r:id="rId364"/>
    <p:sldId id="2147477725" r:id="rId365"/>
    <p:sldId id="2147477726" r:id="rId366"/>
    <p:sldId id="2147477727" r:id="rId367"/>
    <p:sldId id="2147477728" r:id="rId368"/>
    <p:sldId id="2147477729" r:id="rId369"/>
    <p:sldId id="2147477730" r:id="rId370"/>
    <p:sldId id="2147477731" r:id="rId371"/>
    <p:sldId id="2147477732" r:id="rId372"/>
    <p:sldId id="2147477733" r:id="rId373"/>
    <p:sldId id="2147477734" r:id="rId374"/>
    <p:sldId id="2147477735" r:id="rId375"/>
    <p:sldId id="2147477736" r:id="rId376"/>
    <p:sldId id="2147477737" r:id="rId377"/>
    <p:sldId id="2147477738" r:id="rId378"/>
    <p:sldId id="2147477739" r:id="rId379"/>
    <p:sldId id="2147477740" r:id="rId380"/>
    <p:sldId id="2147477741" r:id="rId381"/>
    <p:sldId id="2147477742" r:id="rId382"/>
    <p:sldId id="2147477743" r:id="rId383"/>
    <p:sldId id="2147477744" r:id="rId384"/>
    <p:sldId id="2147477745" r:id="rId385"/>
    <p:sldId id="2147477746" r:id="rId386"/>
    <p:sldId id="2147477747" r:id="rId387"/>
    <p:sldId id="2147477748" r:id="rId388"/>
    <p:sldId id="2147477749" r:id="rId389"/>
    <p:sldId id="2147477750" r:id="rId390"/>
    <p:sldId id="2147477751" r:id="rId391"/>
    <p:sldId id="2147477752" r:id="rId392"/>
    <p:sldId id="2147477753" r:id="rId393"/>
    <p:sldId id="2147477754" r:id="rId394"/>
    <p:sldId id="2147477755" r:id="rId395"/>
    <p:sldId id="2147477756" r:id="rId396"/>
    <p:sldId id="2147477757" r:id="rId397"/>
    <p:sldId id="2147477758" r:id="rId398"/>
    <p:sldId id="2147477759" r:id="rId399"/>
    <p:sldId id="2147477760" r:id="rId400"/>
    <p:sldId id="2147477761" r:id="rId401"/>
    <p:sldId id="2147477762" r:id="rId402"/>
    <p:sldId id="2147477763" r:id="rId403"/>
    <p:sldId id="2147477764" r:id="rId404"/>
    <p:sldId id="2147477765" r:id="rId405"/>
    <p:sldId id="2147477766" r:id="rId406"/>
    <p:sldId id="2147477767" r:id="rId407"/>
    <p:sldId id="2147477768" r:id="rId408"/>
    <p:sldId id="2147477769" r:id="rId409"/>
    <p:sldId id="2147477770" r:id="rId410"/>
    <p:sldId id="2147477771" r:id="rId411"/>
    <p:sldId id="2147477772" r:id="rId412"/>
    <p:sldId id="2147477773" r:id="rId413"/>
    <p:sldId id="2147477774" r:id="rId414"/>
    <p:sldId id="2147477775" r:id="rId415"/>
    <p:sldId id="2147477776" r:id="rId416"/>
    <p:sldId id="2147477777" r:id="rId417"/>
    <p:sldId id="2147477778" r:id="rId418"/>
    <p:sldId id="2147477779" r:id="rId419"/>
    <p:sldId id="2147477780" r:id="rId420"/>
    <p:sldId id="2147477781" r:id="rId421"/>
    <p:sldId id="2147477782" r:id="rId422"/>
    <p:sldId id="2147477783" r:id="rId423"/>
    <p:sldId id="2147477784" r:id="rId424"/>
    <p:sldId id="2147477785" r:id="rId425"/>
    <p:sldId id="2147477786" r:id="rId426"/>
    <p:sldId id="2147477787" r:id="rId427"/>
    <p:sldId id="2147477788" r:id="rId428"/>
    <p:sldId id="2147477789" r:id="rId429"/>
    <p:sldId id="2147477790" r:id="rId430"/>
    <p:sldId id="2147477791" r:id="rId431"/>
    <p:sldId id="2147477792" r:id="rId432"/>
    <p:sldId id="2147477793" r:id="rId433"/>
    <p:sldId id="2147477794" r:id="rId434"/>
    <p:sldId id="2147477795" r:id="rId435"/>
    <p:sldId id="2147477796" r:id="rId436"/>
    <p:sldId id="2147477797" r:id="rId437"/>
    <p:sldId id="2147477798" r:id="rId438"/>
    <p:sldId id="2147477799" r:id="rId439"/>
    <p:sldId id="2147477800" r:id="rId440"/>
    <p:sldId id="2147477801" r:id="rId441"/>
    <p:sldId id="2147477802" r:id="rId442"/>
    <p:sldId id="2147477803" r:id="rId443"/>
    <p:sldId id="2147477804" r:id="rId444"/>
    <p:sldId id="2147477805" r:id="rId445"/>
    <p:sldId id="2147477806" r:id="rId446"/>
    <p:sldId id="2147477807" r:id="rId447"/>
    <p:sldId id="2147477808" r:id="rId448"/>
    <p:sldId id="2147477809" r:id="rId449"/>
    <p:sldId id="2147477810" r:id="rId450"/>
    <p:sldId id="2147477811" r:id="rId451"/>
    <p:sldId id="2147477812" r:id="rId452"/>
    <p:sldId id="2147477813" r:id="rId453"/>
    <p:sldId id="2147477814" r:id="rId454"/>
    <p:sldId id="2147477815" r:id="rId455"/>
    <p:sldId id="2147477816" r:id="rId456"/>
    <p:sldId id="2147477817" r:id="rId457"/>
    <p:sldId id="2147477818" r:id="rId458"/>
    <p:sldId id="2147477819" r:id="rId459"/>
    <p:sldId id="2147477820" r:id="rId460"/>
    <p:sldId id="2147477821" r:id="rId461"/>
    <p:sldId id="2147477822" r:id="rId462"/>
    <p:sldId id="2147477823" r:id="rId463"/>
    <p:sldId id="2147477824" r:id="rId464"/>
    <p:sldId id="2147477825" r:id="rId465"/>
    <p:sldId id="2147477826" r:id="rId466"/>
    <p:sldId id="2147477827" r:id="rId467"/>
    <p:sldId id="2147477828" r:id="rId468"/>
    <p:sldId id="2147477829" r:id="rId469"/>
    <p:sldId id="2147477830" r:id="rId470"/>
    <p:sldId id="2147477831" r:id="rId471"/>
    <p:sldId id="2147477832" r:id="rId472"/>
    <p:sldId id="2147477833" r:id="rId473"/>
    <p:sldId id="2147477834" r:id="rId474"/>
    <p:sldId id="2147477835" r:id="rId475"/>
    <p:sldId id="2147477836" r:id="rId476"/>
    <p:sldId id="2147477837" r:id="rId477"/>
    <p:sldId id="2147477838" r:id="rId478"/>
    <p:sldId id="2147477839" r:id="rId479"/>
    <p:sldId id="2147477840" r:id="rId480"/>
    <p:sldId id="2147477841" r:id="rId481"/>
    <p:sldId id="2147477842" r:id="rId482"/>
    <p:sldId id="2147477843" r:id="rId483"/>
    <p:sldId id="2147477844" r:id="rId484"/>
    <p:sldId id="2147477845" r:id="rId485"/>
    <p:sldId id="2147477846" r:id="rId486"/>
    <p:sldId id="2147477847" r:id="rId487"/>
    <p:sldId id="2147477848" r:id="rId488"/>
    <p:sldId id="2147477849" r:id="rId489"/>
    <p:sldId id="2147477850" r:id="rId490"/>
    <p:sldId id="2147477851" r:id="rId491"/>
    <p:sldId id="2147477852" r:id="rId492"/>
    <p:sldId id="2147477853" r:id="rId493"/>
    <p:sldId id="2147477854" r:id="rId494"/>
    <p:sldId id="2147477855" r:id="rId495"/>
    <p:sldId id="2147477856" r:id="rId496"/>
    <p:sldId id="2147477857" r:id="rId497"/>
    <p:sldId id="2147477858" r:id="rId498"/>
    <p:sldId id="2147477859" r:id="rId499"/>
    <p:sldId id="2147477860" r:id="rId500"/>
    <p:sldId id="2147477861" r:id="rId501"/>
    <p:sldId id="2147477862" r:id="rId502"/>
    <p:sldId id="2147477863" r:id="rId503"/>
    <p:sldId id="2147477864" r:id="rId504"/>
    <p:sldId id="2147477865" r:id="rId505"/>
    <p:sldId id="2147477866" r:id="rId506"/>
    <p:sldId id="2147477867" r:id="rId507"/>
    <p:sldId id="2147477868" r:id="rId508"/>
    <p:sldId id="2147477869" r:id="rId509"/>
    <p:sldId id="2147477870" r:id="rId510"/>
    <p:sldId id="2147477871" r:id="rId511"/>
    <p:sldId id="2147477872" r:id="rId512"/>
    <p:sldId id="2147477873" r:id="rId513"/>
    <p:sldId id="2147477874" r:id="rId514"/>
    <p:sldId id="2147477875" r:id="rId515"/>
    <p:sldId id="2147477876" r:id="rId516"/>
    <p:sldId id="2147477877" r:id="rId517"/>
    <p:sldId id="2147477878" r:id="rId518"/>
    <p:sldId id="2147477879" r:id="rId519"/>
    <p:sldId id="2147477880" r:id="rId520"/>
    <p:sldId id="2147477881" r:id="rId521"/>
    <p:sldId id="2147477882" r:id="rId522"/>
    <p:sldId id="2147477883" r:id="rId523"/>
    <p:sldId id="2147477884" r:id="rId524"/>
    <p:sldId id="2147477885" r:id="rId525"/>
    <p:sldId id="2147477886" r:id="rId526"/>
    <p:sldId id="2147477887" r:id="rId527"/>
    <p:sldId id="2147477888" r:id="rId528"/>
    <p:sldId id="2147477889" r:id="rId529"/>
    <p:sldId id="2147477890" r:id="rId530"/>
    <p:sldId id="2147477891" r:id="rId531"/>
    <p:sldId id="2147477892" r:id="rId532"/>
    <p:sldId id="2147477893" r:id="rId533"/>
    <p:sldId id="2147477894" r:id="rId534"/>
    <p:sldId id="2147477895" r:id="rId535"/>
    <p:sldId id="2147477896" r:id="rId536"/>
    <p:sldId id="2147477897" r:id="rId537"/>
    <p:sldId id="2147477898" r:id="rId538"/>
    <p:sldId id="2147477899" r:id="rId539"/>
    <p:sldId id="2147477900" r:id="rId540"/>
    <p:sldId id="2147477901" r:id="rId541"/>
    <p:sldId id="2147477902" r:id="rId542"/>
    <p:sldId id="2147477903" r:id="rId543"/>
    <p:sldId id="2147477904" r:id="rId544"/>
    <p:sldId id="2147477905" r:id="rId545"/>
    <p:sldId id="2147477906" r:id="rId546"/>
    <p:sldId id="2147477907" r:id="rId547"/>
    <p:sldId id="2147477908" r:id="rId548"/>
    <p:sldId id="2147477909" r:id="rId549"/>
    <p:sldId id="2147477910" r:id="rId550"/>
    <p:sldId id="2147477911" r:id="rId551"/>
    <p:sldId id="2147477912" r:id="rId552"/>
    <p:sldId id="2147477913" r:id="rId553"/>
    <p:sldId id="2147477914" r:id="rId554"/>
    <p:sldId id="2147477915" r:id="rId555"/>
    <p:sldId id="2147477916" r:id="rId556"/>
    <p:sldId id="2147477917" r:id="rId557"/>
    <p:sldId id="2147477918" r:id="rId558"/>
    <p:sldId id="2147477919" r:id="rId559"/>
    <p:sldId id="2147477920" r:id="rId560"/>
    <p:sldId id="2147477921" r:id="rId561"/>
    <p:sldId id="2147477922" r:id="rId562"/>
    <p:sldId id="2147477923" r:id="rId563"/>
    <p:sldId id="2147477924" r:id="rId564"/>
    <p:sldId id="2147477925" r:id="rId565"/>
    <p:sldId id="2147477926" r:id="rId566"/>
    <p:sldId id="2147477927" r:id="rId567"/>
    <p:sldId id="2147477928" r:id="rId568"/>
    <p:sldId id="2147477929" r:id="rId569"/>
    <p:sldId id="2147477930" r:id="rId570"/>
    <p:sldId id="2147477931" r:id="rId571"/>
    <p:sldId id="2147477932" r:id="rId572"/>
    <p:sldId id="2147477933" r:id="rId573"/>
    <p:sldId id="2147477934" r:id="rId574"/>
    <p:sldId id="2147477935" r:id="rId575"/>
    <p:sldId id="2147477936" r:id="rId576"/>
    <p:sldId id="2147477937" r:id="rId577"/>
    <p:sldId id="2147477938" r:id="rId578"/>
    <p:sldId id="2147477939" r:id="rId579"/>
    <p:sldId id="2147477940" r:id="rId580"/>
    <p:sldId id="2147477941" r:id="rId581"/>
    <p:sldId id="2147477942" r:id="rId582"/>
    <p:sldId id="2147477943" r:id="rId583"/>
    <p:sldId id="2147477944" r:id="rId584"/>
    <p:sldId id="2147477945" r:id="rId585"/>
    <p:sldId id="2147477946" r:id="rId586"/>
    <p:sldId id="2147477947" r:id="rId587"/>
    <p:sldId id="2147477948" r:id="rId588"/>
    <p:sldId id="2147477949" r:id="rId589"/>
    <p:sldId id="2147477950" r:id="rId590"/>
    <p:sldId id="2147477951" r:id="rId591"/>
    <p:sldId id="2147477952" r:id="rId592"/>
    <p:sldId id="2147477953" r:id="rId593"/>
    <p:sldId id="2147477954" r:id="rId594"/>
    <p:sldId id="2147477955" r:id="rId595"/>
    <p:sldId id="2147477956" r:id="rId596"/>
    <p:sldId id="2147477957" r:id="rId597"/>
    <p:sldId id="2147477958" r:id="rId598"/>
    <p:sldId id="2147477959" r:id="rId599"/>
    <p:sldId id="2147477960" r:id="rId600"/>
    <p:sldId id="2147477961" r:id="rId601"/>
    <p:sldId id="2147477962" r:id="rId602"/>
    <p:sldId id="2147477963" r:id="rId603"/>
    <p:sldId id="2147477964" r:id="rId604"/>
    <p:sldId id="2147477965" r:id="rId605"/>
    <p:sldId id="2147477966" r:id="rId606"/>
    <p:sldId id="2147477967" r:id="rId607"/>
    <p:sldId id="2147477968" r:id="rId608"/>
    <p:sldId id="2147477969" r:id="rId609"/>
    <p:sldId id="2147477970" r:id="rId610"/>
    <p:sldId id="2147477971" r:id="rId611"/>
    <p:sldId id="2147477972" r:id="rId612"/>
    <p:sldId id="2147477973" r:id="rId613"/>
    <p:sldId id="2147477974" r:id="rId614"/>
    <p:sldId id="2147477975" r:id="rId615"/>
    <p:sldId id="2147477976" r:id="rId616"/>
    <p:sldId id="2147477977" r:id="rId617"/>
    <p:sldId id="2147477978" r:id="rId618"/>
    <p:sldId id="2147477979" r:id="rId619"/>
    <p:sldId id="2147477980" r:id="rId620"/>
    <p:sldId id="2147477981" r:id="rId621"/>
    <p:sldId id="2147477982" r:id="rId622"/>
    <p:sldId id="2147477983" r:id="rId623"/>
    <p:sldId id="2147477984" r:id="rId624"/>
    <p:sldId id="2147477985" r:id="rId625"/>
    <p:sldId id="2147477986" r:id="rId626"/>
    <p:sldId id="2147477987" r:id="rId627"/>
    <p:sldId id="2147477988" r:id="rId628"/>
    <p:sldId id="2147477989" r:id="rId629"/>
    <p:sldId id="2147477990" r:id="rId630"/>
    <p:sldId id="2147477991" r:id="rId631"/>
    <p:sldId id="2147477992" r:id="rId632"/>
    <p:sldId id="2147477993" r:id="rId633"/>
    <p:sldId id="2147477994" r:id="rId634"/>
    <p:sldId id="2147477995" r:id="rId635"/>
    <p:sldId id="2147477996" r:id="rId636"/>
    <p:sldId id="2147477997" r:id="rId637"/>
    <p:sldId id="2147477998" r:id="rId638"/>
    <p:sldId id="2147477999" r:id="rId639"/>
    <p:sldId id="2147478000" r:id="rId640"/>
    <p:sldId id="2147478001" r:id="rId641"/>
    <p:sldId id="2147478002" r:id="rId642"/>
    <p:sldId id="2147478003" r:id="rId643"/>
    <p:sldId id="2147478004" r:id="rId644"/>
    <p:sldId id="2147478005" r:id="rId645"/>
    <p:sldId id="2147478006" r:id="rId646"/>
    <p:sldId id="2147478007" r:id="rId647"/>
    <p:sldId id="2147478008" r:id="rId648"/>
    <p:sldId id="2147478009" r:id="rId649"/>
    <p:sldId id="2147478010" r:id="rId650"/>
    <p:sldId id="2147478011" r:id="rId651"/>
    <p:sldId id="2147478012" r:id="rId652"/>
    <p:sldId id="2147478013" r:id="rId653"/>
    <p:sldId id="2147478014" r:id="rId654"/>
    <p:sldId id="2147478015" r:id="rId655"/>
    <p:sldId id="2147478016" r:id="rId656"/>
    <p:sldId id="2147478017" r:id="rId657"/>
    <p:sldId id="2147478018" r:id="rId658"/>
    <p:sldId id="2147478019" r:id="rId659"/>
    <p:sldId id="2147478020" r:id="rId660"/>
    <p:sldId id="2147478021" r:id="rId661"/>
    <p:sldId id="2147478022" r:id="rId662"/>
    <p:sldId id="2147478023" r:id="rId663"/>
    <p:sldId id="2147478024" r:id="rId664"/>
    <p:sldId id="2147478025" r:id="rId665"/>
    <p:sldId id="2147478026" r:id="rId666"/>
    <p:sldId id="2147478027" r:id="rId667"/>
    <p:sldId id="2147478028" r:id="rId668"/>
    <p:sldId id="2147478029" r:id="rId669"/>
    <p:sldId id="2147478030" r:id="rId670"/>
    <p:sldId id="2147478031" r:id="rId671"/>
    <p:sldId id="2147478032" r:id="rId672"/>
    <p:sldId id="2147478033" r:id="rId673"/>
    <p:sldId id="2147478034" r:id="rId674"/>
    <p:sldId id="2147478035" r:id="rId675"/>
    <p:sldId id="2147478036" r:id="rId676"/>
    <p:sldId id="2147478037" r:id="rId677"/>
    <p:sldId id="2147478038" r:id="rId678"/>
    <p:sldId id="2147478039" r:id="rId679"/>
    <p:sldId id="2147478040" r:id="rId680"/>
    <p:sldId id="2147478041" r:id="rId681"/>
    <p:sldId id="2147478042" r:id="rId682"/>
    <p:sldId id="2147478043" r:id="rId683"/>
    <p:sldId id="2147478044" r:id="rId684"/>
    <p:sldId id="2147478045" r:id="rId685"/>
    <p:sldId id="2147478046" r:id="rId686"/>
    <p:sldId id="2147478047" r:id="rId687"/>
    <p:sldId id="2147478048" r:id="rId688"/>
    <p:sldId id="2147478049" r:id="rId689"/>
    <p:sldId id="2147478050" r:id="rId690"/>
    <p:sldId id="2147478051" r:id="rId691"/>
    <p:sldId id="2147478052" r:id="rId692"/>
    <p:sldId id="2147478053" r:id="rId693"/>
    <p:sldId id="2147478054" r:id="rId694"/>
    <p:sldId id="2147478055" r:id="rId695"/>
    <p:sldId id="2147478056" r:id="rId696"/>
    <p:sldId id="2147478057" r:id="rId697"/>
    <p:sldId id="2147478058" r:id="rId698"/>
    <p:sldId id="2147478059" r:id="rId699"/>
    <p:sldId id="2147478060" r:id="rId700"/>
    <p:sldId id="2147478061" r:id="rId701"/>
    <p:sldId id="2147478062" r:id="rId702"/>
    <p:sldId id="2147478063" r:id="rId703"/>
    <p:sldId id="2147478064" r:id="rId704"/>
    <p:sldId id="2147478065" r:id="rId705"/>
    <p:sldId id="2147478066" r:id="rId706"/>
    <p:sldId id="2147478067" r:id="rId707"/>
    <p:sldId id="2147478068" r:id="rId708"/>
    <p:sldId id="2147478069" r:id="rId709"/>
    <p:sldId id="2147478070" r:id="rId710"/>
    <p:sldId id="2147478071" r:id="rId711"/>
    <p:sldId id="2147478072" r:id="rId712"/>
    <p:sldId id="2147478073" r:id="rId713"/>
    <p:sldId id="2147478074" r:id="rId714"/>
    <p:sldId id="2147478075" r:id="rId715"/>
    <p:sldId id="2147478076" r:id="rId716"/>
    <p:sldId id="2147478077" r:id="rId717"/>
    <p:sldId id="2147478078" r:id="rId718"/>
    <p:sldId id="2147478079" r:id="rId719"/>
    <p:sldId id="2147478080" r:id="rId720"/>
    <p:sldId id="2147478081" r:id="rId721"/>
    <p:sldId id="2147478082" r:id="rId722"/>
    <p:sldId id="2147478083" r:id="rId723"/>
    <p:sldId id="2147478084" r:id="rId724"/>
    <p:sldId id="2147478085" r:id="rId725"/>
    <p:sldId id="2147478086" r:id="rId726"/>
    <p:sldId id="2147478087" r:id="rId727"/>
    <p:sldId id="2147478088" r:id="rId728"/>
    <p:sldId id="2147478089" r:id="rId729"/>
    <p:sldId id="2147478090" r:id="rId730"/>
    <p:sldId id="2147478091" r:id="rId731"/>
    <p:sldId id="2147478092" r:id="rId732"/>
    <p:sldId id="2147478093" r:id="rId733"/>
    <p:sldId id="2147478094" r:id="rId734"/>
    <p:sldId id="2147478095" r:id="rId735"/>
    <p:sldId id="2147478096" r:id="rId736"/>
    <p:sldId id="2147478097" r:id="rId737"/>
    <p:sldId id="2147478098" r:id="rId738"/>
    <p:sldId id="2147478099" r:id="rId739"/>
    <p:sldId id="2147478100" r:id="rId740"/>
    <p:sldId id="2147478101" r:id="rId741"/>
    <p:sldId id="2147478102" r:id="rId742"/>
    <p:sldId id="2147478103" r:id="rId743"/>
    <p:sldId id="2147478104" r:id="rId744"/>
    <p:sldId id="2147478105" r:id="rId745"/>
    <p:sldId id="2147478106" r:id="rId746"/>
    <p:sldId id="2147478107" r:id="rId747"/>
    <p:sldId id="2147478108" r:id="rId748"/>
    <p:sldId id="2147478109" r:id="rId749"/>
    <p:sldId id="2147478110" r:id="rId750"/>
    <p:sldId id="2147478111" r:id="rId751"/>
    <p:sldId id="2147478112" r:id="rId752"/>
    <p:sldId id="2147478113" r:id="rId753"/>
    <p:sldId id="2147478114" r:id="rId754"/>
    <p:sldId id="2147478115" r:id="rId755"/>
    <p:sldId id="2147478116" r:id="rId756"/>
    <p:sldId id="2147478117" r:id="rId757"/>
    <p:sldId id="2147478118" r:id="rId758"/>
    <p:sldId id="2147478119" r:id="rId759"/>
    <p:sldId id="2147478120" r:id="rId760"/>
    <p:sldId id="2147478121" r:id="rId761"/>
    <p:sldId id="2147478122" r:id="rId762"/>
    <p:sldId id="2147478123" r:id="rId763"/>
    <p:sldId id="2147478124" r:id="rId764"/>
    <p:sldId id="2147478125" r:id="rId765"/>
    <p:sldId id="2147478126" r:id="rId766"/>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Price Positioning Summary Category" id="{D5914874-4E48-4757-AC8F-9D2FBFAD6B99}">
          <p14:sldIdLst>
            <p14:sldId id="2147477365"/>
            <p14:sldId id="2147477366"/>
            <p14:sldId id="2147477367"/>
            <p14:sldId id="2147477368"/>
            <p14:sldId id="2147477369"/>
            <p14:sldId id="2147477370"/>
            <p14:sldId id="2147477371"/>
            <p14:sldId id="2147477372"/>
            <p14:sldId id="2147477373"/>
            <p14:sldId id="2147477374"/>
            <p14:sldId id="2147477375"/>
            <p14:sldId id="2147477376"/>
            <p14:sldId id="2147477377"/>
            <p14:sldId id="2147477378"/>
            <p14:sldId id="2147477379"/>
            <p14:sldId id="2147477380"/>
            <p14:sldId id="2147477381"/>
            <p14:sldId id="2147477382"/>
          </p14:sldIdLst>
        </p14:section>
        <p14:section name="Price Positioning Summary Sector" id="{0795E866-68EF-451A-B0ED-B3514B304DB2}">
          <p14:sldIdLst>
            <p14:sldId id="2147477383"/>
            <p14:sldId id="2147477384"/>
            <p14:sldId id="2147477385"/>
            <p14:sldId id="2147477386"/>
            <p14:sldId id="2147477387"/>
            <p14:sldId id="2147477388"/>
            <p14:sldId id="2147477389"/>
            <p14:sldId id="2147477390"/>
            <p14:sldId id="2147477391"/>
            <p14:sldId id="2147477392"/>
            <p14:sldId id="2147477393"/>
            <p14:sldId id="2147477394"/>
            <p14:sldId id="2147477395"/>
            <p14:sldId id="2147477396"/>
            <p14:sldId id="2147477397"/>
            <p14:sldId id="2147477398"/>
            <p14:sldId id="2147477399"/>
            <p14:sldId id="2147477400"/>
          </p14:sldIdLst>
        </p14:section>
        <p14:section name="Price Positioning Summary Segment" id="{6B1242D2-0F2D-4F58-A84B-8F6E3BF6547D}">
          <p14:sldIdLst>
            <p14:sldId id="2147477401"/>
            <p14:sldId id="2147477402"/>
            <p14:sldId id="2147477403"/>
            <p14:sldId id="2147477404"/>
            <p14:sldId id="2147477405"/>
            <p14:sldId id="2147477406"/>
            <p14:sldId id="2147477407"/>
            <p14:sldId id="2147477408"/>
            <p14:sldId id="2147477409"/>
            <p14:sldId id="2147477410"/>
            <p14:sldId id="2147477411"/>
            <p14:sldId id="2147477412"/>
            <p14:sldId id="2147477413"/>
            <p14:sldId id="2147477414"/>
            <p14:sldId id="2147477415"/>
            <p14:sldId id="2147477416"/>
            <p14:sldId id="2147477417"/>
            <p14:sldId id="2147477418"/>
            <p14:sldId id="2147477419"/>
            <p14:sldId id="2147477420"/>
            <p14:sldId id="2147477421"/>
            <p14:sldId id="2147477422"/>
            <p14:sldId id="2147477423"/>
            <p14:sldId id="2147477424"/>
            <p14:sldId id="2147477425"/>
            <p14:sldId id="2147477426"/>
            <p14:sldId id="2147477427"/>
            <p14:sldId id="2147477428"/>
            <p14:sldId id="2147477429"/>
            <p14:sldId id="2147477430"/>
            <p14:sldId id="2147477431"/>
            <p14:sldId id="2147477432"/>
            <p14:sldId id="2147477433"/>
            <p14:sldId id="2147477434"/>
            <p14:sldId id="2147477435"/>
            <p14:sldId id="2147477436"/>
            <p14:sldId id="2147477437"/>
            <p14:sldId id="2147477438"/>
            <p14:sldId id="2147477439"/>
            <p14:sldId id="2147477440"/>
            <p14:sldId id="2147477441"/>
            <p14:sldId id="2147477442"/>
            <p14:sldId id="2147477443"/>
            <p14:sldId id="2147477444"/>
            <p14:sldId id="2147477445"/>
            <p14:sldId id="2147477446"/>
            <p14:sldId id="2147477447"/>
            <p14:sldId id="2147477448"/>
            <p14:sldId id="2147477449"/>
            <p14:sldId id="2147477450"/>
            <p14:sldId id="2147477451"/>
            <p14:sldId id="2147477452"/>
            <p14:sldId id="2147477453"/>
            <p14:sldId id="2147477454"/>
          </p14:sldIdLst>
        </p14:section>
        <p14:section name="Price Positioning Analysis By Brands" id="{D47050D5-F1FB-49EA-8FB8-12157903843A}">
          <p14:sldIdLst>
            <p14:sldId id="2147477455"/>
            <p14:sldId id="2147477456"/>
            <p14:sldId id="2147477457"/>
            <p14:sldId id="2147477458"/>
            <p14:sldId id="2147477459"/>
            <p14:sldId id="2147477460"/>
            <p14:sldId id="2147477461"/>
            <p14:sldId id="2147477462"/>
            <p14:sldId id="2147477463"/>
            <p14:sldId id="2147477464"/>
            <p14:sldId id="2147477465"/>
            <p14:sldId id="2147477466"/>
            <p14:sldId id="2147477467"/>
            <p14:sldId id="2147477468"/>
            <p14:sldId id="2147477469"/>
            <p14:sldId id="2147477470"/>
            <p14:sldId id="2147477471"/>
            <p14:sldId id="2147477472"/>
            <p14:sldId id="2147477473"/>
            <p14:sldId id="2147477474"/>
            <p14:sldId id="2147477475"/>
            <p14:sldId id="2147477476"/>
            <p14:sldId id="2147477477"/>
            <p14:sldId id="2147477478"/>
            <p14:sldId id="2147477479"/>
            <p14:sldId id="2147477480"/>
            <p14:sldId id="2147477481"/>
            <p14:sldId id="2147477482"/>
            <p14:sldId id="2147477483"/>
            <p14:sldId id="2147477484"/>
            <p14:sldId id="2147477485"/>
            <p14:sldId id="2147477486"/>
            <p14:sldId id="2147477487"/>
            <p14:sldId id="2147477488"/>
            <p14:sldId id="2147477489"/>
            <p14:sldId id="2147477490"/>
            <p14:sldId id="2147477491"/>
            <p14:sldId id="2147477492"/>
            <p14:sldId id="2147477493"/>
            <p14:sldId id="2147477494"/>
            <p14:sldId id="2147477495"/>
            <p14:sldId id="2147477496"/>
            <p14:sldId id="2147477497"/>
            <p14:sldId id="2147477498"/>
            <p14:sldId id="2147477499"/>
            <p14:sldId id="2147477500"/>
            <p14:sldId id="2147477501"/>
            <p14:sldId id="2147477502"/>
            <p14:sldId id="2147477503"/>
            <p14:sldId id="2147477504"/>
            <p14:sldId id="2147477505"/>
            <p14:sldId id="2147477506"/>
            <p14:sldId id="2147477507"/>
            <p14:sldId id="2147477508"/>
            <p14:sldId id="2147477509"/>
            <p14:sldId id="2147477510"/>
            <p14:sldId id="2147477511"/>
            <p14:sldId id="2147477512"/>
            <p14:sldId id="2147477513"/>
            <p14:sldId id="2147477514"/>
            <p14:sldId id="2147477515"/>
            <p14:sldId id="2147477516"/>
            <p14:sldId id="2147477517"/>
            <p14:sldId id="2147477518"/>
            <p14:sldId id="2147477519"/>
            <p14:sldId id="2147477520"/>
            <p14:sldId id="2147477521"/>
            <p14:sldId id="2147477522"/>
            <p14:sldId id="2147477523"/>
            <p14:sldId id="2147477524"/>
            <p14:sldId id="2147477525"/>
            <p14:sldId id="2147477526"/>
            <p14:sldId id="2147477527"/>
            <p14:sldId id="2147477528"/>
            <p14:sldId id="2147477529"/>
            <p14:sldId id="2147477530"/>
            <p14:sldId id="2147477531"/>
            <p14:sldId id="2147477532"/>
            <p14:sldId id="2147477533"/>
            <p14:sldId id="2147477534"/>
            <p14:sldId id="2147477535"/>
            <p14:sldId id="2147477536"/>
            <p14:sldId id="2147477537"/>
            <p14:sldId id="2147477538"/>
            <p14:sldId id="2147477539"/>
            <p14:sldId id="2147477540"/>
            <p14:sldId id="2147477541"/>
            <p14:sldId id="2147477542"/>
            <p14:sldId id="2147477543"/>
            <p14:sldId id="2147477544"/>
            <p14:sldId id="2147477545"/>
            <p14:sldId id="2147477546"/>
            <p14:sldId id="2147477547"/>
            <p14:sldId id="2147477548"/>
            <p14:sldId id="2147477549"/>
            <p14:sldId id="2147477550"/>
            <p14:sldId id="2147477551"/>
            <p14:sldId id="2147477552"/>
            <p14:sldId id="2147477553"/>
            <p14:sldId id="2147477554"/>
            <p14:sldId id="2147477555"/>
            <p14:sldId id="2147477556"/>
            <p14:sldId id="2147477557"/>
            <p14:sldId id="2147477558"/>
            <p14:sldId id="2147477559"/>
            <p14:sldId id="2147477560"/>
            <p14:sldId id="2147477561"/>
            <p14:sldId id="2147477562"/>
            <p14:sldId id="2147477563"/>
            <p14:sldId id="2147477564"/>
            <p14:sldId id="2147477565"/>
            <p14:sldId id="2147477566"/>
            <p14:sldId id="2147477567"/>
            <p14:sldId id="2147477568"/>
            <p14:sldId id="2147477569"/>
            <p14:sldId id="2147477570"/>
            <p14:sldId id="2147477571"/>
            <p14:sldId id="2147477572"/>
            <p14:sldId id="2147477573"/>
            <p14:sldId id="2147477574"/>
            <p14:sldId id="2147477575"/>
            <p14:sldId id="2147477576"/>
            <p14:sldId id="2147477577"/>
            <p14:sldId id="2147477578"/>
            <p14:sldId id="2147477579"/>
            <p14:sldId id="2147477580"/>
            <p14:sldId id="2147477581"/>
            <p14:sldId id="2147477582"/>
            <p14:sldId id="2147477583"/>
            <p14:sldId id="2147477584"/>
            <p14:sldId id="2147477585"/>
            <p14:sldId id="2147477586"/>
            <p14:sldId id="2147477587"/>
            <p14:sldId id="2147477588"/>
            <p14:sldId id="2147477589"/>
            <p14:sldId id="2147477590"/>
            <p14:sldId id="2147477591"/>
            <p14:sldId id="2147477592"/>
            <p14:sldId id="2147477593"/>
            <p14:sldId id="2147477594"/>
            <p14:sldId id="2147477595"/>
            <p14:sldId id="2147477596"/>
            <p14:sldId id="2147477597"/>
            <p14:sldId id="2147477598"/>
            <p14:sldId id="2147477599"/>
            <p14:sldId id="2147477600"/>
            <p14:sldId id="2147477601"/>
            <p14:sldId id="2147477602"/>
            <p14:sldId id="2147477603"/>
            <p14:sldId id="2147477604"/>
            <p14:sldId id="2147477605"/>
            <p14:sldId id="2147477606"/>
            <p14:sldId id="2147477607"/>
            <p14:sldId id="2147477608"/>
            <p14:sldId id="2147477609"/>
            <p14:sldId id="2147477610"/>
            <p14:sldId id="2147477611"/>
            <p14:sldId id="2147477612"/>
            <p14:sldId id="2147477613"/>
            <p14:sldId id="2147477614"/>
            <p14:sldId id="2147477615"/>
            <p14:sldId id="2147477616"/>
            <p14:sldId id="2147477617"/>
            <p14:sldId id="2147477618"/>
            <p14:sldId id="2147477619"/>
            <p14:sldId id="2147477620"/>
            <p14:sldId id="2147477621"/>
            <p14:sldId id="2147477622"/>
            <p14:sldId id="2147477623"/>
            <p14:sldId id="2147477624"/>
            <p14:sldId id="2147477625"/>
            <p14:sldId id="2147477626"/>
            <p14:sldId id="2147477627"/>
            <p14:sldId id="2147477628"/>
            <p14:sldId id="2147477629"/>
            <p14:sldId id="2147477630"/>
            <p14:sldId id="2147477631"/>
            <p14:sldId id="2147477632"/>
            <p14:sldId id="2147477633"/>
            <p14:sldId id="2147477634"/>
            <p14:sldId id="2147477635"/>
            <p14:sldId id="2147477636"/>
            <p14:sldId id="2147477637"/>
            <p14:sldId id="2147477638"/>
            <p14:sldId id="2147477639"/>
            <p14:sldId id="2147477640"/>
            <p14:sldId id="2147477641"/>
            <p14:sldId id="2147477642"/>
            <p14:sldId id="2147477643"/>
            <p14:sldId id="2147477644"/>
            <p14:sldId id="2147477645"/>
            <p14:sldId id="2147477646"/>
            <p14:sldId id="2147477647"/>
            <p14:sldId id="2147477648"/>
            <p14:sldId id="2147477649"/>
            <p14:sldId id="2147477650"/>
            <p14:sldId id="2147477651"/>
            <p14:sldId id="2147477652"/>
            <p14:sldId id="2147477653"/>
            <p14:sldId id="2147477654"/>
            <p14:sldId id="2147477655"/>
            <p14:sldId id="2147477656"/>
            <p14:sldId id="2147477657"/>
            <p14:sldId id="2147477658"/>
            <p14:sldId id="2147477659"/>
            <p14:sldId id="2147477660"/>
            <p14:sldId id="2147477661"/>
            <p14:sldId id="2147477662"/>
            <p14:sldId id="2147477663"/>
            <p14:sldId id="2147477664"/>
            <p14:sldId id="2147477665"/>
            <p14:sldId id="2147477666"/>
            <p14:sldId id="2147477667"/>
            <p14:sldId id="2147477668"/>
            <p14:sldId id="2147477669"/>
            <p14:sldId id="2147477670"/>
            <p14:sldId id="2147477671"/>
            <p14:sldId id="2147477672"/>
            <p14:sldId id="2147477673"/>
            <p14:sldId id="2147477674"/>
            <p14:sldId id="2147477675"/>
            <p14:sldId id="2147477676"/>
            <p14:sldId id="2147477677"/>
            <p14:sldId id="2147477678"/>
            <p14:sldId id="2147477679"/>
            <p14:sldId id="2147477680"/>
            <p14:sldId id="2147477681"/>
            <p14:sldId id="2147477682"/>
            <p14:sldId id="2147477683"/>
            <p14:sldId id="2147477684"/>
            <p14:sldId id="2147477685"/>
            <p14:sldId id="2147477686"/>
            <p14:sldId id="2147477687"/>
            <p14:sldId id="2147477688"/>
            <p14:sldId id="2147477689"/>
            <p14:sldId id="2147477690"/>
            <p14:sldId id="2147477691"/>
            <p14:sldId id="2147477692"/>
            <p14:sldId id="2147477693"/>
            <p14:sldId id="2147477694"/>
            <p14:sldId id="2147477695"/>
            <p14:sldId id="2147477696"/>
            <p14:sldId id="2147477697"/>
            <p14:sldId id="2147477698"/>
            <p14:sldId id="2147477699"/>
            <p14:sldId id="2147477700"/>
            <p14:sldId id="2147477701"/>
            <p14:sldId id="2147477702"/>
            <p14:sldId id="2147477703"/>
            <p14:sldId id="2147477704"/>
            <p14:sldId id="2147477705"/>
            <p14:sldId id="2147477706"/>
            <p14:sldId id="2147477707"/>
            <p14:sldId id="2147477708"/>
            <p14:sldId id="2147477709"/>
            <p14:sldId id="2147477710"/>
            <p14:sldId id="2147477711"/>
            <p14:sldId id="2147477712"/>
            <p14:sldId id="2147477713"/>
            <p14:sldId id="2147477714"/>
            <p14:sldId id="2147477715"/>
            <p14:sldId id="2147477716"/>
            <p14:sldId id="2147477717"/>
            <p14:sldId id="2147477718"/>
            <p14:sldId id="2147477719"/>
            <p14:sldId id="2147477720"/>
            <p14:sldId id="2147477721"/>
            <p14:sldId id="2147477722"/>
            <p14:sldId id="2147477723"/>
          </p14:sldIdLst>
        </p14:section>
        <p14:section name="Price Positioning Analysis By Manufacturer" id="{A45FC5FF-1413-45FD-86B3-922F2815AC0D}">
          <p14:sldIdLst>
            <p14:sldId id="2147477724"/>
            <p14:sldId id="2147477725"/>
            <p14:sldId id="2147477726"/>
            <p14:sldId id="2147477727"/>
            <p14:sldId id="2147477728"/>
            <p14:sldId id="2147477729"/>
            <p14:sldId id="2147477730"/>
            <p14:sldId id="2147477731"/>
            <p14:sldId id="2147477732"/>
            <p14:sldId id="2147477733"/>
            <p14:sldId id="2147477734"/>
            <p14:sldId id="2147477735"/>
            <p14:sldId id="2147477736"/>
            <p14:sldId id="2147477737"/>
            <p14:sldId id="2147477738"/>
            <p14:sldId id="2147477739"/>
            <p14:sldId id="2147477740"/>
            <p14:sldId id="2147477741"/>
            <p14:sldId id="2147477742"/>
            <p14:sldId id="2147477743"/>
            <p14:sldId id="2147477744"/>
            <p14:sldId id="2147477745"/>
            <p14:sldId id="2147477746"/>
            <p14:sldId id="2147477747"/>
            <p14:sldId id="2147477748"/>
            <p14:sldId id="2147477749"/>
            <p14:sldId id="2147477750"/>
            <p14:sldId id="2147477751"/>
            <p14:sldId id="2147477752"/>
            <p14:sldId id="2147477753"/>
            <p14:sldId id="2147477754"/>
            <p14:sldId id="2147477755"/>
            <p14:sldId id="2147477756"/>
            <p14:sldId id="2147477757"/>
            <p14:sldId id="2147477758"/>
            <p14:sldId id="2147477759"/>
            <p14:sldId id="2147477760"/>
            <p14:sldId id="2147477761"/>
            <p14:sldId id="2147477762"/>
            <p14:sldId id="2147477763"/>
            <p14:sldId id="2147477764"/>
            <p14:sldId id="2147477765"/>
            <p14:sldId id="2147477766"/>
            <p14:sldId id="2147477767"/>
            <p14:sldId id="2147477768"/>
            <p14:sldId id="2147477769"/>
            <p14:sldId id="2147477770"/>
            <p14:sldId id="2147477771"/>
            <p14:sldId id="2147477772"/>
            <p14:sldId id="2147477773"/>
            <p14:sldId id="2147477774"/>
            <p14:sldId id="2147477775"/>
            <p14:sldId id="2147477776"/>
            <p14:sldId id="2147477777"/>
            <p14:sldId id="2147477778"/>
            <p14:sldId id="2147477779"/>
            <p14:sldId id="2147477780"/>
            <p14:sldId id="2147477781"/>
            <p14:sldId id="2147477782"/>
            <p14:sldId id="2147477783"/>
            <p14:sldId id="2147477784"/>
            <p14:sldId id="2147477785"/>
            <p14:sldId id="2147477786"/>
            <p14:sldId id="2147477787"/>
            <p14:sldId id="2147477788"/>
            <p14:sldId id="2147477789"/>
            <p14:sldId id="2147477790"/>
            <p14:sldId id="2147477791"/>
            <p14:sldId id="2147477792"/>
            <p14:sldId id="2147477793"/>
            <p14:sldId id="2147477794"/>
            <p14:sldId id="2147477795"/>
            <p14:sldId id="2147477796"/>
            <p14:sldId id="2147477797"/>
            <p14:sldId id="2147477798"/>
            <p14:sldId id="2147477799"/>
            <p14:sldId id="2147477800"/>
            <p14:sldId id="2147477801"/>
            <p14:sldId id="2147477802"/>
            <p14:sldId id="2147477803"/>
            <p14:sldId id="2147477804"/>
            <p14:sldId id="2147477805"/>
            <p14:sldId id="2147477806"/>
            <p14:sldId id="2147477807"/>
            <p14:sldId id="2147477808"/>
            <p14:sldId id="2147477809"/>
            <p14:sldId id="2147477810"/>
            <p14:sldId id="2147477811"/>
            <p14:sldId id="2147477812"/>
            <p14:sldId id="2147477813"/>
            <p14:sldId id="2147477814"/>
            <p14:sldId id="2147477815"/>
            <p14:sldId id="2147477816"/>
            <p14:sldId id="2147477817"/>
            <p14:sldId id="2147477818"/>
            <p14:sldId id="2147477819"/>
            <p14:sldId id="2147477820"/>
            <p14:sldId id="2147477821"/>
            <p14:sldId id="2147477822"/>
            <p14:sldId id="2147477823"/>
            <p14:sldId id="2147477824"/>
            <p14:sldId id="2147477825"/>
            <p14:sldId id="2147477826"/>
            <p14:sldId id="2147477827"/>
            <p14:sldId id="2147477828"/>
            <p14:sldId id="2147477829"/>
            <p14:sldId id="2147477830"/>
            <p14:sldId id="2147477831"/>
            <p14:sldId id="2147477832"/>
            <p14:sldId id="2147477833"/>
            <p14:sldId id="2147477834"/>
            <p14:sldId id="2147477835"/>
            <p14:sldId id="2147477836"/>
            <p14:sldId id="2147477837"/>
            <p14:sldId id="2147477838"/>
            <p14:sldId id="2147477839"/>
            <p14:sldId id="2147477840"/>
            <p14:sldId id="2147477841"/>
            <p14:sldId id="2147477842"/>
            <p14:sldId id="2147477843"/>
            <p14:sldId id="2147477844"/>
            <p14:sldId id="2147477845"/>
            <p14:sldId id="2147477846"/>
            <p14:sldId id="2147477847"/>
            <p14:sldId id="2147477848"/>
            <p14:sldId id="2147477849"/>
            <p14:sldId id="2147477850"/>
            <p14:sldId id="2147477851"/>
            <p14:sldId id="2147477852"/>
            <p14:sldId id="2147477853"/>
            <p14:sldId id="2147477854"/>
            <p14:sldId id="2147477855"/>
            <p14:sldId id="2147477856"/>
            <p14:sldId id="2147477857"/>
            <p14:sldId id="2147477858"/>
            <p14:sldId id="2147477859"/>
            <p14:sldId id="2147477860"/>
            <p14:sldId id="2147477861"/>
            <p14:sldId id="2147477862"/>
            <p14:sldId id="2147477863"/>
            <p14:sldId id="2147477864"/>
            <p14:sldId id="2147477865"/>
            <p14:sldId id="2147477866"/>
            <p14:sldId id="2147477867"/>
            <p14:sldId id="2147477868"/>
            <p14:sldId id="2147477869"/>
            <p14:sldId id="2147477870"/>
            <p14:sldId id="2147477871"/>
            <p14:sldId id="2147477872"/>
            <p14:sldId id="2147477873"/>
            <p14:sldId id="2147477874"/>
            <p14:sldId id="2147477875"/>
            <p14:sldId id="2147477876"/>
            <p14:sldId id="2147477877"/>
            <p14:sldId id="2147477878"/>
            <p14:sldId id="2147477879"/>
            <p14:sldId id="2147477880"/>
            <p14:sldId id="2147477881"/>
            <p14:sldId id="2147477882"/>
            <p14:sldId id="2147477883"/>
            <p14:sldId id="2147477884"/>
            <p14:sldId id="2147477885"/>
            <p14:sldId id="2147477886"/>
            <p14:sldId id="2147477887"/>
            <p14:sldId id="2147477888"/>
            <p14:sldId id="2147477889"/>
            <p14:sldId id="2147477890"/>
            <p14:sldId id="2147477891"/>
            <p14:sldId id="2147477892"/>
            <p14:sldId id="2147477893"/>
            <p14:sldId id="2147477894"/>
            <p14:sldId id="2147477895"/>
            <p14:sldId id="2147477896"/>
            <p14:sldId id="2147477897"/>
            <p14:sldId id="2147477898"/>
            <p14:sldId id="2147477899"/>
            <p14:sldId id="2147477900"/>
            <p14:sldId id="2147477901"/>
            <p14:sldId id="2147477902"/>
            <p14:sldId id="2147477903"/>
            <p14:sldId id="2147477904"/>
            <p14:sldId id="2147477905"/>
            <p14:sldId id="2147477906"/>
            <p14:sldId id="2147477907"/>
            <p14:sldId id="2147477908"/>
            <p14:sldId id="2147477909"/>
            <p14:sldId id="2147477910"/>
            <p14:sldId id="2147477911"/>
            <p14:sldId id="2147477912"/>
            <p14:sldId id="2147477913"/>
            <p14:sldId id="2147477914"/>
            <p14:sldId id="2147477915"/>
            <p14:sldId id="2147477916"/>
            <p14:sldId id="2147477917"/>
            <p14:sldId id="2147477918"/>
            <p14:sldId id="2147477919"/>
            <p14:sldId id="2147477920"/>
            <p14:sldId id="2147477921"/>
            <p14:sldId id="2147477922"/>
            <p14:sldId id="2147477923"/>
            <p14:sldId id="2147477924"/>
            <p14:sldId id="2147477925"/>
            <p14:sldId id="2147477926"/>
            <p14:sldId id="2147477927"/>
            <p14:sldId id="2147477928"/>
            <p14:sldId id="2147477929"/>
            <p14:sldId id="2147477930"/>
            <p14:sldId id="2147477931"/>
            <p14:sldId id="2147477932"/>
            <p14:sldId id="2147477933"/>
            <p14:sldId id="2147477934"/>
            <p14:sldId id="2147477935"/>
            <p14:sldId id="2147477936"/>
            <p14:sldId id="2147477937"/>
            <p14:sldId id="2147477938"/>
            <p14:sldId id="2147477939"/>
            <p14:sldId id="2147477940"/>
            <p14:sldId id="2147477941"/>
            <p14:sldId id="2147477942"/>
            <p14:sldId id="2147477943"/>
            <p14:sldId id="2147477944"/>
            <p14:sldId id="2147477945"/>
            <p14:sldId id="2147477946"/>
            <p14:sldId id="2147477947"/>
            <p14:sldId id="2147477948"/>
            <p14:sldId id="2147477949"/>
            <p14:sldId id="2147477950"/>
            <p14:sldId id="2147477951"/>
            <p14:sldId id="2147477952"/>
            <p14:sldId id="2147477953"/>
            <p14:sldId id="2147477954"/>
            <p14:sldId id="2147477955"/>
            <p14:sldId id="2147477956"/>
            <p14:sldId id="2147477957"/>
            <p14:sldId id="2147477958"/>
            <p14:sldId id="2147477959"/>
            <p14:sldId id="2147477960"/>
            <p14:sldId id="2147477961"/>
            <p14:sldId id="2147477962"/>
            <p14:sldId id="2147477963"/>
            <p14:sldId id="2147477964"/>
            <p14:sldId id="2147477965"/>
            <p14:sldId id="2147477966"/>
            <p14:sldId id="2147477967"/>
            <p14:sldId id="2147477968"/>
            <p14:sldId id="2147477969"/>
            <p14:sldId id="2147477970"/>
            <p14:sldId id="2147477971"/>
            <p14:sldId id="2147477972"/>
            <p14:sldId id="2147477973"/>
            <p14:sldId id="2147477974"/>
            <p14:sldId id="2147477975"/>
            <p14:sldId id="2147477976"/>
            <p14:sldId id="2147477977"/>
            <p14:sldId id="2147477978"/>
            <p14:sldId id="2147477979"/>
            <p14:sldId id="2147477980"/>
            <p14:sldId id="2147477981"/>
            <p14:sldId id="2147477982"/>
            <p14:sldId id="2147477983"/>
            <p14:sldId id="2147477984"/>
            <p14:sldId id="2147477985"/>
            <p14:sldId id="2147477986"/>
            <p14:sldId id="2147477987"/>
            <p14:sldId id="2147477988"/>
            <p14:sldId id="2147477989"/>
            <p14:sldId id="2147477990"/>
            <p14:sldId id="2147477991"/>
            <p14:sldId id="2147477992"/>
          </p14:sldIdLst>
        </p14:section>
        <p14:section name="Sectors Share and Growth By Brands" id="{4471BC14-2B50-401C-98BC-B4CE0353C355}">
          <p14:sldIdLst>
            <p14:sldId id="2147477993"/>
            <p14:sldId id="2147477994"/>
            <p14:sldId id="2147477995"/>
            <p14:sldId id="2147477996"/>
            <p14:sldId id="2147477997"/>
            <p14:sldId id="2147477998"/>
            <p14:sldId id="2147477999"/>
            <p14:sldId id="2147478000"/>
            <p14:sldId id="2147478001"/>
            <p14:sldId id="2147478002"/>
            <p14:sldId id="2147478003"/>
          </p14:sldIdLst>
        </p14:section>
        <p14:section name="Segments Share and Growth By Brands" id="{C3AF053A-D8AB-4EF4-9B5F-3F452F2CC72D}">
          <p14:sldIdLst>
            <p14:sldId id="2147478004"/>
            <p14:sldId id="2147478005"/>
            <p14:sldId id="2147478006"/>
            <p14:sldId id="2147478007"/>
            <p14:sldId id="2147478008"/>
            <p14:sldId id="2147478009"/>
            <p14:sldId id="2147478010"/>
            <p14:sldId id="2147478011"/>
            <p14:sldId id="2147478012"/>
            <p14:sldId id="2147478013"/>
            <p14:sldId id="2147478014"/>
            <p14:sldId id="2147478015"/>
            <p14:sldId id="2147478016"/>
            <p14:sldId id="2147478017"/>
            <p14:sldId id="2147478018"/>
            <p14:sldId id="2147478019"/>
            <p14:sldId id="2147478020"/>
            <p14:sldId id="2147478021"/>
            <p14:sldId id="2147478022"/>
            <p14:sldId id="2147478023"/>
            <p14:sldId id="2147478024"/>
            <p14:sldId id="2147478025"/>
          </p14:sldIdLst>
        </p14:section>
        <p14:section name="Sectors Share and Growth By Manufacturer" id="{62FE0416-894A-4F44-BE54-758AC35E9F65}">
          <p14:sldIdLst>
            <p14:sldId id="2147478026"/>
            <p14:sldId id="2147478027"/>
            <p14:sldId id="2147478028"/>
            <p14:sldId id="2147478029"/>
            <p14:sldId id="2147478030"/>
            <p14:sldId id="2147478031"/>
            <p14:sldId id="2147478032"/>
            <p14:sldId id="2147478033"/>
            <p14:sldId id="2147478034"/>
            <p14:sldId id="2147478035"/>
            <p14:sldId id="2147478036"/>
          </p14:sldIdLst>
        </p14:section>
        <p14:section name="Segments Share and Growth By Manufacturer" id="{6613E301-3062-4FF2-861E-81B8B94B74AF}">
          <p14:sldIdLst>
            <p14:sldId id="2147478037"/>
            <p14:sldId id="2147478038"/>
            <p14:sldId id="2147478039"/>
            <p14:sldId id="2147478040"/>
            <p14:sldId id="2147478041"/>
            <p14:sldId id="2147478042"/>
            <p14:sldId id="2147478043"/>
            <p14:sldId id="2147478044"/>
            <p14:sldId id="2147478045"/>
            <p14:sldId id="2147478046"/>
            <p14:sldId id="2147478047"/>
            <p14:sldId id="2147478048"/>
            <p14:sldId id="2147478049"/>
            <p14:sldId id="2147478050"/>
            <p14:sldId id="2147478051"/>
            <p14:sldId id="2147478052"/>
            <p14:sldId id="2147478053"/>
            <p14:sldId id="2147478054"/>
            <p14:sldId id="2147478055"/>
            <p14:sldId id="2147478056"/>
            <p14:sldId id="2147478057"/>
            <p14:sldId id="2147478058"/>
          </p14:sldIdLst>
        </p14:section>
        <p14:section name="Sec/Seg Value Sales Vs Avg Price By Manufacturer" id="{6F8252BC-AB48-4F00-90B1-324E53B1179C}">
          <p14:sldIdLst>
            <p14:sldId id="2147478059"/>
            <p14:sldId id="2147478060"/>
            <p14:sldId id="2147478061"/>
            <p14:sldId id="2147478062"/>
            <p14:sldId id="2147478063"/>
            <p14:sldId id="2147478064"/>
            <p14:sldId id="2147478065"/>
            <p14:sldId id="2147478066"/>
            <p14:sldId id="2147478067"/>
            <p14:sldId id="2147478068"/>
            <p14:sldId id="2147478069"/>
            <p14:sldId id="2147478070"/>
            <p14:sldId id="2147478071"/>
            <p14:sldId id="2147478072"/>
            <p14:sldId id="2147478073"/>
            <p14:sldId id="2147478074"/>
            <p14:sldId id="2147478075"/>
          </p14:sldIdLst>
        </p14:section>
        <p14:section name="Sec/Seg Value Sales Vs Avg Price" id="{622DAADE-2F5F-4610-8F08-D45DFA4E6FEA}">
          <p14:sldIdLst>
            <p14:sldId id="2147478076"/>
            <p14:sldId id="2147478077"/>
            <p14:sldId id="2147478078"/>
            <p14:sldId id="2147478079"/>
            <p14:sldId id="2147478080"/>
            <p14:sldId id="2147478081"/>
            <p14:sldId id="2147478082"/>
            <p14:sldId id="2147478083"/>
            <p14:sldId id="2147478084"/>
            <p14:sldId id="2147478085"/>
            <p14:sldId id="2147478086"/>
            <p14:sldId id="2147478087"/>
            <p14:sldId id="2147478088"/>
            <p14:sldId id="2147478089"/>
            <p14:sldId id="2147478090"/>
            <p14:sldId id="2147478091"/>
            <p14:sldId id="2147478092"/>
          </p14:sldIdLst>
        </p14:section>
        <p14:section name="Sectors Value Sales Vs Avg Price" id="{6E85A190-095A-4937-A7C7-8E181F5B1AE3}">
          <p14:sldIdLst>
            <p14:sldId id="2147478093"/>
            <p14:sldId id="2147478094"/>
            <p14:sldId id="2147478095"/>
            <p14:sldId id="2147478096"/>
            <p14:sldId id="2147478097"/>
            <p14:sldId id="2147478098"/>
            <p14:sldId id="2147478099"/>
            <p14:sldId id="2147478100"/>
            <p14:sldId id="2147478101"/>
            <p14:sldId id="2147478102"/>
            <p14:sldId id="2147478103"/>
            <p14:sldId id="2147478104"/>
            <p14:sldId id="2147478105"/>
            <p14:sldId id="2147478106"/>
            <p14:sldId id="2147478107"/>
            <p14:sldId id="2147478108"/>
            <p14:sldId id="2147478109"/>
          </p14:sldIdLst>
        </p14:section>
        <p14:section name="Segment Value Sales Vs Avg Price" id="{5F6C24C8-2D15-4836-BE6D-9248DAA4E990}">
          <p14:sldIdLst>
            <p14:sldId id="2147478110"/>
            <p14:sldId id="2147478111"/>
            <p14:sldId id="2147478112"/>
            <p14:sldId id="2147478113"/>
            <p14:sldId id="2147478114"/>
            <p14:sldId id="2147478115"/>
            <p14:sldId id="2147478116"/>
            <p14:sldId id="2147478117"/>
            <p14:sldId id="2147478118"/>
            <p14:sldId id="2147478119"/>
            <p14:sldId id="2147478120"/>
            <p14:sldId id="2147478121"/>
            <p14:sldId id="2147478122"/>
            <p14:sldId id="2147478123"/>
            <p14:sldId id="2147478124"/>
            <p14:sldId id="2147478125"/>
            <p14:sldId id="2147478126"/>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2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C00000"/>
    <a:srgbClr val="00A097"/>
    <a:srgbClr val="006C6D"/>
    <a:srgbClr val="99CC00"/>
    <a:srgbClr val="CCFF66"/>
    <a:srgbClr val="99EA16"/>
    <a:srgbClr val="AEABAB"/>
    <a:srgbClr val="BCBBBB"/>
    <a:srgbClr val="7ECAC4"/>
    <a:srgbClr val="CFCEC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106" d="100"/>
          <a:sy n="106" d="100"/>
        </p:scale>
        <p:origin x="60" y="300"/>
      </p:cViewPr>
      <p:guideLst>
        <p:guide orient="horz" pos="940"/>
        <p:guide pos="2880"/>
        <p:guide orient="horz" pos="172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113.xml"/><Relationship Id="rId671" Type="http://schemas.openxmlformats.org/officeDocument/2006/relationships/slide" Target="slides/slide667.xml"/><Relationship Id="rId769" Type="http://schemas.openxmlformats.org/officeDocument/2006/relationships/viewProps" Target="viewProps.xml"/><Relationship Id="rId21" Type="http://schemas.openxmlformats.org/officeDocument/2006/relationships/slide" Target="slides/slide17.xml"/><Relationship Id="rId324" Type="http://schemas.openxmlformats.org/officeDocument/2006/relationships/slide" Target="slides/slide320.xml"/><Relationship Id="rId531" Type="http://schemas.openxmlformats.org/officeDocument/2006/relationships/slide" Target="slides/slide527.xml"/><Relationship Id="rId629" Type="http://schemas.openxmlformats.org/officeDocument/2006/relationships/slide" Target="slides/slide625.xml"/><Relationship Id="rId170" Type="http://schemas.openxmlformats.org/officeDocument/2006/relationships/slide" Target="slides/slide166.xml"/><Relationship Id="rId268" Type="http://schemas.openxmlformats.org/officeDocument/2006/relationships/slide" Target="slides/slide264.xml"/><Relationship Id="rId475" Type="http://schemas.openxmlformats.org/officeDocument/2006/relationships/slide" Target="slides/slide471.xml"/><Relationship Id="rId682" Type="http://schemas.openxmlformats.org/officeDocument/2006/relationships/slide" Target="slides/slide678.xml"/><Relationship Id="rId32" Type="http://schemas.openxmlformats.org/officeDocument/2006/relationships/slide" Target="slides/slide28.xml"/><Relationship Id="rId128" Type="http://schemas.openxmlformats.org/officeDocument/2006/relationships/slide" Target="slides/slide124.xml"/><Relationship Id="rId335" Type="http://schemas.openxmlformats.org/officeDocument/2006/relationships/slide" Target="slides/slide331.xml"/><Relationship Id="rId542" Type="http://schemas.openxmlformats.org/officeDocument/2006/relationships/slide" Target="slides/slide538.xml"/><Relationship Id="rId181" Type="http://schemas.openxmlformats.org/officeDocument/2006/relationships/slide" Target="slides/slide177.xml"/><Relationship Id="rId402" Type="http://schemas.openxmlformats.org/officeDocument/2006/relationships/slide" Target="slides/slide398.xml"/><Relationship Id="rId279" Type="http://schemas.openxmlformats.org/officeDocument/2006/relationships/slide" Target="slides/slide275.xml"/><Relationship Id="rId486" Type="http://schemas.openxmlformats.org/officeDocument/2006/relationships/slide" Target="slides/slide482.xml"/><Relationship Id="rId693" Type="http://schemas.openxmlformats.org/officeDocument/2006/relationships/slide" Target="slides/slide689.xml"/><Relationship Id="rId707" Type="http://schemas.openxmlformats.org/officeDocument/2006/relationships/slide" Target="slides/slide703.xml"/><Relationship Id="rId43" Type="http://schemas.openxmlformats.org/officeDocument/2006/relationships/slide" Target="slides/slide39.xml"/><Relationship Id="rId139" Type="http://schemas.openxmlformats.org/officeDocument/2006/relationships/slide" Target="slides/slide135.xml"/><Relationship Id="rId346" Type="http://schemas.openxmlformats.org/officeDocument/2006/relationships/slide" Target="slides/slide342.xml"/><Relationship Id="rId553" Type="http://schemas.openxmlformats.org/officeDocument/2006/relationships/slide" Target="slides/slide549.xml"/><Relationship Id="rId760" Type="http://schemas.openxmlformats.org/officeDocument/2006/relationships/slide" Target="slides/slide756.xml"/><Relationship Id="rId192" Type="http://schemas.openxmlformats.org/officeDocument/2006/relationships/slide" Target="slides/slide188.xml"/><Relationship Id="rId206" Type="http://schemas.openxmlformats.org/officeDocument/2006/relationships/slide" Target="slides/slide202.xml"/><Relationship Id="rId413" Type="http://schemas.openxmlformats.org/officeDocument/2006/relationships/slide" Target="slides/slide409.xml"/><Relationship Id="rId497" Type="http://schemas.openxmlformats.org/officeDocument/2006/relationships/slide" Target="slides/slide493.xml"/><Relationship Id="rId620" Type="http://schemas.openxmlformats.org/officeDocument/2006/relationships/slide" Target="slides/slide616.xml"/><Relationship Id="rId718" Type="http://schemas.openxmlformats.org/officeDocument/2006/relationships/slide" Target="slides/slide714.xml"/><Relationship Id="rId357" Type="http://schemas.openxmlformats.org/officeDocument/2006/relationships/slide" Target="slides/slide353.xml"/><Relationship Id="rId54" Type="http://schemas.openxmlformats.org/officeDocument/2006/relationships/slide" Target="slides/slide50.xml"/><Relationship Id="rId217" Type="http://schemas.openxmlformats.org/officeDocument/2006/relationships/slide" Target="slides/slide213.xml"/><Relationship Id="rId564" Type="http://schemas.openxmlformats.org/officeDocument/2006/relationships/slide" Target="slides/slide560.xml"/><Relationship Id="rId771" Type="http://schemas.openxmlformats.org/officeDocument/2006/relationships/tableStyles" Target="tableStyles.xml"/><Relationship Id="rId424" Type="http://schemas.openxmlformats.org/officeDocument/2006/relationships/slide" Target="slides/slide420.xml"/><Relationship Id="rId631" Type="http://schemas.openxmlformats.org/officeDocument/2006/relationships/slide" Target="slides/slide627.xml"/><Relationship Id="rId729" Type="http://schemas.openxmlformats.org/officeDocument/2006/relationships/slide" Target="slides/slide725.xml"/><Relationship Id="rId270" Type="http://schemas.openxmlformats.org/officeDocument/2006/relationships/slide" Target="slides/slide266.xml"/><Relationship Id="rId65" Type="http://schemas.openxmlformats.org/officeDocument/2006/relationships/slide" Target="slides/slide61.xml"/><Relationship Id="rId130" Type="http://schemas.openxmlformats.org/officeDocument/2006/relationships/slide" Target="slides/slide126.xml"/><Relationship Id="rId368" Type="http://schemas.openxmlformats.org/officeDocument/2006/relationships/slide" Target="slides/slide364.xml"/><Relationship Id="rId575" Type="http://schemas.openxmlformats.org/officeDocument/2006/relationships/slide" Target="slides/slide571.xml"/><Relationship Id="rId228" Type="http://schemas.openxmlformats.org/officeDocument/2006/relationships/slide" Target="slides/slide224.xml"/><Relationship Id="rId435" Type="http://schemas.openxmlformats.org/officeDocument/2006/relationships/slide" Target="slides/slide431.xml"/><Relationship Id="rId642" Type="http://schemas.openxmlformats.org/officeDocument/2006/relationships/slide" Target="slides/slide638.xml"/><Relationship Id="rId281" Type="http://schemas.openxmlformats.org/officeDocument/2006/relationships/slide" Target="slides/slide277.xml"/><Relationship Id="rId502" Type="http://schemas.openxmlformats.org/officeDocument/2006/relationships/slide" Target="slides/slide498.xml"/><Relationship Id="rId76" Type="http://schemas.openxmlformats.org/officeDocument/2006/relationships/slide" Target="slides/slide72.xml"/><Relationship Id="rId141" Type="http://schemas.openxmlformats.org/officeDocument/2006/relationships/slide" Target="slides/slide137.xml"/><Relationship Id="rId379" Type="http://schemas.openxmlformats.org/officeDocument/2006/relationships/slide" Target="slides/slide375.xml"/><Relationship Id="rId586" Type="http://schemas.openxmlformats.org/officeDocument/2006/relationships/slide" Target="slides/slide582.xml"/><Relationship Id="rId7" Type="http://schemas.openxmlformats.org/officeDocument/2006/relationships/slide" Target="slides/slide3.xml"/><Relationship Id="rId239" Type="http://schemas.openxmlformats.org/officeDocument/2006/relationships/slide" Target="slides/slide235.xml"/><Relationship Id="rId446" Type="http://schemas.openxmlformats.org/officeDocument/2006/relationships/slide" Target="slides/slide442.xml"/><Relationship Id="rId653" Type="http://schemas.openxmlformats.org/officeDocument/2006/relationships/slide" Target="slides/slide649.xml"/><Relationship Id="rId292" Type="http://schemas.openxmlformats.org/officeDocument/2006/relationships/slide" Target="slides/slide288.xml"/><Relationship Id="rId306" Type="http://schemas.openxmlformats.org/officeDocument/2006/relationships/slide" Target="slides/slide302.xml"/><Relationship Id="rId87" Type="http://schemas.openxmlformats.org/officeDocument/2006/relationships/slide" Target="slides/slide83.xml"/><Relationship Id="rId513" Type="http://schemas.openxmlformats.org/officeDocument/2006/relationships/slide" Target="slides/slide509.xml"/><Relationship Id="rId597" Type="http://schemas.openxmlformats.org/officeDocument/2006/relationships/slide" Target="slides/slide593.xml"/><Relationship Id="rId720" Type="http://schemas.openxmlformats.org/officeDocument/2006/relationships/slide" Target="slides/slide716.xml"/><Relationship Id="rId152" Type="http://schemas.openxmlformats.org/officeDocument/2006/relationships/slide" Target="slides/slide148.xml"/><Relationship Id="rId457" Type="http://schemas.openxmlformats.org/officeDocument/2006/relationships/slide" Target="slides/slide453.xml"/><Relationship Id="rId664" Type="http://schemas.openxmlformats.org/officeDocument/2006/relationships/slide" Target="slides/slide660.xml"/><Relationship Id="rId14" Type="http://schemas.openxmlformats.org/officeDocument/2006/relationships/slide" Target="slides/slide10.xml"/><Relationship Id="rId317" Type="http://schemas.openxmlformats.org/officeDocument/2006/relationships/slide" Target="slides/slide313.xml"/><Relationship Id="rId524" Type="http://schemas.openxmlformats.org/officeDocument/2006/relationships/slide" Target="slides/slide520.xml"/><Relationship Id="rId731" Type="http://schemas.openxmlformats.org/officeDocument/2006/relationships/slide" Target="slides/slide727.xml"/><Relationship Id="rId98" Type="http://schemas.openxmlformats.org/officeDocument/2006/relationships/slide" Target="slides/slide94.xml"/><Relationship Id="rId163" Type="http://schemas.openxmlformats.org/officeDocument/2006/relationships/slide" Target="slides/slide159.xml"/><Relationship Id="rId370" Type="http://schemas.openxmlformats.org/officeDocument/2006/relationships/slide" Target="slides/slide366.xml"/><Relationship Id="rId230" Type="http://schemas.openxmlformats.org/officeDocument/2006/relationships/slide" Target="slides/slide226.xml"/><Relationship Id="rId468" Type="http://schemas.openxmlformats.org/officeDocument/2006/relationships/slide" Target="slides/slide464.xml"/><Relationship Id="rId675" Type="http://schemas.openxmlformats.org/officeDocument/2006/relationships/slide" Target="slides/slide671.xml"/><Relationship Id="rId25" Type="http://schemas.openxmlformats.org/officeDocument/2006/relationships/slide" Target="slides/slide21.xml"/><Relationship Id="rId328" Type="http://schemas.openxmlformats.org/officeDocument/2006/relationships/slide" Target="slides/slide324.xml"/><Relationship Id="rId535" Type="http://schemas.openxmlformats.org/officeDocument/2006/relationships/slide" Target="slides/slide531.xml"/><Relationship Id="rId742" Type="http://schemas.openxmlformats.org/officeDocument/2006/relationships/slide" Target="slides/slide738.xml"/><Relationship Id="rId174" Type="http://schemas.openxmlformats.org/officeDocument/2006/relationships/slide" Target="slides/slide170.xml"/><Relationship Id="rId381" Type="http://schemas.openxmlformats.org/officeDocument/2006/relationships/slide" Target="slides/slide377.xml"/><Relationship Id="rId602" Type="http://schemas.openxmlformats.org/officeDocument/2006/relationships/slide" Target="slides/slide598.xml"/><Relationship Id="rId241" Type="http://schemas.openxmlformats.org/officeDocument/2006/relationships/slide" Target="slides/slide237.xml"/><Relationship Id="rId479" Type="http://schemas.openxmlformats.org/officeDocument/2006/relationships/slide" Target="slides/slide475.xml"/><Relationship Id="rId686" Type="http://schemas.openxmlformats.org/officeDocument/2006/relationships/slide" Target="slides/slide682.xml"/><Relationship Id="rId36" Type="http://schemas.openxmlformats.org/officeDocument/2006/relationships/slide" Target="slides/slide32.xml"/><Relationship Id="rId339" Type="http://schemas.openxmlformats.org/officeDocument/2006/relationships/slide" Target="slides/slide335.xml"/><Relationship Id="rId546" Type="http://schemas.openxmlformats.org/officeDocument/2006/relationships/slide" Target="slides/slide542.xml"/><Relationship Id="rId753" Type="http://schemas.openxmlformats.org/officeDocument/2006/relationships/slide" Target="slides/slide749.xml"/><Relationship Id="rId101" Type="http://schemas.openxmlformats.org/officeDocument/2006/relationships/slide" Target="slides/slide97.xml"/><Relationship Id="rId185" Type="http://schemas.openxmlformats.org/officeDocument/2006/relationships/slide" Target="slides/slide181.xml"/><Relationship Id="rId406" Type="http://schemas.openxmlformats.org/officeDocument/2006/relationships/slide" Target="slides/slide402.xml"/><Relationship Id="rId392" Type="http://schemas.openxmlformats.org/officeDocument/2006/relationships/slide" Target="slides/slide388.xml"/><Relationship Id="rId613" Type="http://schemas.openxmlformats.org/officeDocument/2006/relationships/slide" Target="slides/slide609.xml"/><Relationship Id="rId697" Type="http://schemas.openxmlformats.org/officeDocument/2006/relationships/slide" Target="slides/slide693.xml"/><Relationship Id="rId252" Type="http://schemas.openxmlformats.org/officeDocument/2006/relationships/slide" Target="slides/slide248.xml"/><Relationship Id="rId47" Type="http://schemas.openxmlformats.org/officeDocument/2006/relationships/slide" Target="slides/slide43.xml"/><Relationship Id="rId112" Type="http://schemas.openxmlformats.org/officeDocument/2006/relationships/slide" Target="slides/slide108.xml"/><Relationship Id="rId557" Type="http://schemas.openxmlformats.org/officeDocument/2006/relationships/slide" Target="slides/slide553.xml"/><Relationship Id="rId764" Type="http://schemas.openxmlformats.org/officeDocument/2006/relationships/slide" Target="slides/slide760.xml"/><Relationship Id="rId196" Type="http://schemas.openxmlformats.org/officeDocument/2006/relationships/slide" Target="slides/slide192.xml"/><Relationship Id="rId417" Type="http://schemas.openxmlformats.org/officeDocument/2006/relationships/slide" Target="slides/slide413.xml"/><Relationship Id="rId624" Type="http://schemas.openxmlformats.org/officeDocument/2006/relationships/slide" Target="slides/slide620.xml"/><Relationship Id="rId263" Type="http://schemas.openxmlformats.org/officeDocument/2006/relationships/slide" Target="slides/slide259.xml"/><Relationship Id="rId470" Type="http://schemas.openxmlformats.org/officeDocument/2006/relationships/slide" Target="slides/slide466.xml"/><Relationship Id="rId58" Type="http://schemas.openxmlformats.org/officeDocument/2006/relationships/slide" Target="slides/slide54.xml"/><Relationship Id="rId123" Type="http://schemas.openxmlformats.org/officeDocument/2006/relationships/slide" Target="slides/slide119.xml"/><Relationship Id="rId330" Type="http://schemas.openxmlformats.org/officeDocument/2006/relationships/slide" Target="slides/slide326.xml"/><Relationship Id="rId568" Type="http://schemas.openxmlformats.org/officeDocument/2006/relationships/slide" Target="slides/slide564.xml"/><Relationship Id="rId428" Type="http://schemas.openxmlformats.org/officeDocument/2006/relationships/slide" Target="slides/slide424.xml"/><Relationship Id="rId635" Type="http://schemas.openxmlformats.org/officeDocument/2006/relationships/slide" Target="slides/slide631.xml"/><Relationship Id="rId274" Type="http://schemas.openxmlformats.org/officeDocument/2006/relationships/slide" Target="slides/slide270.xml"/><Relationship Id="rId481" Type="http://schemas.openxmlformats.org/officeDocument/2006/relationships/slide" Target="slides/slide477.xml"/><Relationship Id="rId702" Type="http://schemas.openxmlformats.org/officeDocument/2006/relationships/slide" Target="slides/slide698.xml"/><Relationship Id="rId69" Type="http://schemas.openxmlformats.org/officeDocument/2006/relationships/slide" Target="slides/slide65.xml"/><Relationship Id="rId134" Type="http://schemas.openxmlformats.org/officeDocument/2006/relationships/slide" Target="slides/slide130.xml"/><Relationship Id="rId579" Type="http://schemas.openxmlformats.org/officeDocument/2006/relationships/slide" Target="slides/slide575.xml"/><Relationship Id="rId341" Type="http://schemas.openxmlformats.org/officeDocument/2006/relationships/slide" Target="slides/slide337.xml"/><Relationship Id="rId439" Type="http://schemas.openxmlformats.org/officeDocument/2006/relationships/slide" Target="slides/slide435.xml"/><Relationship Id="rId646" Type="http://schemas.openxmlformats.org/officeDocument/2006/relationships/slide" Target="slides/slide642.xml"/><Relationship Id="rId201" Type="http://schemas.openxmlformats.org/officeDocument/2006/relationships/slide" Target="slides/slide197.xml"/><Relationship Id="rId285" Type="http://schemas.openxmlformats.org/officeDocument/2006/relationships/slide" Target="slides/slide281.xml"/><Relationship Id="rId506" Type="http://schemas.openxmlformats.org/officeDocument/2006/relationships/slide" Target="slides/slide502.xml"/><Relationship Id="rId492" Type="http://schemas.openxmlformats.org/officeDocument/2006/relationships/slide" Target="slides/slide488.xml"/><Relationship Id="rId713" Type="http://schemas.openxmlformats.org/officeDocument/2006/relationships/slide" Target="slides/slide709.xml"/><Relationship Id="rId145" Type="http://schemas.openxmlformats.org/officeDocument/2006/relationships/slide" Target="slides/slide141.xml"/><Relationship Id="rId352" Type="http://schemas.openxmlformats.org/officeDocument/2006/relationships/slide" Target="slides/slide348.xml"/><Relationship Id="rId212" Type="http://schemas.openxmlformats.org/officeDocument/2006/relationships/slide" Target="slides/slide208.xml"/><Relationship Id="rId657" Type="http://schemas.openxmlformats.org/officeDocument/2006/relationships/slide" Target="slides/slide653.xml"/><Relationship Id="rId296" Type="http://schemas.openxmlformats.org/officeDocument/2006/relationships/slide" Target="slides/slide292.xml"/><Relationship Id="rId517" Type="http://schemas.openxmlformats.org/officeDocument/2006/relationships/slide" Target="slides/slide513.xml"/><Relationship Id="rId724" Type="http://schemas.openxmlformats.org/officeDocument/2006/relationships/slide" Target="slides/slide720.xml"/><Relationship Id="rId60" Type="http://schemas.openxmlformats.org/officeDocument/2006/relationships/slide" Target="slides/slide56.xml"/><Relationship Id="rId156" Type="http://schemas.openxmlformats.org/officeDocument/2006/relationships/slide" Target="slides/slide152.xml"/><Relationship Id="rId363" Type="http://schemas.openxmlformats.org/officeDocument/2006/relationships/slide" Target="slides/slide359.xml"/><Relationship Id="rId570" Type="http://schemas.openxmlformats.org/officeDocument/2006/relationships/slide" Target="slides/slide566.xml"/><Relationship Id="rId223" Type="http://schemas.openxmlformats.org/officeDocument/2006/relationships/slide" Target="slides/slide219.xml"/><Relationship Id="rId430" Type="http://schemas.openxmlformats.org/officeDocument/2006/relationships/slide" Target="slides/slide426.xml"/><Relationship Id="rId668" Type="http://schemas.openxmlformats.org/officeDocument/2006/relationships/slide" Target="slides/slide664.xml"/><Relationship Id="rId18" Type="http://schemas.openxmlformats.org/officeDocument/2006/relationships/slide" Target="slides/slide14.xml"/><Relationship Id="rId528" Type="http://schemas.openxmlformats.org/officeDocument/2006/relationships/slide" Target="slides/slide524.xml"/><Relationship Id="rId735" Type="http://schemas.openxmlformats.org/officeDocument/2006/relationships/slide" Target="slides/slide731.xml"/><Relationship Id="rId167" Type="http://schemas.openxmlformats.org/officeDocument/2006/relationships/slide" Target="slides/slide163.xml"/><Relationship Id="rId374" Type="http://schemas.openxmlformats.org/officeDocument/2006/relationships/slide" Target="slides/slide370.xml"/><Relationship Id="rId581" Type="http://schemas.openxmlformats.org/officeDocument/2006/relationships/slide" Target="slides/slide577.xml"/><Relationship Id="rId71" Type="http://schemas.openxmlformats.org/officeDocument/2006/relationships/slide" Target="slides/slide67.xml"/><Relationship Id="rId234" Type="http://schemas.openxmlformats.org/officeDocument/2006/relationships/slide" Target="slides/slide230.xml"/><Relationship Id="rId679" Type="http://schemas.openxmlformats.org/officeDocument/2006/relationships/slide" Target="slides/slide675.xml"/><Relationship Id="rId2" Type="http://schemas.openxmlformats.org/officeDocument/2006/relationships/customXml" Target="../customXml/item2.xml"/><Relationship Id="rId29" Type="http://schemas.openxmlformats.org/officeDocument/2006/relationships/slide" Target="slides/slide25.xml"/><Relationship Id="rId441" Type="http://schemas.openxmlformats.org/officeDocument/2006/relationships/slide" Target="slides/slide437.xml"/><Relationship Id="rId539" Type="http://schemas.openxmlformats.org/officeDocument/2006/relationships/slide" Target="slides/slide535.xml"/><Relationship Id="rId746" Type="http://schemas.openxmlformats.org/officeDocument/2006/relationships/slide" Target="slides/slide742.xml"/><Relationship Id="rId178" Type="http://schemas.openxmlformats.org/officeDocument/2006/relationships/slide" Target="slides/slide174.xml"/><Relationship Id="rId301" Type="http://schemas.openxmlformats.org/officeDocument/2006/relationships/slide" Target="slides/slide297.xml"/><Relationship Id="rId82" Type="http://schemas.openxmlformats.org/officeDocument/2006/relationships/slide" Target="slides/slide78.xml"/><Relationship Id="rId385" Type="http://schemas.openxmlformats.org/officeDocument/2006/relationships/slide" Target="slides/slide381.xml"/><Relationship Id="rId592" Type="http://schemas.openxmlformats.org/officeDocument/2006/relationships/slide" Target="slides/slide588.xml"/><Relationship Id="rId606" Type="http://schemas.openxmlformats.org/officeDocument/2006/relationships/slide" Target="slides/slide602.xml"/><Relationship Id="rId245" Type="http://schemas.openxmlformats.org/officeDocument/2006/relationships/slide" Target="slides/slide241.xml"/><Relationship Id="rId452" Type="http://schemas.openxmlformats.org/officeDocument/2006/relationships/slide" Target="slides/slide448.xml"/><Relationship Id="rId105" Type="http://schemas.openxmlformats.org/officeDocument/2006/relationships/slide" Target="slides/slide101.xml"/><Relationship Id="rId312" Type="http://schemas.openxmlformats.org/officeDocument/2006/relationships/slide" Target="slides/slide308.xml"/><Relationship Id="rId757" Type="http://schemas.openxmlformats.org/officeDocument/2006/relationships/slide" Target="slides/slide753.xml"/><Relationship Id="rId93" Type="http://schemas.openxmlformats.org/officeDocument/2006/relationships/slide" Target="slides/slide89.xml"/><Relationship Id="rId189" Type="http://schemas.openxmlformats.org/officeDocument/2006/relationships/slide" Target="slides/slide185.xml"/><Relationship Id="rId396" Type="http://schemas.openxmlformats.org/officeDocument/2006/relationships/slide" Target="slides/slide392.xml"/><Relationship Id="rId617" Type="http://schemas.openxmlformats.org/officeDocument/2006/relationships/slide" Target="slides/slide613.xml"/><Relationship Id="rId256" Type="http://schemas.openxmlformats.org/officeDocument/2006/relationships/slide" Target="slides/slide252.xml"/><Relationship Id="rId463" Type="http://schemas.openxmlformats.org/officeDocument/2006/relationships/slide" Target="slides/slide459.xml"/><Relationship Id="rId670" Type="http://schemas.openxmlformats.org/officeDocument/2006/relationships/slide" Target="slides/slide666.xml"/><Relationship Id="rId116" Type="http://schemas.openxmlformats.org/officeDocument/2006/relationships/slide" Target="slides/slide112.xml"/><Relationship Id="rId323" Type="http://schemas.openxmlformats.org/officeDocument/2006/relationships/slide" Target="slides/slide319.xml"/><Relationship Id="rId530" Type="http://schemas.openxmlformats.org/officeDocument/2006/relationships/slide" Target="slides/slide526.xml"/><Relationship Id="rId768" Type="http://schemas.openxmlformats.org/officeDocument/2006/relationships/presProps" Target="presProps.xml"/><Relationship Id="rId20" Type="http://schemas.openxmlformats.org/officeDocument/2006/relationships/slide" Target="slides/slide16.xml"/><Relationship Id="rId628" Type="http://schemas.openxmlformats.org/officeDocument/2006/relationships/slide" Target="slides/slide624.xml"/><Relationship Id="rId267" Type="http://schemas.openxmlformats.org/officeDocument/2006/relationships/slide" Target="slides/slide263.xml"/><Relationship Id="rId474" Type="http://schemas.openxmlformats.org/officeDocument/2006/relationships/slide" Target="slides/slide470.xml"/><Relationship Id="rId127" Type="http://schemas.openxmlformats.org/officeDocument/2006/relationships/slide" Target="slides/slide123.xml"/><Relationship Id="rId681" Type="http://schemas.openxmlformats.org/officeDocument/2006/relationships/slide" Target="slides/slide677.xml"/><Relationship Id="rId31" Type="http://schemas.openxmlformats.org/officeDocument/2006/relationships/slide" Target="slides/slide27.xml"/><Relationship Id="rId334" Type="http://schemas.openxmlformats.org/officeDocument/2006/relationships/slide" Target="slides/slide330.xml"/><Relationship Id="rId541" Type="http://schemas.openxmlformats.org/officeDocument/2006/relationships/slide" Target="slides/slide537.xml"/><Relationship Id="rId639" Type="http://schemas.openxmlformats.org/officeDocument/2006/relationships/slide" Target="slides/slide635.xml"/><Relationship Id="rId180" Type="http://schemas.openxmlformats.org/officeDocument/2006/relationships/slide" Target="slides/slide176.xml"/><Relationship Id="rId278" Type="http://schemas.openxmlformats.org/officeDocument/2006/relationships/slide" Target="slides/slide274.xml"/><Relationship Id="rId401" Type="http://schemas.openxmlformats.org/officeDocument/2006/relationships/slide" Target="slides/slide397.xml"/><Relationship Id="rId485" Type="http://schemas.openxmlformats.org/officeDocument/2006/relationships/slide" Target="slides/slide481.xml"/><Relationship Id="rId692" Type="http://schemas.openxmlformats.org/officeDocument/2006/relationships/slide" Target="slides/slide688.xml"/><Relationship Id="rId706" Type="http://schemas.openxmlformats.org/officeDocument/2006/relationships/slide" Target="slides/slide702.xml"/><Relationship Id="rId42" Type="http://schemas.openxmlformats.org/officeDocument/2006/relationships/slide" Target="slides/slide38.xml"/><Relationship Id="rId84" Type="http://schemas.openxmlformats.org/officeDocument/2006/relationships/slide" Target="slides/slide80.xml"/><Relationship Id="rId138" Type="http://schemas.openxmlformats.org/officeDocument/2006/relationships/slide" Target="slides/slide134.xml"/><Relationship Id="rId345" Type="http://schemas.openxmlformats.org/officeDocument/2006/relationships/slide" Target="slides/slide341.xml"/><Relationship Id="rId387" Type="http://schemas.openxmlformats.org/officeDocument/2006/relationships/slide" Target="slides/slide383.xml"/><Relationship Id="rId510" Type="http://schemas.openxmlformats.org/officeDocument/2006/relationships/slide" Target="slides/slide506.xml"/><Relationship Id="rId552" Type="http://schemas.openxmlformats.org/officeDocument/2006/relationships/slide" Target="slides/slide548.xml"/><Relationship Id="rId594" Type="http://schemas.openxmlformats.org/officeDocument/2006/relationships/slide" Target="slides/slide590.xml"/><Relationship Id="rId608" Type="http://schemas.openxmlformats.org/officeDocument/2006/relationships/slide" Target="slides/slide604.xml"/><Relationship Id="rId191" Type="http://schemas.openxmlformats.org/officeDocument/2006/relationships/slide" Target="slides/slide187.xml"/><Relationship Id="rId205" Type="http://schemas.openxmlformats.org/officeDocument/2006/relationships/slide" Target="slides/slide201.xml"/><Relationship Id="rId247" Type="http://schemas.openxmlformats.org/officeDocument/2006/relationships/slide" Target="slides/slide243.xml"/><Relationship Id="rId412" Type="http://schemas.openxmlformats.org/officeDocument/2006/relationships/slide" Target="slides/slide408.xml"/><Relationship Id="rId107" Type="http://schemas.openxmlformats.org/officeDocument/2006/relationships/slide" Target="slides/slide103.xml"/><Relationship Id="rId289" Type="http://schemas.openxmlformats.org/officeDocument/2006/relationships/slide" Target="slides/slide285.xml"/><Relationship Id="rId454" Type="http://schemas.openxmlformats.org/officeDocument/2006/relationships/slide" Target="slides/slide450.xml"/><Relationship Id="rId496" Type="http://schemas.openxmlformats.org/officeDocument/2006/relationships/slide" Target="slides/slide492.xml"/><Relationship Id="rId661" Type="http://schemas.openxmlformats.org/officeDocument/2006/relationships/slide" Target="slides/slide657.xml"/><Relationship Id="rId717" Type="http://schemas.openxmlformats.org/officeDocument/2006/relationships/slide" Target="slides/slide713.xml"/><Relationship Id="rId759" Type="http://schemas.openxmlformats.org/officeDocument/2006/relationships/slide" Target="slides/slide755.xml"/><Relationship Id="rId11" Type="http://schemas.openxmlformats.org/officeDocument/2006/relationships/slide" Target="slides/slide7.xml"/><Relationship Id="rId53" Type="http://schemas.openxmlformats.org/officeDocument/2006/relationships/slide" Target="slides/slide49.xml"/><Relationship Id="rId149" Type="http://schemas.openxmlformats.org/officeDocument/2006/relationships/slide" Target="slides/slide145.xml"/><Relationship Id="rId314" Type="http://schemas.openxmlformats.org/officeDocument/2006/relationships/slide" Target="slides/slide310.xml"/><Relationship Id="rId356" Type="http://schemas.openxmlformats.org/officeDocument/2006/relationships/slide" Target="slides/slide352.xml"/><Relationship Id="rId398" Type="http://schemas.openxmlformats.org/officeDocument/2006/relationships/slide" Target="slides/slide394.xml"/><Relationship Id="rId521" Type="http://schemas.openxmlformats.org/officeDocument/2006/relationships/slide" Target="slides/slide517.xml"/><Relationship Id="rId563" Type="http://schemas.openxmlformats.org/officeDocument/2006/relationships/slide" Target="slides/slide559.xml"/><Relationship Id="rId619" Type="http://schemas.openxmlformats.org/officeDocument/2006/relationships/slide" Target="slides/slide615.xml"/><Relationship Id="rId770" Type="http://schemas.openxmlformats.org/officeDocument/2006/relationships/theme" Target="theme/theme1.xml"/><Relationship Id="rId95" Type="http://schemas.openxmlformats.org/officeDocument/2006/relationships/slide" Target="slides/slide91.xml"/><Relationship Id="rId160" Type="http://schemas.openxmlformats.org/officeDocument/2006/relationships/slide" Target="slides/slide156.xml"/><Relationship Id="rId216" Type="http://schemas.openxmlformats.org/officeDocument/2006/relationships/slide" Target="slides/slide212.xml"/><Relationship Id="rId423" Type="http://schemas.openxmlformats.org/officeDocument/2006/relationships/slide" Target="slides/slide419.xml"/><Relationship Id="rId258" Type="http://schemas.openxmlformats.org/officeDocument/2006/relationships/slide" Target="slides/slide254.xml"/><Relationship Id="rId465" Type="http://schemas.openxmlformats.org/officeDocument/2006/relationships/slide" Target="slides/slide461.xml"/><Relationship Id="rId630" Type="http://schemas.openxmlformats.org/officeDocument/2006/relationships/slide" Target="slides/slide626.xml"/><Relationship Id="rId672" Type="http://schemas.openxmlformats.org/officeDocument/2006/relationships/slide" Target="slides/slide668.xml"/><Relationship Id="rId728" Type="http://schemas.openxmlformats.org/officeDocument/2006/relationships/slide" Target="slides/slide724.xml"/><Relationship Id="rId22" Type="http://schemas.openxmlformats.org/officeDocument/2006/relationships/slide" Target="slides/slide18.xml"/><Relationship Id="rId64" Type="http://schemas.openxmlformats.org/officeDocument/2006/relationships/slide" Target="slides/slide60.xml"/><Relationship Id="rId118" Type="http://schemas.openxmlformats.org/officeDocument/2006/relationships/slide" Target="slides/slide114.xml"/><Relationship Id="rId325" Type="http://schemas.openxmlformats.org/officeDocument/2006/relationships/slide" Target="slides/slide321.xml"/><Relationship Id="rId367" Type="http://schemas.openxmlformats.org/officeDocument/2006/relationships/slide" Target="slides/slide363.xml"/><Relationship Id="rId532" Type="http://schemas.openxmlformats.org/officeDocument/2006/relationships/slide" Target="slides/slide528.xml"/><Relationship Id="rId574" Type="http://schemas.openxmlformats.org/officeDocument/2006/relationships/slide" Target="slides/slide570.xml"/><Relationship Id="rId171" Type="http://schemas.openxmlformats.org/officeDocument/2006/relationships/slide" Target="slides/slide167.xml"/><Relationship Id="rId227" Type="http://schemas.openxmlformats.org/officeDocument/2006/relationships/slide" Target="slides/slide223.xml"/><Relationship Id="rId269" Type="http://schemas.openxmlformats.org/officeDocument/2006/relationships/slide" Target="slides/slide265.xml"/><Relationship Id="rId434" Type="http://schemas.openxmlformats.org/officeDocument/2006/relationships/slide" Target="slides/slide430.xml"/><Relationship Id="rId476" Type="http://schemas.openxmlformats.org/officeDocument/2006/relationships/slide" Target="slides/slide472.xml"/><Relationship Id="rId641" Type="http://schemas.openxmlformats.org/officeDocument/2006/relationships/slide" Target="slides/slide637.xml"/><Relationship Id="rId683" Type="http://schemas.openxmlformats.org/officeDocument/2006/relationships/slide" Target="slides/slide679.xml"/><Relationship Id="rId739" Type="http://schemas.openxmlformats.org/officeDocument/2006/relationships/slide" Target="slides/slide735.xml"/><Relationship Id="rId33" Type="http://schemas.openxmlformats.org/officeDocument/2006/relationships/slide" Target="slides/slide29.xml"/><Relationship Id="rId129" Type="http://schemas.openxmlformats.org/officeDocument/2006/relationships/slide" Target="slides/slide125.xml"/><Relationship Id="rId280" Type="http://schemas.openxmlformats.org/officeDocument/2006/relationships/slide" Target="slides/slide276.xml"/><Relationship Id="rId336" Type="http://schemas.openxmlformats.org/officeDocument/2006/relationships/slide" Target="slides/slide332.xml"/><Relationship Id="rId501" Type="http://schemas.openxmlformats.org/officeDocument/2006/relationships/slide" Target="slides/slide497.xml"/><Relationship Id="rId543" Type="http://schemas.openxmlformats.org/officeDocument/2006/relationships/slide" Target="slides/slide539.xml"/><Relationship Id="rId75" Type="http://schemas.openxmlformats.org/officeDocument/2006/relationships/slide" Target="slides/slide71.xml"/><Relationship Id="rId140" Type="http://schemas.openxmlformats.org/officeDocument/2006/relationships/slide" Target="slides/slide136.xml"/><Relationship Id="rId182" Type="http://schemas.openxmlformats.org/officeDocument/2006/relationships/slide" Target="slides/slide178.xml"/><Relationship Id="rId378" Type="http://schemas.openxmlformats.org/officeDocument/2006/relationships/slide" Target="slides/slide374.xml"/><Relationship Id="rId403" Type="http://schemas.openxmlformats.org/officeDocument/2006/relationships/slide" Target="slides/slide399.xml"/><Relationship Id="rId585" Type="http://schemas.openxmlformats.org/officeDocument/2006/relationships/slide" Target="slides/slide581.xml"/><Relationship Id="rId750" Type="http://schemas.openxmlformats.org/officeDocument/2006/relationships/slide" Target="slides/slide746.xml"/><Relationship Id="rId6" Type="http://schemas.openxmlformats.org/officeDocument/2006/relationships/slide" Target="slides/slide2.xml"/><Relationship Id="rId238" Type="http://schemas.openxmlformats.org/officeDocument/2006/relationships/slide" Target="slides/slide234.xml"/><Relationship Id="rId445" Type="http://schemas.openxmlformats.org/officeDocument/2006/relationships/slide" Target="slides/slide441.xml"/><Relationship Id="rId487" Type="http://schemas.openxmlformats.org/officeDocument/2006/relationships/slide" Target="slides/slide483.xml"/><Relationship Id="rId610" Type="http://schemas.openxmlformats.org/officeDocument/2006/relationships/slide" Target="slides/slide606.xml"/><Relationship Id="rId652" Type="http://schemas.openxmlformats.org/officeDocument/2006/relationships/slide" Target="slides/slide648.xml"/><Relationship Id="rId694" Type="http://schemas.openxmlformats.org/officeDocument/2006/relationships/slide" Target="slides/slide690.xml"/><Relationship Id="rId708" Type="http://schemas.openxmlformats.org/officeDocument/2006/relationships/slide" Target="slides/slide704.xml"/><Relationship Id="rId291" Type="http://schemas.openxmlformats.org/officeDocument/2006/relationships/slide" Target="slides/slide287.xml"/><Relationship Id="rId305" Type="http://schemas.openxmlformats.org/officeDocument/2006/relationships/slide" Target="slides/slide301.xml"/><Relationship Id="rId347" Type="http://schemas.openxmlformats.org/officeDocument/2006/relationships/slide" Target="slides/slide343.xml"/><Relationship Id="rId512" Type="http://schemas.openxmlformats.org/officeDocument/2006/relationships/slide" Target="slides/slide508.xml"/><Relationship Id="rId44" Type="http://schemas.openxmlformats.org/officeDocument/2006/relationships/slide" Target="slides/slide40.xml"/><Relationship Id="rId86" Type="http://schemas.openxmlformats.org/officeDocument/2006/relationships/slide" Target="slides/slide82.xml"/><Relationship Id="rId151" Type="http://schemas.openxmlformats.org/officeDocument/2006/relationships/slide" Target="slides/slide147.xml"/><Relationship Id="rId389" Type="http://schemas.openxmlformats.org/officeDocument/2006/relationships/slide" Target="slides/slide385.xml"/><Relationship Id="rId554" Type="http://schemas.openxmlformats.org/officeDocument/2006/relationships/slide" Target="slides/slide550.xml"/><Relationship Id="rId596" Type="http://schemas.openxmlformats.org/officeDocument/2006/relationships/slide" Target="slides/slide592.xml"/><Relationship Id="rId761" Type="http://schemas.openxmlformats.org/officeDocument/2006/relationships/slide" Target="slides/slide757.xml"/><Relationship Id="rId193" Type="http://schemas.openxmlformats.org/officeDocument/2006/relationships/slide" Target="slides/slide189.xml"/><Relationship Id="rId207" Type="http://schemas.openxmlformats.org/officeDocument/2006/relationships/slide" Target="slides/slide203.xml"/><Relationship Id="rId249" Type="http://schemas.openxmlformats.org/officeDocument/2006/relationships/slide" Target="slides/slide245.xml"/><Relationship Id="rId414" Type="http://schemas.openxmlformats.org/officeDocument/2006/relationships/slide" Target="slides/slide410.xml"/><Relationship Id="rId456" Type="http://schemas.openxmlformats.org/officeDocument/2006/relationships/slide" Target="slides/slide452.xml"/><Relationship Id="rId498" Type="http://schemas.openxmlformats.org/officeDocument/2006/relationships/slide" Target="slides/slide494.xml"/><Relationship Id="rId621" Type="http://schemas.openxmlformats.org/officeDocument/2006/relationships/slide" Target="slides/slide617.xml"/><Relationship Id="rId663" Type="http://schemas.openxmlformats.org/officeDocument/2006/relationships/slide" Target="slides/slide659.xml"/><Relationship Id="rId13" Type="http://schemas.openxmlformats.org/officeDocument/2006/relationships/slide" Target="slides/slide9.xml"/><Relationship Id="rId109" Type="http://schemas.openxmlformats.org/officeDocument/2006/relationships/slide" Target="slides/slide105.xml"/><Relationship Id="rId260" Type="http://schemas.openxmlformats.org/officeDocument/2006/relationships/slide" Target="slides/slide256.xml"/><Relationship Id="rId316" Type="http://schemas.openxmlformats.org/officeDocument/2006/relationships/slide" Target="slides/slide312.xml"/><Relationship Id="rId523" Type="http://schemas.openxmlformats.org/officeDocument/2006/relationships/slide" Target="slides/slide519.xml"/><Relationship Id="rId719" Type="http://schemas.openxmlformats.org/officeDocument/2006/relationships/slide" Target="slides/slide715.xml"/><Relationship Id="rId55" Type="http://schemas.openxmlformats.org/officeDocument/2006/relationships/slide" Target="slides/slide51.xml"/><Relationship Id="rId97" Type="http://schemas.openxmlformats.org/officeDocument/2006/relationships/slide" Target="slides/slide93.xml"/><Relationship Id="rId120" Type="http://schemas.openxmlformats.org/officeDocument/2006/relationships/slide" Target="slides/slide116.xml"/><Relationship Id="rId358" Type="http://schemas.openxmlformats.org/officeDocument/2006/relationships/slide" Target="slides/slide354.xml"/><Relationship Id="rId565" Type="http://schemas.openxmlformats.org/officeDocument/2006/relationships/slide" Target="slides/slide561.xml"/><Relationship Id="rId730" Type="http://schemas.openxmlformats.org/officeDocument/2006/relationships/slide" Target="slides/slide726.xml"/><Relationship Id="rId772" Type="http://schemas.microsoft.com/office/2015/10/relationships/revisionInfo" Target="revisionInfo.xml"/><Relationship Id="rId162" Type="http://schemas.openxmlformats.org/officeDocument/2006/relationships/slide" Target="slides/slide158.xml"/><Relationship Id="rId218" Type="http://schemas.openxmlformats.org/officeDocument/2006/relationships/slide" Target="slides/slide214.xml"/><Relationship Id="rId425" Type="http://schemas.openxmlformats.org/officeDocument/2006/relationships/slide" Target="slides/slide421.xml"/><Relationship Id="rId467" Type="http://schemas.openxmlformats.org/officeDocument/2006/relationships/slide" Target="slides/slide463.xml"/><Relationship Id="rId632" Type="http://schemas.openxmlformats.org/officeDocument/2006/relationships/slide" Target="slides/slide628.xml"/><Relationship Id="rId271" Type="http://schemas.openxmlformats.org/officeDocument/2006/relationships/slide" Target="slides/slide267.xml"/><Relationship Id="rId674" Type="http://schemas.openxmlformats.org/officeDocument/2006/relationships/slide" Target="slides/slide670.xml"/><Relationship Id="rId24" Type="http://schemas.openxmlformats.org/officeDocument/2006/relationships/slide" Target="slides/slide20.xml"/><Relationship Id="rId66" Type="http://schemas.openxmlformats.org/officeDocument/2006/relationships/slide" Target="slides/slide62.xml"/><Relationship Id="rId131" Type="http://schemas.openxmlformats.org/officeDocument/2006/relationships/slide" Target="slides/slide127.xml"/><Relationship Id="rId327" Type="http://schemas.openxmlformats.org/officeDocument/2006/relationships/slide" Target="slides/slide323.xml"/><Relationship Id="rId369" Type="http://schemas.openxmlformats.org/officeDocument/2006/relationships/slide" Target="slides/slide365.xml"/><Relationship Id="rId534" Type="http://schemas.openxmlformats.org/officeDocument/2006/relationships/slide" Target="slides/slide530.xml"/><Relationship Id="rId576" Type="http://schemas.openxmlformats.org/officeDocument/2006/relationships/slide" Target="slides/slide572.xml"/><Relationship Id="rId741" Type="http://schemas.openxmlformats.org/officeDocument/2006/relationships/slide" Target="slides/slide737.xml"/><Relationship Id="rId173" Type="http://schemas.openxmlformats.org/officeDocument/2006/relationships/slide" Target="slides/slide169.xml"/><Relationship Id="rId229" Type="http://schemas.openxmlformats.org/officeDocument/2006/relationships/slide" Target="slides/slide225.xml"/><Relationship Id="rId380" Type="http://schemas.openxmlformats.org/officeDocument/2006/relationships/slide" Target="slides/slide376.xml"/><Relationship Id="rId436" Type="http://schemas.openxmlformats.org/officeDocument/2006/relationships/slide" Target="slides/slide432.xml"/><Relationship Id="rId601" Type="http://schemas.openxmlformats.org/officeDocument/2006/relationships/slide" Target="slides/slide597.xml"/><Relationship Id="rId643" Type="http://schemas.openxmlformats.org/officeDocument/2006/relationships/slide" Target="slides/slide639.xml"/><Relationship Id="rId240" Type="http://schemas.openxmlformats.org/officeDocument/2006/relationships/slide" Target="slides/slide236.xml"/><Relationship Id="rId478" Type="http://schemas.openxmlformats.org/officeDocument/2006/relationships/slide" Target="slides/slide474.xml"/><Relationship Id="rId685" Type="http://schemas.openxmlformats.org/officeDocument/2006/relationships/slide" Target="slides/slide681.xml"/><Relationship Id="rId35" Type="http://schemas.openxmlformats.org/officeDocument/2006/relationships/slide" Target="slides/slide31.xml"/><Relationship Id="rId77" Type="http://schemas.openxmlformats.org/officeDocument/2006/relationships/slide" Target="slides/slide73.xml"/><Relationship Id="rId100" Type="http://schemas.openxmlformats.org/officeDocument/2006/relationships/slide" Target="slides/slide96.xml"/><Relationship Id="rId282" Type="http://schemas.openxmlformats.org/officeDocument/2006/relationships/slide" Target="slides/slide278.xml"/><Relationship Id="rId338" Type="http://schemas.openxmlformats.org/officeDocument/2006/relationships/slide" Target="slides/slide334.xml"/><Relationship Id="rId503" Type="http://schemas.openxmlformats.org/officeDocument/2006/relationships/slide" Target="slides/slide499.xml"/><Relationship Id="rId545" Type="http://schemas.openxmlformats.org/officeDocument/2006/relationships/slide" Target="slides/slide541.xml"/><Relationship Id="rId587" Type="http://schemas.openxmlformats.org/officeDocument/2006/relationships/slide" Target="slides/slide583.xml"/><Relationship Id="rId710" Type="http://schemas.openxmlformats.org/officeDocument/2006/relationships/slide" Target="slides/slide706.xml"/><Relationship Id="rId752" Type="http://schemas.openxmlformats.org/officeDocument/2006/relationships/slide" Target="slides/slide748.xml"/><Relationship Id="rId8" Type="http://schemas.openxmlformats.org/officeDocument/2006/relationships/slide" Target="slides/slide4.xml"/><Relationship Id="rId142" Type="http://schemas.openxmlformats.org/officeDocument/2006/relationships/slide" Target="slides/slide138.xml"/><Relationship Id="rId184" Type="http://schemas.openxmlformats.org/officeDocument/2006/relationships/slide" Target="slides/slide180.xml"/><Relationship Id="rId391" Type="http://schemas.openxmlformats.org/officeDocument/2006/relationships/slide" Target="slides/slide387.xml"/><Relationship Id="rId405" Type="http://schemas.openxmlformats.org/officeDocument/2006/relationships/slide" Target="slides/slide401.xml"/><Relationship Id="rId447" Type="http://schemas.openxmlformats.org/officeDocument/2006/relationships/slide" Target="slides/slide443.xml"/><Relationship Id="rId612" Type="http://schemas.openxmlformats.org/officeDocument/2006/relationships/slide" Target="slides/slide608.xml"/><Relationship Id="rId251" Type="http://schemas.openxmlformats.org/officeDocument/2006/relationships/slide" Target="slides/slide247.xml"/><Relationship Id="rId489" Type="http://schemas.openxmlformats.org/officeDocument/2006/relationships/slide" Target="slides/slide485.xml"/><Relationship Id="rId654" Type="http://schemas.openxmlformats.org/officeDocument/2006/relationships/slide" Target="slides/slide650.xml"/><Relationship Id="rId696" Type="http://schemas.openxmlformats.org/officeDocument/2006/relationships/slide" Target="slides/slide692.xml"/><Relationship Id="rId46" Type="http://schemas.openxmlformats.org/officeDocument/2006/relationships/slide" Target="slides/slide42.xml"/><Relationship Id="rId293" Type="http://schemas.openxmlformats.org/officeDocument/2006/relationships/slide" Target="slides/slide289.xml"/><Relationship Id="rId307" Type="http://schemas.openxmlformats.org/officeDocument/2006/relationships/slide" Target="slides/slide303.xml"/><Relationship Id="rId349" Type="http://schemas.openxmlformats.org/officeDocument/2006/relationships/slide" Target="slides/slide345.xml"/><Relationship Id="rId514" Type="http://schemas.openxmlformats.org/officeDocument/2006/relationships/slide" Target="slides/slide510.xml"/><Relationship Id="rId556" Type="http://schemas.openxmlformats.org/officeDocument/2006/relationships/slide" Target="slides/slide552.xml"/><Relationship Id="rId721" Type="http://schemas.openxmlformats.org/officeDocument/2006/relationships/slide" Target="slides/slide717.xml"/><Relationship Id="rId763" Type="http://schemas.openxmlformats.org/officeDocument/2006/relationships/slide" Target="slides/slide759.xml"/><Relationship Id="rId88" Type="http://schemas.openxmlformats.org/officeDocument/2006/relationships/slide" Target="slides/slide84.xml"/><Relationship Id="rId111" Type="http://schemas.openxmlformats.org/officeDocument/2006/relationships/slide" Target="slides/slide107.xml"/><Relationship Id="rId153" Type="http://schemas.openxmlformats.org/officeDocument/2006/relationships/slide" Target="slides/slide149.xml"/><Relationship Id="rId195" Type="http://schemas.openxmlformats.org/officeDocument/2006/relationships/slide" Target="slides/slide191.xml"/><Relationship Id="rId209" Type="http://schemas.openxmlformats.org/officeDocument/2006/relationships/slide" Target="slides/slide205.xml"/><Relationship Id="rId360" Type="http://schemas.openxmlformats.org/officeDocument/2006/relationships/slide" Target="slides/slide356.xml"/><Relationship Id="rId416" Type="http://schemas.openxmlformats.org/officeDocument/2006/relationships/slide" Target="slides/slide412.xml"/><Relationship Id="rId598" Type="http://schemas.openxmlformats.org/officeDocument/2006/relationships/slide" Target="slides/slide594.xml"/><Relationship Id="rId220" Type="http://schemas.openxmlformats.org/officeDocument/2006/relationships/slide" Target="slides/slide216.xml"/><Relationship Id="rId458" Type="http://schemas.openxmlformats.org/officeDocument/2006/relationships/slide" Target="slides/slide454.xml"/><Relationship Id="rId623" Type="http://schemas.openxmlformats.org/officeDocument/2006/relationships/slide" Target="slides/slide619.xml"/><Relationship Id="rId665" Type="http://schemas.openxmlformats.org/officeDocument/2006/relationships/slide" Target="slides/slide661.xml"/><Relationship Id="rId15" Type="http://schemas.openxmlformats.org/officeDocument/2006/relationships/slide" Target="slides/slide11.xml"/><Relationship Id="rId57" Type="http://schemas.openxmlformats.org/officeDocument/2006/relationships/slide" Target="slides/slide53.xml"/><Relationship Id="rId262" Type="http://schemas.openxmlformats.org/officeDocument/2006/relationships/slide" Target="slides/slide258.xml"/><Relationship Id="rId318" Type="http://schemas.openxmlformats.org/officeDocument/2006/relationships/slide" Target="slides/slide314.xml"/><Relationship Id="rId525" Type="http://schemas.openxmlformats.org/officeDocument/2006/relationships/slide" Target="slides/slide521.xml"/><Relationship Id="rId567" Type="http://schemas.openxmlformats.org/officeDocument/2006/relationships/slide" Target="slides/slide563.xml"/><Relationship Id="rId732" Type="http://schemas.openxmlformats.org/officeDocument/2006/relationships/slide" Target="slides/slide728.xml"/><Relationship Id="rId99" Type="http://schemas.openxmlformats.org/officeDocument/2006/relationships/slide" Target="slides/slide95.xml"/><Relationship Id="rId122" Type="http://schemas.openxmlformats.org/officeDocument/2006/relationships/slide" Target="slides/slide118.xml"/><Relationship Id="rId164" Type="http://schemas.openxmlformats.org/officeDocument/2006/relationships/slide" Target="slides/slide160.xml"/><Relationship Id="rId371" Type="http://schemas.openxmlformats.org/officeDocument/2006/relationships/slide" Target="slides/slide367.xml"/><Relationship Id="rId427" Type="http://schemas.openxmlformats.org/officeDocument/2006/relationships/slide" Target="slides/slide423.xml"/><Relationship Id="rId469" Type="http://schemas.openxmlformats.org/officeDocument/2006/relationships/slide" Target="slides/slide465.xml"/><Relationship Id="rId634" Type="http://schemas.openxmlformats.org/officeDocument/2006/relationships/slide" Target="slides/slide630.xml"/><Relationship Id="rId676" Type="http://schemas.openxmlformats.org/officeDocument/2006/relationships/slide" Target="slides/slide672.xml"/><Relationship Id="rId26" Type="http://schemas.openxmlformats.org/officeDocument/2006/relationships/slide" Target="slides/slide22.xml"/><Relationship Id="rId231" Type="http://schemas.openxmlformats.org/officeDocument/2006/relationships/slide" Target="slides/slide227.xml"/><Relationship Id="rId273" Type="http://schemas.openxmlformats.org/officeDocument/2006/relationships/slide" Target="slides/slide269.xml"/><Relationship Id="rId329" Type="http://schemas.openxmlformats.org/officeDocument/2006/relationships/slide" Target="slides/slide325.xml"/><Relationship Id="rId480" Type="http://schemas.openxmlformats.org/officeDocument/2006/relationships/slide" Target="slides/slide476.xml"/><Relationship Id="rId536" Type="http://schemas.openxmlformats.org/officeDocument/2006/relationships/slide" Target="slides/slide532.xml"/><Relationship Id="rId701" Type="http://schemas.openxmlformats.org/officeDocument/2006/relationships/slide" Target="slides/slide697.xml"/><Relationship Id="rId68" Type="http://schemas.openxmlformats.org/officeDocument/2006/relationships/slide" Target="slides/slide64.xml"/><Relationship Id="rId133" Type="http://schemas.openxmlformats.org/officeDocument/2006/relationships/slide" Target="slides/slide129.xml"/><Relationship Id="rId175" Type="http://schemas.openxmlformats.org/officeDocument/2006/relationships/slide" Target="slides/slide171.xml"/><Relationship Id="rId340" Type="http://schemas.openxmlformats.org/officeDocument/2006/relationships/slide" Target="slides/slide336.xml"/><Relationship Id="rId578" Type="http://schemas.openxmlformats.org/officeDocument/2006/relationships/slide" Target="slides/slide574.xml"/><Relationship Id="rId743" Type="http://schemas.openxmlformats.org/officeDocument/2006/relationships/slide" Target="slides/slide739.xml"/><Relationship Id="rId200" Type="http://schemas.openxmlformats.org/officeDocument/2006/relationships/slide" Target="slides/slide196.xml"/><Relationship Id="rId382" Type="http://schemas.openxmlformats.org/officeDocument/2006/relationships/slide" Target="slides/slide378.xml"/><Relationship Id="rId438" Type="http://schemas.openxmlformats.org/officeDocument/2006/relationships/slide" Target="slides/slide434.xml"/><Relationship Id="rId603" Type="http://schemas.openxmlformats.org/officeDocument/2006/relationships/slide" Target="slides/slide599.xml"/><Relationship Id="rId645" Type="http://schemas.openxmlformats.org/officeDocument/2006/relationships/slide" Target="slides/slide641.xml"/><Relationship Id="rId687" Type="http://schemas.openxmlformats.org/officeDocument/2006/relationships/slide" Target="slides/slide683.xml"/><Relationship Id="rId242" Type="http://schemas.openxmlformats.org/officeDocument/2006/relationships/slide" Target="slides/slide238.xml"/><Relationship Id="rId284" Type="http://schemas.openxmlformats.org/officeDocument/2006/relationships/slide" Target="slides/slide280.xml"/><Relationship Id="rId491" Type="http://schemas.openxmlformats.org/officeDocument/2006/relationships/slide" Target="slides/slide487.xml"/><Relationship Id="rId505" Type="http://schemas.openxmlformats.org/officeDocument/2006/relationships/slide" Target="slides/slide501.xml"/><Relationship Id="rId712" Type="http://schemas.openxmlformats.org/officeDocument/2006/relationships/slide" Target="slides/slide708.xml"/><Relationship Id="rId37" Type="http://schemas.openxmlformats.org/officeDocument/2006/relationships/slide" Target="slides/slide33.xml"/><Relationship Id="rId79" Type="http://schemas.openxmlformats.org/officeDocument/2006/relationships/slide" Target="slides/slide75.xml"/><Relationship Id="rId102" Type="http://schemas.openxmlformats.org/officeDocument/2006/relationships/slide" Target="slides/slide98.xml"/><Relationship Id="rId144" Type="http://schemas.openxmlformats.org/officeDocument/2006/relationships/slide" Target="slides/slide140.xml"/><Relationship Id="rId547" Type="http://schemas.openxmlformats.org/officeDocument/2006/relationships/slide" Target="slides/slide543.xml"/><Relationship Id="rId589" Type="http://schemas.openxmlformats.org/officeDocument/2006/relationships/slide" Target="slides/slide585.xml"/><Relationship Id="rId754" Type="http://schemas.openxmlformats.org/officeDocument/2006/relationships/slide" Target="slides/slide750.xml"/><Relationship Id="rId90" Type="http://schemas.openxmlformats.org/officeDocument/2006/relationships/slide" Target="slides/slide86.xml"/><Relationship Id="rId186" Type="http://schemas.openxmlformats.org/officeDocument/2006/relationships/slide" Target="slides/slide182.xml"/><Relationship Id="rId351" Type="http://schemas.openxmlformats.org/officeDocument/2006/relationships/slide" Target="slides/slide347.xml"/><Relationship Id="rId393" Type="http://schemas.openxmlformats.org/officeDocument/2006/relationships/slide" Target="slides/slide389.xml"/><Relationship Id="rId407" Type="http://schemas.openxmlformats.org/officeDocument/2006/relationships/slide" Target="slides/slide403.xml"/><Relationship Id="rId449" Type="http://schemas.openxmlformats.org/officeDocument/2006/relationships/slide" Target="slides/slide445.xml"/><Relationship Id="rId614" Type="http://schemas.openxmlformats.org/officeDocument/2006/relationships/slide" Target="slides/slide610.xml"/><Relationship Id="rId656" Type="http://schemas.openxmlformats.org/officeDocument/2006/relationships/slide" Target="slides/slide652.xml"/><Relationship Id="rId211" Type="http://schemas.openxmlformats.org/officeDocument/2006/relationships/slide" Target="slides/slide207.xml"/><Relationship Id="rId253" Type="http://schemas.openxmlformats.org/officeDocument/2006/relationships/slide" Target="slides/slide249.xml"/><Relationship Id="rId295" Type="http://schemas.openxmlformats.org/officeDocument/2006/relationships/slide" Target="slides/slide291.xml"/><Relationship Id="rId309" Type="http://schemas.openxmlformats.org/officeDocument/2006/relationships/slide" Target="slides/slide305.xml"/><Relationship Id="rId460" Type="http://schemas.openxmlformats.org/officeDocument/2006/relationships/slide" Target="slides/slide456.xml"/><Relationship Id="rId516" Type="http://schemas.openxmlformats.org/officeDocument/2006/relationships/slide" Target="slides/slide512.xml"/><Relationship Id="rId698" Type="http://schemas.openxmlformats.org/officeDocument/2006/relationships/slide" Target="slides/slide694.xml"/><Relationship Id="rId48" Type="http://schemas.openxmlformats.org/officeDocument/2006/relationships/slide" Target="slides/slide44.xml"/><Relationship Id="rId113" Type="http://schemas.openxmlformats.org/officeDocument/2006/relationships/slide" Target="slides/slide109.xml"/><Relationship Id="rId320" Type="http://schemas.openxmlformats.org/officeDocument/2006/relationships/slide" Target="slides/slide316.xml"/><Relationship Id="rId558" Type="http://schemas.openxmlformats.org/officeDocument/2006/relationships/slide" Target="slides/slide554.xml"/><Relationship Id="rId723" Type="http://schemas.openxmlformats.org/officeDocument/2006/relationships/slide" Target="slides/slide719.xml"/><Relationship Id="rId765" Type="http://schemas.openxmlformats.org/officeDocument/2006/relationships/slide" Target="slides/slide761.xml"/><Relationship Id="rId155" Type="http://schemas.openxmlformats.org/officeDocument/2006/relationships/slide" Target="slides/slide151.xml"/><Relationship Id="rId197" Type="http://schemas.openxmlformats.org/officeDocument/2006/relationships/slide" Target="slides/slide193.xml"/><Relationship Id="rId362" Type="http://schemas.openxmlformats.org/officeDocument/2006/relationships/slide" Target="slides/slide358.xml"/><Relationship Id="rId418" Type="http://schemas.openxmlformats.org/officeDocument/2006/relationships/slide" Target="slides/slide414.xml"/><Relationship Id="rId625" Type="http://schemas.openxmlformats.org/officeDocument/2006/relationships/slide" Target="slides/slide621.xml"/><Relationship Id="rId222" Type="http://schemas.openxmlformats.org/officeDocument/2006/relationships/slide" Target="slides/slide218.xml"/><Relationship Id="rId264" Type="http://schemas.openxmlformats.org/officeDocument/2006/relationships/slide" Target="slides/slide260.xml"/><Relationship Id="rId471" Type="http://schemas.openxmlformats.org/officeDocument/2006/relationships/slide" Target="slides/slide467.xml"/><Relationship Id="rId667" Type="http://schemas.openxmlformats.org/officeDocument/2006/relationships/slide" Target="slides/slide663.xml"/><Relationship Id="rId17" Type="http://schemas.openxmlformats.org/officeDocument/2006/relationships/slide" Target="slides/slide13.xml"/><Relationship Id="rId59" Type="http://schemas.openxmlformats.org/officeDocument/2006/relationships/slide" Target="slides/slide55.xml"/><Relationship Id="rId124" Type="http://schemas.openxmlformats.org/officeDocument/2006/relationships/slide" Target="slides/slide120.xml"/><Relationship Id="rId527" Type="http://schemas.openxmlformats.org/officeDocument/2006/relationships/slide" Target="slides/slide523.xml"/><Relationship Id="rId569" Type="http://schemas.openxmlformats.org/officeDocument/2006/relationships/slide" Target="slides/slide565.xml"/><Relationship Id="rId734" Type="http://schemas.openxmlformats.org/officeDocument/2006/relationships/slide" Target="slides/slide730.xml"/><Relationship Id="rId70" Type="http://schemas.openxmlformats.org/officeDocument/2006/relationships/slide" Target="slides/slide66.xml"/><Relationship Id="rId166" Type="http://schemas.openxmlformats.org/officeDocument/2006/relationships/slide" Target="slides/slide162.xml"/><Relationship Id="rId331" Type="http://schemas.openxmlformats.org/officeDocument/2006/relationships/slide" Target="slides/slide327.xml"/><Relationship Id="rId373" Type="http://schemas.openxmlformats.org/officeDocument/2006/relationships/slide" Target="slides/slide369.xml"/><Relationship Id="rId429" Type="http://schemas.openxmlformats.org/officeDocument/2006/relationships/slide" Target="slides/slide425.xml"/><Relationship Id="rId580" Type="http://schemas.openxmlformats.org/officeDocument/2006/relationships/slide" Target="slides/slide576.xml"/><Relationship Id="rId636" Type="http://schemas.openxmlformats.org/officeDocument/2006/relationships/slide" Target="slides/slide632.xml"/><Relationship Id="rId1" Type="http://schemas.openxmlformats.org/officeDocument/2006/relationships/customXml" Target="../customXml/item1.xml"/><Relationship Id="rId233" Type="http://schemas.openxmlformats.org/officeDocument/2006/relationships/slide" Target="slides/slide229.xml"/><Relationship Id="rId440" Type="http://schemas.openxmlformats.org/officeDocument/2006/relationships/slide" Target="slides/slide436.xml"/><Relationship Id="rId678" Type="http://schemas.openxmlformats.org/officeDocument/2006/relationships/slide" Target="slides/slide674.xml"/><Relationship Id="rId28" Type="http://schemas.openxmlformats.org/officeDocument/2006/relationships/slide" Target="slides/slide24.xml"/><Relationship Id="rId275" Type="http://schemas.openxmlformats.org/officeDocument/2006/relationships/slide" Target="slides/slide271.xml"/><Relationship Id="rId300" Type="http://schemas.openxmlformats.org/officeDocument/2006/relationships/slide" Target="slides/slide296.xml"/><Relationship Id="rId482" Type="http://schemas.openxmlformats.org/officeDocument/2006/relationships/slide" Target="slides/slide478.xml"/><Relationship Id="rId538" Type="http://schemas.openxmlformats.org/officeDocument/2006/relationships/slide" Target="slides/slide534.xml"/><Relationship Id="rId703" Type="http://schemas.openxmlformats.org/officeDocument/2006/relationships/slide" Target="slides/slide699.xml"/><Relationship Id="rId745" Type="http://schemas.openxmlformats.org/officeDocument/2006/relationships/slide" Target="slides/slide741.xml"/><Relationship Id="rId81" Type="http://schemas.openxmlformats.org/officeDocument/2006/relationships/slide" Target="slides/slide77.xml"/><Relationship Id="rId135" Type="http://schemas.openxmlformats.org/officeDocument/2006/relationships/slide" Target="slides/slide131.xml"/><Relationship Id="rId177" Type="http://schemas.openxmlformats.org/officeDocument/2006/relationships/slide" Target="slides/slide173.xml"/><Relationship Id="rId342" Type="http://schemas.openxmlformats.org/officeDocument/2006/relationships/slide" Target="slides/slide338.xml"/><Relationship Id="rId384" Type="http://schemas.openxmlformats.org/officeDocument/2006/relationships/slide" Target="slides/slide380.xml"/><Relationship Id="rId591" Type="http://schemas.openxmlformats.org/officeDocument/2006/relationships/slide" Target="slides/slide587.xml"/><Relationship Id="rId605" Type="http://schemas.openxmlformats.org/officeDocument/2006/relationships/slide" Target="slides/slide601.xml"/><Relationship Id="rId202" Type="http://schemas.openxmlformats.org/officeDocument/2006/relationships/slide" Target="slides/slide198.xml"/><Relationship Id="rId244" Type="http://schemas.openxmlformats.org/officeDocument/2006/relationships/slide" Target="slides/slide240.xml"/><Relationship Id="rId647" Type="http://schemas.openxmlformats.org/officeDocument/2006/relationships/slide" Target="slides/slide643.xml"/><Relationship Id="rId689" Type="http://schemas.openxmlformats.org/officeDocument/2006/relationships/slide" Target="slides/slide685.xml"/><Relationship Id="rId39" Type="http://schemas.openxmlformats.org/officeDocument/2006/relationships/slide" Target="slides/slide35.xml"/><Relationship Id="rId286" Type="http://schemas.openxmlformats.org/officeDocument/2006/relationships/slide" Target="slides/slide282.xml"/><Relationship Id="rId451" Type="http://schemas.openxmlformats.org/officeDocument/2006/relationships/slide" Target="slides/slide447.xml"/><Relationship Id="rId493" Type="http://schemas.openxmlformats.org/officeDocument/2006/relationships/slide" Target="slides/slide489.xml"/><Relationship Id="rId507" Type="http://schemas.openxmlformats.org/officeDocument/2006/relationships/slide" Target="slides/slide503.xml"/><Relationship Id="rId549" Type="http://schemas.openxmlformats.org/officeDocument/2006/relationships/slide" Target="slides/slide545.xml"/><Relationship Id="rId714" Type="http://schemas.openxmlformats.org/officeDocument/2006/relationships/slide" Target="slides/slide710.xml"/><Relationship Id="rId756" Type="http://schemas.openxmlformats.org/officeDocument/2006/relationships/slide" Target="slides/slide752.xml"/><Relationship Id="rId50" Type="http://schemas.openxmlformats.org/officeDocument/2006/relationships/slide" Target="slides/slide46.xml"/><Relationship Id="rId104" Type="http://schemas.openxmlformats.org/officeDocument/2006/relationships/slide" Target="slides/slide100.xml"/><Relationship Id="rId146" Type="http://schemas.openxmlformats.org/officeDocument/2006/relationships/slide" Target="slides/slide142.xml"/><Relationship Id="rId188" Type="http://schemas.openxmlformats.org/officeDocument/2006/relationships/slide" Target="slides/slide184.xml"/><Relationship Id="rId311" Type="http://schemas.openxmlformats.org/officeDocument/2006/relationships/slide" Target="slides/slide307.xml"/><Relationship Id="rId353" Type="http://schemas.openxmlformats.org/officeDocument/2006/relationships/slide" Target="slides/slide349.xml"/><Relationship Id="rId395" Type="http://schemas.openxmlformats.org/officeDocument/2006/relationships/slide" Target="slides/slide391.xml"/><Relationship Id="rId409" Type="http://schemas.openxmlformats.org/officeDocument/2006/relationships/slide" Target="slides/slide405.xml"/><Relationship Id="rId560" Type="http://schemas.openxmlformats.org/officeDocument/2006/relationships/slide" Target="slides/slide556.xml"/><Relationship Id="rId92" Type="http://schemas.openxmlformats.org/officeDocument/2006/relationships/slide" Target="slides/slide88.xml"/><Relationship Id="rId213" Type="http://schemas.openxmlformats.org/officeDocument/2006/relationships/slide" Target="slides/slide209.xml"/><Relationship Id="rId420" Type="http://schemas.openxmlformats.org/officeDocument/2006/relationships/slide" Target="slides/slide416.xml"/><Relationship Id="rId616" Type="http://schemas.openxmlformats.org/officeDocument/2006/relationships/slide" Target="slides/slide612.xml"/><Relationship Id="rId658" Type="http://schemas.openxmlformats.org/officeDocument/2006/relationships/slide" Target="slides/slide654.xml"/><Relationship Id="rId255" Type="http://schemas.openxmlformats.org/officeDocument/2006/relationships/slide" Target="slides/slide251.xml"/><Relationship Id="rId297" Type="http://schemas.openxmlformats.org/officeDocument/2006/relationships/slide" Target="slides/slide293.xml"/><Relationship Id="rId462" Type="http://schemas.openxmlformats.org/officeDocument/2006/relationships/slide" Target="slides/slide458.xml"/><Relationship Id="rId518" Type="http://schemas.openxmlformats.org/officeDocument/2006/relationships/slide" Target="slides/slide514.xml"/><Relationship Id="rId725" Type="http://schemas.openxmlformats.org/officeDocument/2006/relationships/slide" Target="slides/slide721.xml"/><Relationship Id="rId115" Type="http://schemas.openxmlformats.org/officeDocument/2006/relationships/slide" Target="slides/slide111.xml"/><Relationship Id="rId157" Type="http://schemas.openxmlformats.org/officeDocument/2006/relationships/slide" Target="slides/slide153.xml"/><Relationship Id="rId322" Type="http://schemas.openxmlformats.org/officeDocument/2006/relationships/slide" Target="slides/slide318.xml"/><Relationship Id="rId364" Type="http://schemas.openxmlformats.org/officeDocument/2006/relationships/slide" Target="slides/slide360.xml"/><Relationship Id="rId767" Type="http://schemas.openxmlformats.org/officeDocument/2006/relationships/notesMaster" Target="notesMasters/notesMaster1.xml"/><Relationship Id="rId61" Type="http://schemas.openxmlformats.org/officeDocument/2006/relationships/slide" Target="slides/slide57.xml"/><Relationship Id="rId199" Type="http://schemas.openxmlformats.org/officeDocument/2006/relationships/slide" Target="slides/slide195.xml"/><Relationship Id="rId571" Type="http://schemas.openxmlformats.org/officeDocument/2006/relationships/slide" Target="slides/slide567.xml"/><Relationship Id="rId627" Type="http://schemas.openxmlformats.org/officeDocument/2006/relationships/slide" Target="slides/slide623.xml"/><Relationship Id="rId669" Type="http://schemas.openxmlformats.org/officeDocument/2006/relationships/slide" Target="slides/slide665.xml"/><Relationship Id="rId19" Type="http://schemas.openxmlformats.org/officeDocument/2006/relationships/slide" Target="slides/slide15.xml"/><Relationship Id="rId224" Type="http://schemas.openxmlformats.org/officeDocument/2006/relationships/slide" Target="slides/slide220.xml"/><Relationship Id="rId266" Type="http://schemas.openxmlformats.org/officeDocument/2006/relationships/slide" Target="slides/slide262.xml"/><Relationship Id="rId431" Type="http://schemas.openxmlformats.org/officeDocument/2006/relationships/slide" Target="slides/slide427.xml"/><Relationship Id="rId473" Type="http://schemas.openxmlformats.org/officeDocument/2006/relationships/slide" Target="slides/slide469.xml"/><Relationship Id="rId529" Type="http://schemas.openxmlformats.org/officeDocument/2006/relationships/slide" Target="slides/slide525.xml"/><Relationship Id="rId680" Type="http://schemas.openxmlformats.org/officeDocument/2006/relationships/slide" Target="slides/slide676.xml"/><Relationship Id="rId736" Type="http://schemas.openxmlformats.org/officeDocument/2006/relationships/slide" Target="slides/slide732.xml"/><Relationship Id="rId30" Type="http://schemas.openxmlformats.org/officeDocument/2006/relationships/slide" Target="slides/slide26.xml"/><Relationship Id="rId126" Type="http://schemas.openxmlformats.org/officeDocument/2006/relationships/slide" Target="slides/slide122.xml"/><Relationship Id="rId168" Type="http://schemas.openxmlformats.org/officeDocument/2006/relationships/slide" Target="slides/slide164.xml"/><Relationship Id="rId333" Type="http://schemas.openxmlformats.org/officeDocument/2006/relationships/slide" Target="slides/slide329.xml"/><Relationship Id="rId540" Type="http://schemas.openxmlformats.org/officeDocument/2006/relationships/slide" Target="slides/slide536.xml"/><Relationship Id="rId72" Type="http://schemas.openxmlformats.org/officeDocument/2006/relationships/slide" Target="slides/slide68.xml"/><Relationship Id="rId375" Type="http://schemas.openxmlformats.org/officeDocument/2006/relationships/slide" Target="slides/slide371.xml"/><Relationship Id="rId582" Type="http://schemas.openxmlformats.org/officeDocument/2006/relationships/slide" Target="slides/slide578.xml"/><Relationship Id="rId638" Type="http://schemas.openxmlformats.org/officeDocument/2006/relationships/slide" Target="slides/slide634.xml"/><Relationship Id="rId3" Type="http://schemas.openxmlformats.org/officeDocument/2006/relationships/customXml" Target="../customXml/item3.xml"/><Relationship Id="rId235" Type="http://schemas.openxmlformats.org/officeDocument/2006/relationships/slide" Target="slides/slide231.xml"/><Relationship Id="rId277" Type="http://schemas.openxmlformats.org/officeDocument/2006/relationships/slide" Target="slides/slide273.xml"/><Relationship Id="rId400" Type="http://schemas.openxmlformats.org/officeDocument/2006/relationships/slide" Target="slides/slide396.xml"/><Relationship Id="rId442" Type="http://schemas.openxmlformats.org/officeDocument/2006/relationships/slide" Target="slides/slide438.xml"/><Relationship Id="rId484" Type="http://schemas.openxmlformats.org/officeDocument/2006/relationships/slide" Target="slides/slide480.xml"/><Relationship Id="rId705" Type="http://schemas.openxmlformats.org/officeDocument/2006/relationships/slide" Target="slides/slide701.xml"/><Relationship Id="rId137" Type="http://schemas.openxmlformats.org/officeDocument/2006/relationships/slide" Target="slides/slide133.xml"/><Relationship Id="rId302" Type="http://schemas.openxmlformats.org/officeDocument/2006/relationships/slide" Target="slides/slide298.xml"/><Relationship Id="rId344" Type="http://schemas.openxmlformats.org/officeDocument/2006/relationships/slide" Target="slides/slide340.xml"/><Relationship Id="rId691" Type="http://schemas.openxmlformats.org/officeDocument/2006/relationships/slide" Target="slides/slide687.xml"/><Relationship Id="rId747" Type="http://schemas.openxmlformats.org/officeDocument/2006/relationships/slide" Target="slides/slide743.xml"/><Relationship Id="rId41" Type="http://schemas.openxmlformats.org/officeDocument/2006/relationships/slide" Target="slides/slide37.xml"/><Relationship Id="rId83" Type="http://schemas.openxmlformats.org/officeDocument/2006/relationships/slide" Target="slides/slide79.xml"/><Relationship Id="rId179" Type="http://schemas.openxmlformats.org/officeDocument/2006/relationships/slide" Target="slides/slide175.xml"/><Relationship Id="rId386" Type="http://schemas.openxmlformats.org/officeDocument/2006/relationships/slide" Target="slides/slide382.xml"/><Relationship Id="rId551" Type="http://schemas.openxmlformats.org/officeDocument/2006/relationships/slide" Target="slides/slide547.xml"/><Relationship Id="rId593" Type="http://schemas.openxmlformats.org/officeDocument/2006/relationships/slide" Target="slides/slide589.xml"/><Relationship Id="rId607" Type="http://schemas.openxmlformats.org/officeDocument/2006/relationships/slide" Target="slides/slide603.xml"/><Relationship Id="rId649" Type="http://schemas.openxmlformats.org/officeDocument/2006/relationships/slide" Target="slides/slide645.xml"/><Relationship Id="rId190" Type="http://schemas.openxmlformats.org/officeDocument/2006/relationships/slide" Target="slides/slide186.xml"/><Relationship Id="rId204" Type="http://schemas.openxmlformats.org/officeDocument/2006/relationships/slide" Target="slides/slide200.xml"/><Relationship Id="rId246" Type="http://schemas.openxmlformats.org/officeDocument/2006/relationships/slide" Target="slides/slide242.xml"/><Relationship Id="rId288" Type="http://schemas.openxmlformats.org/officeDocument/2006/relationships/slide" Target="slides/slide284.xml"/><Relationship Id="rId411" Type="http://schemas.openxmlformats.org/officeDocument/2006/relationships/slide" Target="slides/slide407.xml"/><Relationship Id="rId453" Type="http://schemas.openxmlformats.org/officeDocument/2006/relationships/slide" Target="slides/slide449.xml"/><Relationship Id="rId509" Type="http://schemas.openxmlformats.org/officeDocument/2006/relationships/slide" Target="slides/slide505.xml"/><Relationship Id="rId660" Type="http://schemas.openxmlformats.org/officeDocument/2006/relationships/slide" Target="slides/slide656.xml"/><Relationship Id="rId106" Type="http://schemas.openxmlformats.org/officeDocument/2006/relationships/slide" Target="slides/slide102.xml"/><Relationship Id="rId313" Type="http://schemas.openxmlformats.org/officeDocument/2006/relationships/slide" Target="slides/slide309.xml"/><Relationship Id="rId495" Type="http://schemas.openxmlformats.org/officeDocument/2006/relationships/slide" Target="slides/slide491.xml"/><Relationship Id="rId716" Type="http://schemas.openxmlformats.org/officeDocument/2006/relationships/slide" Target="slides/slide712.xml"/><Relationship Id="rId758" Type="http://schemas.openxmlformats.org/officeDocument/2006/relationships/slide" Target="slides/slide754.xml"/><Relationship Id="rId10" Type="http://schemas.openxmlformats.org/officeDocument/2006/relationships/slide" Target="slides/slide6.xml"/><Relationship Id="rId52" Type="http://schemas.openxmlformats.org/officeDocument/2006/relationships/slide" Target="slides/slide48.xml"/><Relationship Id="rId94" Type="http://schemas.openxmlformats.org/officeDocument/2006/relationships/slide" Target="slides/slide90.xml"/><Relationship Id="rId148" Type="http://schemas.openxmlformats.org/officeDocument/2006/relationships/slide" Target="slides/slide144.xml"/><Relationship Id="rId355" Type="http://schemas.openxmlformats.org/officeDocument/2006/relationships/slide" Target="slides/slide351.xml"/><Relationship Id="rId397" Type="http://schemas.openxmlformats.org/officeDocument/2006/relationships/slide" Target="slides/slide393.xml"/><Relationship Id="rId520" Type="http://schemas.openxmlformats.org/officeDocument/2006/relationships/slide" Target="slides/slide516.xml"/><Relationship Id="rId562" Type="http://schemas.openxmlformats.org/officeDocument/2006/relationships/slide" Target="slides/slide558.xml"/><Relationship Id="rId618" Type="http://schemas.openxmlformats.org/officeDocument/2006/relationships/slide" Target="slides/slide614.xml"/><Relationship Id="rId215" Type="http://schemas.openxmlformats.org/officeDocument/2006/relationships/slide" Target="slides/slide211.xml"/><Relationship Id="rId257" Type="http://schemas.openxmlformats.org/officeDocument/2006/relationships/slide" Target="slides/slide253.xml"/><Relationship Id="rId422" Type="http://schemas.openxmlformats.org/officeDocument/2006/relationships/slide" Target="slides/slide418.xml"/><Relationship Id="rId464" Type="http://schemas.openxmlformats.org/officeDocument/2006/relationships/slide" Target="slides/slide460.xml"/><Relationship Id="rId299" Type="http://schemas.openxmlformats.org/officeDocument/2006/relationships/slide" Target="slides/slide295.xml"/><Relationship Id="rId727" Type="http://schemas.openxmlformats.org/officeDocument/2006/relationships/slide" Target="slides/slide723.xml"/><Relationship Id="rId63" Type="http://schemas.openxmlformats.org/officeDocument/2006/relationships/slide" Target="slides/slide59.xml"/><Relationship Id="rId159" Type="http://schemas.openxmlformats.org/officeDocument/2006/relationships/slide" Target="slides/slide155.xml"/><Relationship Id="rId366" Type="http://schemas.openxmlformats.org/officeDocument/2006/relationships/slide" Target="slides/slide362.xml"/><Relationship Id="rId573" Type="http://schemas.openxmlformats.org/officeDocument/2006/relationships/slide" Target="slides/slide569.xml"/><Relationship Id="rId226" Type="http://schemas.openxmlformats.org/officeDocument/2006/relationships/slide" Target="slides/slide222.xml"/><Relationship Id="rId433" Type="http://schemas.openxmlformats.org/officeDocument/2006/relationships/slide" Target="slides/slide429.xml"/><Relationship Id="rId640" Type="http://schemas.openxmlformats.org/officeDocument/2006/relationships/slide" Target="slides/slide636.xml"/><Relationship Id="rId738" Type="http://schemas.openxmlformats.org/officeDocument/2006/relationships/slide" Target="slides/slide734.xml"/><Relationship Id="rId74" Type="http://schemas.openxmlformats.org/officeDocument/2006/relationships/slide" Target="slides/slide70.xml"/><Relationship Id="rId377" Type="http://schemas.openxmlformats.org/officeDocument/2006/relationships/slide" Target="slides/slide373.xml"/><Relationship Id="rId500" Type="http://schemas.openxmlformats.org/officeDocument/2006/relationships/slide" Target="slides/slide496.xml"/><Relationship Id="rId584" Type="http://schemas.openxmlformats.org/officeDocument/2006/relationships/slide" Target="slides/slide580.xml"/><Relationship Id="rId5" Type="http://schemas.openxmlformats.org/officeDocument/2006/relationships/slide" Target="slides/slide1.xml"/><Relationship Id="rId237" Type="http://schemas.openxmlformats.org/officeDocument/2006/relationships/slide" Target="slides/slide233.xml"/><Relationship Id="rId444" Type="http://schemas.openxmlformats.org/officeDocument/2006/relationships/slide" Target="slides/slide440.xml"/><Relationship Id="rId651" Type="http://schemas.openxmlformats.org/officeDocument/2006/relationships/slide" Target="slides/slide647.xml"/><Relationship Id="rId749" Type="http://schemas.openxmlformats.org/officeDocument/2006/relationships/slide" Target="slides/slide745.xml"/><Relationship Id="rId290" Type="http://schemas.openxmlformats.org/officeDocument/2006/relationships/slide" Target="slides/slide286.xml"/><Relationship Id="rId304" Type="http://schemas.openxmlformats.org/officeDocument/2006/relationships/slide" Target="slides/slide300.xml"/><Relationship Id="rId388" Type="http://schemas.openxmlformats.org/officeDocument/2006/relationships/slide" Target="slides/slide384.xml"/><Relationship Id="rId511" Type="http://schemas.openxmlformats.org/officeDocument/2006/relationships/slide" Target="slides/slide507.xml"/><Relationship Id="rId609" Type="http://schemas.openxmlformats.org/officeDocument/2006/relationships/slide" Target="slides/slide605.xml"/><Relationship Id="rId85" Type="http://schemas.openxmlformats.org/officeDocument/2006/relationships/slide" Target="slides/slide81.xml"/><Relationship Id="rId150" Type="http://schemas.openxmlformats.org/officeDocument/2006/relationships/slide" Target="slides/slide146.xml"/><Relationship Id="rId595" Type="http://schemas.openxmlformats.org/officeDocument/2006/relationships/slide" Target="slides/slide591.xml"/><Relationship Id="rId248" Type="http://schemas.openxmlformats.org/officeDocument/2006/relationships/slide" Target="slides/slide244.xml"/><Relationship Id="rId455" Type="http://schemas.openxmlformats.org/officeDocument/2006/relationships/slide" Target="slides/slide451.xml"/><Relationship Id="rId662" Type="http://schemas.openxmlformats.org/officeDocument/2006/relationships/slide" Target="slides/slide658.xml"/><Relationship Id="rId12" Type="http://schemas.openxmlformats.org/officeDocument/2006/relationships/slide" Target="slides/slide8.xml"/><Relationship Id="rId108" Type="http://schemas.openxmlformats.org/officeDocument/2006/relationships/slide" Target="slides/slide104.xml"/><Relationship Id="rId315" Type="http://schemas.openxmlformats.org/officeDocument/2006/relationships/slide" Target="slides/slide311.xml"/><Relationship Id="rId522" Type="http://schemas.openxmlformats.org/officeDocument/2006/relationships/slide" Target="slides/slide518.xml"/><Relationship Id="rId96" Type="http://schemas.openxmlformats.org/officeDocument/2006/relationships/slide" Target="slides/slide92.xml"/><Relationship Id="rId161" Type="http://schemas.openxmlformats.org/officeDocument/2006/relationships/slide" Target="slides/slide157.xml"/><Relationship Id="rId399" Type="http://schemas.openxmlformats.org/officeDocument/2006/relationships/slide" Target="slides/slide395.xml"/><Relationship Id="rId259" Type="http://schemas.openxmlformats.org/officeDocument/2006/relationships/slide" Target="slides/slide255.xml"/><Relationship Id="rId466" Type="http://schemas.openxmlformats.org/officeDocument/2006/relationships/slide" Target="slides/slide462.xml"/><Relationship Id="rId673" Type="http://schemas.openxmlformats.org/officeDocument/2006/relationships/slide" Target="slides/slide669.xml"/><Relationship Id="rId23" Type="http://schemas.openxmlformats.org/officeDocument/2006/relationships/slide" Target="slides/slide19.xml"/><Relationship Id="rId119" Type="http://schemas.openxmlformats.org/officeDocument/2006/relationships/slide" Target="slides/slide115.xml"/><Relationship Id="rId326" Type="http://schemas.openxmlformats.org/officeDocument/2006/relationships/slide" Target="slides/slide322.xml"/><Relationship Id="rId533" Type="http://schemas.openxmlformats.org/officeDocument/2006/relationships/slide" Target="slides/slide529.xml"/><Relationship Id="rId740" Type="http://schemas.openxmlformats.org/officeDocument/2006/relationships/slide" Target="slides/slide736.xml"/><Relationship Id="rId172" Type="http://schemas.openxmlformats.org/officeDocument/2006/relationships/slide" Target="slides/slide168.xml"/><Relationship Id="rId477" Type="http://schemas.openxmlformats.org/officeDocument/2006/relationships/slide" Target="slides/slide473.xml"/><Relationship Id="rId600" Type="http://schemas.openxmlformats.org/officeDocument/2006/relationships/slide" Target="slides/slide596.xml"/><Relationship Id="rId684" Type="http://schemas.openxmlformats.org/officeDocument/2006/relationships/slide" Target="slides/slide680.xml"/><Relationship Id="rId337" Type="http://schemas.openxmlformats.org/officeDocument/2006/relationships/slide" Target="slides/slide333.xml"/><Relationship Id="rId34" Type="http://schemas.openxmlformats.org/officeDocument/2006/relationships/slide" Target="slides/slide30.xml"/><Relationship Id="rId544" Type="http://schemas.openxmlformats.org/officeDocument/2006/relationships/slide" Target="slides/slide540.xml"/><Relationship Id="rId751" Type="http://schemas.openxmlformats.org/officeDocument/2006/relationships/slide" Target="slides/slide747.xml"/><Relationship Id="rId183" Type="http://schemas.openxmlformats.org/officeDocument/2006/relationships/slide" Target="slides/slide179.xml"/><Relationship Id="rId390" Type="http://schemas.openxmlformats.org/officeDocument/2006/relationships/slide" Target="slides/slide386.xml"/><Relationship Id="rId404" Type="http://schemas.openxmlformats.org/officeDocument/2006/relationships/slide" Target="slides/slide400.xml"/><Relationship Id="rId611" Type="http://schemas.openxmlformats.org/officeDocument/2006/relationships/slide" Target="slides/slide607.xml"/><Relationship Id="rId250" Type="http://schemas.openxmlformats.org/officeDocument/2006/relationships/slide" Target="slides/slide246.xml"/><Relationship Id="rId488" Type="http://schemas.openxmlformats.org/officeDocument/2006/relationships/slide" Target="slides/slide484.xml"/><Relationship Id="rId695" Type="http://schemas.openxmlformats.org/officeDocument/2006/relationships/slide" Target="slides/slide691.xml"/><Relationship Id="rId709" Type="http://schemas.openxmlformats.org/officeDocument/2006/relationships/slide" Target="slides/slide705.xml"/><Relationship Id="rId45" Type="http://schemas.openxmlformats.org/officeDocument/2006/relationships/slide" Target="slides/slide41.xml"/><Relationship Id="rId110" Type="http://schemas.openxmlformats.org/officeDocument/2006/relationships/slide" Target="slides/slide106.xml"/><Relationship Id="rId348" Type="http://schemas.openxmlformats.org/officeDocument/2006/relationships/slide" Target="slides/slide344.xml"/><Relationship Id="rId555" Type="http://schemas.openxmlformats.org/officeDocument/2006/relationships/slide" Target="slides/slide551.xml"/><Relationship Id="rId762" Type="http://schemas.openxmlformats.org/officeDocument/2006/relationships/slide" Target="slides/slide758.xml"/><Relationship Id="rId194" Type="http://schemas.openxmlformats.org/officeDocument/2006/relationships/slide" Target="slides/slide190.xml"/><Relationship Id="rId208" Type="http://schemas.openxmlformats.org/officeDocument/2006/relationships/slide" Target="slides/slide204.xml"/><Relationship Id="rId415" Type="http://schemas.openxmlformats.org/officeDocument/2006/relationships/slide" Target="slides/slide411.xml"/><Relationship Id="rId622" Type="http://schemas.openxmlformats.org/officeDocument/2006/relationships/slide" Target="slides/slide618.xml"/><Relationship Id="rId261" Type="http://schemas.openxmlformats.org/officeDocument/2006/relationships/slide" Target="slides/slide257.xml"/><Relationship Id="rId499" Type="http://schemas.openxmlformats.org/officeDocument/2006/relationships/slide" Target="slides/slide495.xml"/><Relationship Id="rId56" Type="http://schemas.openxmlformats.org/officeDocument/2006/relationships/slide" Target="slides/slide52.xml"/><Relationship Id="rId359" Type="http://schemas.openxmlformats.org/officeDocument/2006/relationships/slide" Target="slides/slide355.xml"/><Relationship Id="rId566" Type="http://schemas.openxmlformats.org/officeDocument/2006/relationships/slide" Target="slides/slide562.xml"/><Relationship Id="rId121" Type="http://schemas.openxmlformats.org/officeDocument/2006/relationships/slide" Target="slides/slide117.xml"/><Relationship Id="rId219" Type="http://schemas.openxmlformats.org/officeDocument/2006/relationships/slide" Target="slides/slide215.xml"/><Relationship Id="rId426" Type="http://schemas.openxmlformats.org/officeDocument/2006/relationships/slide" Target="slides/slide422.xml"/><Relationship Id="rId633" Type="http://schemas.openxmlformats.org/officeDocument/2006/relationships/slide" Target="slides/slide629.xml"/><Relationship Id="rId67" Type="http://schemas.openxmlformats.org/officeDocument/2006/relationships/slide" Target="slides/slide63.xml"/><Relationship Id="rId272" Type="http://schemas.openxmlformats.org/officeDocument/2006/relationships/slide" Target="slides/slide268.xml"/><Relationship Id="rId577" Type="http://schemas.openxmlformats.org/officeDocument/2006/relationships/slide" Target="slides/slide573.xml"/><Relationship Id="rId700" Type="http://schemas.openxmlformats.org/officeDocument/2006/relationships/slide" Target="slides/slide696.xml"/><Relationship Id="rId132" Type="http://schemas.openxmlformats.org/officeDocument/2006/relationships/slide" Target="slides/slide128.xml"/><Relationship Id="rId437" Type="http://schemas.openxmlformats.org/officeDocument/2006/relationships/slide" Target="slides/slide433.xml"/><Relationship Id="rId644" Type="http://schemas.openxmlformats.org/officeDocument/2006/relationships/slide" Target="slides/slide640.xml"/><Relationship Id="rId283" Type="http://schemas.openxmlformats.org/officeDocument/2006/relationships/slide" Target="slides/slide279.xml"/><Relationship Id="rId490" Type="http://schemas.openxmlformats.org/officeDocument/2006/relationships/slide" Target="slides/slide486.xml"/><Relationship Id="rId504" Type="http://schemas.openxmlformats.org/officeDocument/2006/relationships/slide" Target="slides/slide500.xml"/><Relationship Id="rId711" Type="http://schemas.openxmlformats.org/officeDocument/2006/relationships/slide" Target="slides/slide707.xml"/><Relationship Id="rId78" Type="http://schemas.openxmlformats.org/officeDocument/2006/relationships/slide" Target="slides/slide74.xml"/><Relationship Id="rId143" Type="http://schemas.openxmlformats.org/officeDocument/2006/relationships/slide" Target="slides/slide139.xml"/><Relationship Id="rId350" Type="http://schemas.openxmlformats.org/officeDocument/2006/relationships/slide" Target="slides/slide346.xml"/><Relationship Id="rId588" Type="http://schemas.openxmlformats.org/officeDocument/2006/relationships/slide" Target="slides/slide584.xml"/><Relationship Id="rId9" Type="http://schemas.openxmlformats.org/officeDocument/2006/relationships/slide" Target="slides/slide5.xml"/><Relationship Id="rId210" Type="http://schemas.openxmlformats.org/officeDocument/2006/relationships/slide" Target="slides/slide206.xml"/><Relationship Id="rId448" Type="http://schemas.openxmlformats.org/officeDocument/2006/relationships/slide" Target="slides/slide444.xml"/><Relationship Id="rId655" Type="http://schemas.openxmlformats.org/officeDocument/2006/relationships/slide" Target="slides/slide651.xml"/><Relationship Id="rId294" Type="http://schemas.openxmlformats.org/officeDocument/2006/relationships/slide" Target="slides/slide290.xml"/><Relationship Id="rId308" Type="http://schemas.openxmlformats.org/officeDocument/2006/relationships/slide" Target="slides/slide304.xml"/><Relationship Id="rId515" Type="http://schemas.openxmlformats.org/officeDocument/2006/relationships/slide" Target="slides/slide511.xml"/><Relationship Id="rId722" Type="http://schemas.openxmlformats.org/officeDocument/2006/relationships/slide" Target="slides/slide718.xml"/><Relationship Id="rId89" Type="http://schemas.openxmlformats.org/officeDocument/2006/relationships/slide" Target="slides/slide85.xml"/><Relationship Id="rId154" Type="http://schemas.openxmlformats.org/officeDocument/2006/relationships/slide" Target="slides/slide150.xml"/><Relationship Id="rId361" Type="http://schemas.openxmlformats.org/officeDocument/2006/relationships/slide" Target="slides/slide357.xml"/><Relationship Id="rId599" Type="http://schemas.openxmlformats.org/officeDocument/2006/relationships/slide" Target="slides/slide595.xml"/><Relationship Id="rId459" Type="http://schemas.openxmlformats.org/officeDocument/2006/relationships/slide" Target="slides/slide455.xml"/><Relationship Id="rId666" Type="http://schemas.openxmlformats.org/officeDocument/2006/relationships/slide" Target="slides/slide662.xml"/><Relationship Id="rId16" Type="http://schemas.openxmlformats.org/officeDocument/2006/relationships/slide" Target="slides/slide12.xml"/><Relationship Id="rId221" Type="http://schemas.openxmlformats.org/officeDocument/2006/relationships/slide" Target="slides/slide217.xml"/><Relationship Id="rId319" Type="http://schemas.openxmlformats.org/officeDocument/2006/relationships/slide" Target="slides/slide315.xml"/><Relationship Id="rId526" Type="http://schemas.openxmlformats.org/officeDocument/2006/relationships/slide" Target="slides/slide522.xml"/><Relationship Id="rId733" Type="http://schemas.openxmlformats.org/officeDocument/2006/relationships/slide" Target="slides/slide729.xml"/><Relationship Id="rId165" Type="http://schemas.openxmlformats.org/officeDocument/2006/relationships/slide" Target="slides/slide161.xml"/><Relationship Id="rId372" Type="http://schemas.openxmlformats.org/officeDocument/2006/relationships/slide" Target="slides/slide368.xml"/><Relationship Id="rId677" Type="http://schemas.openxmlformats.org/officeDocument/2006/relationships/slide" Target="slides/slide673.xml"/><Relationship Id="rId232" Type="http://schemas.openxmlformats.org/officeDocument/2006/relationships/slide" Target="slides/slide228.xml"/><Relationship Id="rId27" Type="http://schemas.openxmlformats.org/officeDocument/2006/relationships/slide" Target="slides/slide23.xml"/><Relationship Id="rId537" Type="http://schemas.openxmlformats.org/officeDocument/2006/relationships/slide" Target="slides/slide533.xml"/><Relationship Id="rId744" Type="http://schemas.openxmlformats.org/officeDocument/2006/relationships/slide" Target="slides/slide740.xml"/><Relationship Id="rId80" Type="http://schemas.openxmlformats.org/officeDocument/2006/relationships/slide" Target="slides/slide76.xml"/><Relationship Id="rId176" Type="http://schemas.openxmlformats.org/officeDocument/2006/relationships/slide" Target="slides/slide172.xml"/><Relationship Id="rId383" Type="http://schemas.openxmlformats.org/officeDocument/2006/relationships/slide" Target="slides/slide379.xml"/><Relationship Id="rId590" Type="http://schemas.openxmlformats.org/officeDocument/2006/relationships/slide" Target="slides/slide586.xml"/><Relationship Id="rId604" Type="http://schemas.openxmlformats.org/officeDocument/2006/relationships/slide" Target="slides/slide600.xml"/><Relationship Id="rId243" Type="http://schemas.openxmlformats.org/officeDocument/2006/relationships/slide" Target="slides/slide239.xml"/><Relationship Id="rId450" Type="http://schemas.openxmlformats.org/officeDocument/2006/relationships/slide" Target="slides/slide446.xml"/><Relationship Id="rId688" Type="http://schemas.openxmlformats.org/officeDocument/2006/relationships/slide" Target="slides/slide684.xml"/><Relationship Id="rId38" Type="http://schemas.openxmlformats.org/officeDocument/2006/relationships/slide" Target="slides/slide34.xml"/><Relationship Id="rId103" Type="http://schemas.openxmlformats.org/officeDocument/2006/relationships/slide" Target="slides/slide99.xml"/><Relationship Id="rId310" Type="http://schemas.openxmlformats.org/officeDocument/2006/relationships/slide" Target="slides/slide306.xml"/><Relationship Id="rId548" Type="http://schemas.openxmlformats.org/officeDocument/2006/relationships/slide" Target="slides/slide544.xml"/><Relationship Id="rId755" Type="http://schemas.openxmlformats.org/officeDocument/2006/relationships/slide" Target="slides/slide751.xml"/><Relationship Id="rId91" Type="http://schemas.openxmlformats.org/officeDocument/2006/relationships/slide" Target="slides/slide87.xml"/><Relationship Id="rId187" Type="http://schemas.openxmlformats.org/officeDocument/2006/relationships/slide" Target="slides/slide183.xml"/><Relationship Id="rId394" Type="http://schemas.openxmlformats.org/officeDocument/2006/relationships/slide" Target="slides/slide390.xml"/><Relationship Id="rId408" Type="http://schemas.openxmlformats.org/officeDocument/2006/relationships/slide" Target="slides/slide404.xml"/><Relationship Id="rId615" Type="http://schemas.openxmlformats.org/officeDocument/2006/relationships/slide" Target="slides/slide611.xml"/><Relationship Id="rId254" Type="http://schemas.openxmlformats.org/officeDocument/2006/relationships/slide" Target="slides/slide250.xml"/><Relationship Id="rId699" Type="http://schemas.openxmlformats.org/officeDocument/2006/relationships/slide" Target="slides/slide695.xml"/><Relationship Id="rId49" Type="http://schemas.openxmlformats.org/officeDocument/2006/relationships/slide" Target="slides/slide45.xml"/><Relationship Id="rId114" Type="http://schemas.openxmlformats.org/officeDocument/2006/relationships/slide" Target="slides/slide110.xml"/><Relationship Id="rId461" Type="http://schemas.openxmlformats.org/officeDocument/2006/relationships/slide" Target="slides/slide457.xml"/><Relationship Id="rId559" Type="http://schemas.openxmlformats.org/officeDocument/2006/relationships/slide" Target="slides/slide555.xml"/><Relationship Id="rId766" Type="http://schemas.openxmlformats.org/officeDocument/2006/relationships/slide" Target="slides/slide762.xml"/><Relationship Id="rId198" Type="http://schemas.openxmlformats.org/officeDocument/2006/relationships/slide" Target="slides/slide194.xml"/><Relationship Id="rId321" Type="http://schemas.openxmlformats.org/officeDocument/2006/relationships/slide" Target="slides/slide317.xml"/><Relationship Id="rId419" Type="http://schemas.openxmlformats.org/officeDocument/2006/relationships/slide" Target="slides/slide415.xml"/><Relationship Id="rId626" Type="http://schemas.openxmlformats.org/officeDocument/2006/relationships/slide" Target="slides/slide622.xml"/><Relationship Id="rId265" Type="http://schemas.openxmlformats.org/officeDocument/2006/relationships/slide" Target="slides/slide261.xml"/><Relationship Id="rId472" Type="http://schemas.openxmlformats.org/officeDocument/2006/relationships/slide" Target="slides/slide468.xml"/><Relationship Id="rId125" Type="http://schemas.openxmlformats.org/officeDocument/2006/relationships/slide" Target="slides/slide121.xml"/><Relationship Id="rId332" Type="http://schemas.openxmlformats.org/officeDocument/2006/relationships/slide" Target="slides/slide328.xml"/><Relationship Id="rId637" Type="http://schemas.openxmlformats.org/officeDocument/2006/relationships/slide" Target="slides/slide633.xml"/><Relationship Id="rId276" Type="http://schemas.openxmlformats.org/officeDocument/2006/relationships/slide" Target="slides/slide272.xml"/><Relationship Id="rId483" Type="http://schemas.openxmlformats.org/officeDocument/2006/relationships/slide" Target="slides/slide479.xml"/><Relationship Id="rId690" Type="http://schemas.openxmlformats.org/officeDocument/2006/relationships/slide" Target="slides/slide686.xml"/><Relationship Id="rId704" Type="http://schemas.openxmlformats.org/officeDocument/2006/relationships/slide" Target="slides/slide700.xml"/><Relationship Id="rId40" Type="http://schemas.openxmlformats.org/officeDocument/2006/relationships/slide" Target="slides/slide36.xml"/><Relationship Id="rId136" Type="http://schemas.openxmlformats.org/officeDocument/2006/relationships/slide" Target="slides/slide132.xml"/><Relationship Id="rId343" Type="http://schemas.openxmlformats.org/officeDocument/2006/relationships/slide" Target="slides/slide339.xml"/><Relationship Id="rId550" Type="http://schemas.openxmlformats.org/officeDocument/2006/relationships/slide" Target="slides/slide546.xml"/><Relationship Id="rId203" Type="http://schemas.openxmlformats.org/officeDocument/2006/relationships/slide" Target="slides/slide199.xml"/><Relationship Id="rId648" Type="http://schemas.openxmlformats.org/officeDocument/2006/relationships/slide" Target="slides/slide644.xml"/><Relationship Id="rId287" Type="http://schemas.openxmlformats.org/officeDocument/2006/relationships/slide" Target="slides/slide283.xml"/><Relationship Id="rId410" Type="http://schemas.openxmlformats.org/officeDocument/2006/relationships/slide" Target="slides/slide406.xml"/><Relationship Id="rId494" Type="http://schemas.openxmlformats.org/officeDocument/2006/relationships/slide" Target="slides/slide490.xml"/><Relationship Id="rId508" Type="http://schemas.openxmlformats.org/officeDocument/2006/relationships/slide" Target="slides/slide504.xml"/><Relationship Id="rId715" Type="http://schemas.openxmlformats.org/officeDocument/2006/relationships/slide" Target="slides/slide711.xml"/><Relationship Id="rId147" Type="http://schemas.openxmlformats.org/officeDocument/2006/relationships/slide" Target="slides/slide143.xml"/><Relationship Id="rId354" Type="http://schemas.openxmlformats.org/officeDocument/2006/relationships/slide" Target="slides/slide350.xml"/><Relationship Id="rId51" Type="http://schemas.openxmlformats.org/officeDocument/2006/relationships/slide" Target="slides/slide47.xml"/><Relationship Id="rId561" Type="http://schemas.openxmlformats.org/officeDocument/2006/relationships/slide" Target="slides/slide557.xml"/><Relationship Id="rId659" Type="http://schemas.openxmlformats.org/officeDocument/2006/relationships/slide" Target="slides/slide655.xml"/><Relationship Id="rId214" Type="http://schemas.openxmlformats.org/officeDocument/2006/relationships/slide" Target="slides/slide210.xml"/><Relationship Id="rId298" Type="http://schemas.openxmlformats.org/officeDocument/2006/relationships/slide" Target="slides/slide294.xml"/><Relationship Id="rId421" Type="http://schemas.openxmlformats.org/officeDocument/2006/relationships/slide" Target="slides/slide417.xml"/><Relationship Id="rId519" Type="http://schemas.openxmlformats.org/officeDocument/2006/relationships/slide" Target="slides/slide515.xml"/><Relationship Id="rId158" Type="http://schemas.openxmlformats.org/officeDocument/2006/relationships/slide" Target="slides/slide154.xml"/><Relationship Id="rId726" Type="http://schemas.openxmlformats.org/officeDocument/2006/relationships/slide" Target="slides/slide722.xml"/><Relationship Id="rId62" Type="http://schemas.openxmlformats.org/officeDocument/2006/relationships/slide" Target="slides/slide58.xml"/><Relationship Id="rId365" Type="http://schemas.openxmlformats.org/officeDocument/2006/relationships/slide" Target="slides/slide361.xml"/><Relationship Id="rId572" Type="http://schemas.openxmlformats.org/officeDocument/2006/relationships/slide" Target="slides/slide568.xml"/><Relationship Id="rId225" Type="http://schemas.openxmlformats.org/officeDocument/2006/relationships/slide" Target="slides/slide221.xml"/><Relationship Id="rId432" Type="http://schemas.openxmlformats.org/officeDocument/2006/relationships/slide" Target="slides/slide428.xml"/><Relationship Id="rId737" Type="http://schemas.openxmlformats.org/officeDocument/2006/relationships/slide" Target="slides/slide733.xml"/><Relationship Id="rId73" Type="http://schemas.openxmlformats.org/officeDocument/2006/relationships/slide" Target="slides/slide69.xml"/><Relationship Id="rId169" Type="http://schemas.openxmlformats.org/officeDocument/2006/relationships/slide" Target="slides/slide165.xml"/><Relationship Id="rId376" Type="http://schemas.openxmlformats.org/officeDocument/2006/relationships/slide" Target="slides/slide372.xml"/><Relationship Id="rId583" Type="http://schemas.openxmlformats.org/officeDocument/2006/relationships/slide" Target="slides/slide579.xml"/><Relationship Id="rId4" Type="http://schemas.openxmlformats.org/officeDocument/2006/relationships/slideMaster" Target="slideMasters/slideMaster1.xml"/><Relationship Id="rId236" Type="http://schemas.openxmlformats.org/officeDocument/2006/relationships/slide" Target="slides/slide232.xml"/><Relationship Id="rId443" Type="http://schemas.openxmlformats.org/officeDocument/2006/relationships/slide" Target="slides/slide439.xml"/><Relationship Id="rId650" Type="http://schemas.openxmlformats.org/officeDocument/2006/relationships/slide" Target="slides/slide646.xml"/><Relationship Id="rId303" Type="http://schemas.openxmlformats.org/officeDocument/2006/relationships/slide" Target="slides/slide299.xml"/><Relationship Id="rId748" Type="http://schemas.openxmlformats.org/officeDocument/2006/relationships/slide" Target="slides/slide744.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1" Type="http://schemas.openxmlformats.org/officeDocument/2006/relationships/package" Target="../embeddings/Microsoft_Excel_Worksheet99.xlsx"/></Relationships>
</file>

<file path=ppt/charts/_rels/chart101.xml.rels><?xml version="1.0" encoding="UTF-8" standalone="yes"?>
<Relationships xmlns="http://schemas.openxmlformats.org/package/2006/relationships"><Relationship Id="rId1" Type="http://schemas.openxmlformats.org/officeDocument/2006/relationships/package" Target="../embeddings/Microsoft_Excel_Worksheet100.xlsx"/></Relationships>
</file>

<file path=ppt/charts/_rels/chart102.xml.rels><?xml version="1.0" encoding="UTF-8" standalone="yes"?>
<Relationships xmlns="http://schemas.openxmlformats.org/package/2006/relationships"><Relationship Id="rId1" Type="http://schemas.openxmlformats.org/officeDocument/2006/relationships/package" Target="../embeddings/Microsoft_Excel_Worksheet101.xlsx"/></Relationships>
</file>

<file path=ppt/charts/_rels/chart103.xml.rels><?xml version="1.0" encoding="UTF-8" standalone="yes"?>
<Relationships xmlns="http://schemas.openxmlformats.org/package/2006/relationships"><Relationship Id="rId1" Type="http://schemas.openxmlformats.org/officeDocument/2006/relationships/package" Target="../embeddings/Microsoft_Excel_Worksheet102.xlsx"/></Relationships>
</file>

<file path=ppt/charts/_rels/chart104.xml.rels><?xml version="1.0" encoding="UTF-8" standalone="yes"?>
<Relationships xmlns="http://schemas.openxmlformats.org/package/2006/relationships"><Relationship Id="rId1" Type="http://schemas.openxmlformats.org/officeDocument/2006/relationships/package" Target="../embeddings/Microsoft_Excel_Worksheet103.xlsx"/></Relationships>
</file>

<file path=ppt/charts/_rels/chart105.xml.rels><?xml version="1.0" encoding="UTF-8" standalone="yes"?>
<Relationships xmlns="http://schemas.openxmlformats.org/package/2006/relationships"><Relationship Id="rId1" Type="http://schemas.openxmlformats.org/officeDocument/2006/relationships/package" Target="../embeddings/Microsoft_Excel_Worksheet104.xlsx"/></Relationships>
</file>

<file path=ppt/charts/_rels/chart106.xml.rels><?xml version="1.0" encoding="UTF-8" standalone="yes"?>
<Relationships xmlns="http://schemas.openxmlformats.org/package/2006/relationships"><Relationship Id="rId1" Type="http://schemas.openxmlformats.org/officeDocument/2006/relationships/package" Target="../embeddings/Microsoft_Excel_Worksheet105.xlsx"/></Relationships>
</file>

<file path=ppt/charts/_rels/chart107.xml.rels><?xml version="1.0" encoding="UTF-8" standalone="yes"?>
<Relationships xmlns="http://schemas.openxmlformats.org/package/2006/relationships"><Relationship Id="rId1" Type="http://schemas.openxmlformats.org/officeDocument/2006/relationships/package" Target="../embeddings/Microsoft_Excel_Worksheet106.xlsx"/></Relationships>
</file>

<file path=ppt/charts/_rels/chart108.xml.rels><?xml version="1.0" encoding="UTF-8" standalone="yes"?>
<Relationships xmlns="http://schemas.openxmlformats.org/package/2006/relationships"><Relationship Id="rId1" Type="http://schemas.openxmlformats.org/officeDocument/2006/relationships/package" Target="../embeddings/Microsoft_Excel_Worksheet107.xlsx"/></Relationships>
</file>

<file path=ppt/charts/_rels/chart109.xml.rels><?xml version="1.0" encoding="UTF-8" standalone="yes"?>
<Relationships xmlns="http://schemas.openxmlformats.org/package/2006/relationships"><Relationship Id="rId1" Type="http://schemas.openxmlformats.org/officeDocument/2006/relationships/package" Target="../embeddings/Microsoft_Excel_Worksheet108.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10.xml.rels><?xml version="1.0" encoding="UTF-8" standalone="yes"?>
<Relationships xmlns="http://schemas.openxmlformats.org/package/2006/relationships"><Relationship Id="rId1" Type="http://schemas.openxmlformats.org/officeDocument/2006/relationships/package" Target="../embeddings/Microsoft_Excel_Worksheet109.xlsx"/></Relationships>
</file>

<file path=ppt/charts/_rels/chart111.xml.rels><?xml version="1.0" encoding="UTF-8" standalone="yes"?>
<Relationships xmlns="http://schemas.openxmlformats.org/package/2006/relationships"><Relationship Id="rId1" Type="http://schemas.openxmlformats.org/officeDocument/2006/relationships/package" Target="../embeddings/Microsoft_Excel_Worksheet110.xlsx"/></Relationships>
</file>

<file path=ppt/charts/_rels/chart112.xml.rels><?xml version="1.0" encoding="UTF-8" standalone="yes"?>
<Relationships xmlns="http://schemas.openxmlformats.org/package/2006/relationships"><Relationship Id="rId1" Type="http://schemas.openxmlformats.org/officeDocument/2006/relationships/package" Target="../embeddings/Microsoft_Excel_Worksheet111.xlsx"/></Relationships>
</file>

<file path=ppt/charts/_rels/chart113.xml.rels><?xml version="1.0" encoding="UTF-8" standalone="yes"?>
<Relationships xmlns="http://schemas.openxmlformats.org/package/2006/relationships"><Relationship Id="rId1" Type="http://schemas.openxmlformats.org/officeDocument/2006/relationships/package" Target="../embeddings/Microsoft_Excel_Worksheet112.xlsx"/></Relationships>
</file>

<file path=ppt/charts/_rels/chart114.xml.rels><?xml version="1.0" encoding="UTF-8" standalone="yes"?>
<Relationships xmlns="http://schemas.openxmlformats.org/package/2006/relationships"><Relationship Id="rId1" Type="http://schemas.openxmlformats.org/officeDocument/2006/relationships/package" Target="../embeddings/Microsoft_Excel_Worksheet113.xlsx"/></Relationships>
</file>

<file path=ppt/charts/_rels/chart115.xml.rels><?xml version="1.0" encoding="UTF-8" standalone="yes"?>
<Relationships xmlns="http://schemas.openxmlformats.org/package/2006/relationships"><Relationship Id="rId1" Type="http://schemas.openxmlformats.org/officeDocument/2006/relationships/package" Target="../embeddings/Microsoft_Excel_Worksheet114.xlsx"/></Relationships>
</file>

<file path=ppt/charts/_rels/chart116.xml.rels><?xml version="1.0" encoding="UTF-8" standalone="yes"?>
<Relationships xmlns="http://schemas.openxmlformats.org/package/2006/relationships"><Relationship Id="rId1" Type="http://schemas.openxmlformats.org/officeDocument/2006/relationships/package" Target="../embeddings/Microsoft_Excel_Worksheet115.xlsx"/></Relationships>
</file>

<file path=ppt/charts/_rels/chart117.xml.rels><?xml version="1.0" encoding="UTF-8" standalone="yes"?>
<Relationships xmlns="http://schemas.openxmlformats.org/package/2006/relationships"><Relationship Id="rId1" Type="http://schemas.openxmlformats.org/officeDocument/2006/relationships/package" Target="../embeddings/Microsoft_Excel_Worksheet116.xlsx"/></Relationships>
</file>

<file path=ppt/charts/_rels/chart118.xml.rels><?xml version="1.0" encoding="UTF-8" standalone="yes"?>
<Relationships xmlns="http://schemas.openxmlformats.org/package/2006/relationships"><Relationship Id="rId1" Type="http://schemas.openxmlformats.org/officeDocument/2006/relationships/package" Target="../embeddings/Microsoft_Excel_Worksheet117.xlsx"/></Relationships>
</file>

<file path=ppt/charts/_rels/chart119.xml.rels><?xml version="1.0" encoding="UTF-8" standalone="yes"?>
<Relationships xmlns="http://schemas.openxmlformats.org/package/2006/relationships"><Relationship Id="rId1" Type="http://schemas.openxmlformats.org/officeDocument/2006/relationships/package" Target="../embeddings/Microsoft_Excel_Worksheet118.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20.xml.rels><?xml version="1.0" encoding="UTF-8" standalone="yes"?>
<Relationships xmlns="http://schemas.openxmlformats.org/package/2006/relationships"><Relationship Id="rId1" Type="http://schemas.openxmlformats.org/officeDocument/2006/relationships/package" Target="../embeddings/Microsoft_Excel_Worksheet119.xlsx"/></Relationships>
</file>

<file path=ppt/charts/_rels/chart121.xml.rels><?xml version="1.0" encoding="UTF-8" standalone="yes"?>
<Relationships xmlns="http://schemas.openxmlformats.org/package/2006/relationships"><Relationship Id="rId1" Type="http://schemas.openxmlformats.org/officeDocument/2006/relationships/package" Target="../embeddings/Microsoft_Excel_Worksheet120.xlsx"/></Relationships>
</file>

<file path=ppt/charts/_rels/chart122.xml.rels><?xml version="1.0" encoding="UTF-8" standalone="yes"?>
<Relationships xmlns="http://schemas.openxmlformats.org/package/2006/relationships"><Relationship Id="rId1" Type="http://schemas.openxmlformats.org/officeDocument/2006/relationships/package" Target="../embeddings/Microsoft_Excel_Worksheet121.xlsx"/></Relationships>
</file>

<file path=ppt/charts/_rels/chart123.xml.rels><?xml version="1.0" encoding="UTF-8" standalone="yes"?>
<Relationships xmlns="http://schemas.openxmlformats.org/package/2006/relationships"><Relationship Id="rId1" Type="http://schemas.openxmlformats.org/officeDocument/2006/relationships/package" Target="../embeddings/Microsoft_Excel_Worksheet122.xlsx"/></Relationships>
</file>

<file path=ppt/charts/_rels/chart124.xml.rels><?xml version="1.0" encoding="UTF-8" standalone="yes"?>
<Relationships xmlns="http://schemas.openxmlformats.org/package/2006/relationships"><Relationship Id="rId1" Type="http://schemas.openxmlformats.org/officeDocument/2006/relationships/package" Target="../embeddings/Microsoft_Excel_Worksheet123.xlsx"/></Relationships>
</file>

<file path=ppt/charts/_rels/chart125.xml.rels><?xml version="1.0" encoding="UTF-8" standalone="yes"?>
<Relationships xmlns="http://schemas.openxmlformats.org/package/2006/relationships"><Relationship Id="rId1" Type="http://schemas.openxmlformats.org/officeDocument/2006/relationships/package" Target="../embeddings/Microsoft_Excel_Worksheet124.xlsx"/></Relationships>
</file>

<file path=ppt/charts/_rels/chart126.xml.rels><?xml version="1.0" encoding="UTF-8" standalone="yes"?>
<Relationships xmlns="http://schemas.openxmlformats.org/package/2006/relationships"><Relationship Id="rId1" Type="http://schemas.openxmlformats.org/officeDocument/2006/relationships/package" Target="../embeddings/Microsoft_Excel_Worksheet125.xlsx"/></Relationships>
</file>

<file path=ppt/charts/_rels/chart127.xml.rels><?xml version="1.0" encoding="UTF-8" standalone="yes"?>
<Relationships xmlns="http://schemas.openxmlformats.org/package/2006/relationships"><Relationship Id="rId1" Type="http://schemas.openxmlformats.org/officeDocument/2006/relationships/package" Target="../embeddings/Microsoft_Excel_Worksheet126.xlsx"/></Relationships>
</file>

<file path=ppt/charts/_rels/chart128.xml.rels><?xml version="1.0" encoding="UTF-8" standalone="yes"?>
<Relationships xmlns="http://schemas.openxmlformats.org/package/2006/relationships"><Relationship Id="rId1" Type="http://schemas.openxmlformats.org/officeDocument/2006/relationships/package" Target="../embeddings/Microsoft_Excel_Worksheet127.xlsx"/></Relationships>
</file>

<file path=ppt/charts/_rels/chart129.xml.rels><?xml version="1.0" encoding="UTF-8" standalone="yes"?>
<Relationships xmlns="http://schemas.openxmlformats.org/package/2006/relationships"><Relationship Id="rId1" Type="http://schemas.openxmlformats.org/officeDocument/2006/relationships/package" Target="../embeddings/Microsoft_Excel_Worksheet128.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30.xml.rels><?xml version="1.0" encoding="UTF-8" standalone="yes"?>
<Relationships xmlns="http://schemas.openxmlformats.org/package/2006/relationships"><Relationship Id="rId1" Type="http://schemas.openxmlformats.org/officeDocument/2006/relationships/package" Target="../embeddings/Microsoft_Excel_Worksheet129.xlsx"/></Relationships>
</file>

<file path=ppt/charts/_rels/chart131.xml.rels><?xml version="1.0" encoding="UTF-8" standalone="yes"?>
<Relationships xmlns="http://schemas.openxmlformats.org/package/2006/relationships"><Relationship Id="rId1" Type="http://schemas.openxmlformats.org/officeDocument/2006/relationships/package" Target="../embeddings/Microsoft_Excel_Worksheet130.xlsx"/></Relationships>
</file>

<file path=ppt/charts/_rels/chart132.xml.rels><?xml version="1.0" encoding="UTF-8" standalone="yes"?>
<Relationships xmlns="http://schemas.openxmlformats.org/package/2006/relationships"><Relationship Id="rId1" Type="http://schemas.openxmlformats.org/officeDocument/2006/relationships/package" Target="../embeddings/Microsoft_Excel_Worksheet131.xlsx"/></Relationships>
</file>

<file path=ppt/charts/_rels/chart133.xml.rels><?xml version="1.0" encoding="UTF-8" standalone="yes"?>
<Relationships xmlns="http://schemas.openxmlformats.org/package/2006/relationships"><Relationship Id="rId1" Type="http://schemas.openxmlformats.org/officeDocument/2006/relationships/package" Target="../embeddings/Microsoft_Excel_Worksheet132.xlsx"/></Relationships>
</file>

<file path=ppt/charts/_rels/chart134.xml.rels><?xml version="1.0" encoding="UTF-8" standalone="yes"?>
<Relationships xmlns="http://schemas.openxmlformats.org/package/2006/relationships"><Relationship Id="rId1" Type="http://schemas.openxmlformats.org/officeDocument/2006/relationships/package" Target="../embeddings/Microsoft_Excel_Worksheet133.xlsx"/></Relationships>
</file>

<file path=ppt/charts/_rels/chart135.xml.rels><?xml version="1.0" encoding="UTF-8" standalone="yes"?>
<Relationships xmlns="http://schemas.openxmlformats.org/package/2006/relationships"><Relationship Id="rId1" Type="http://schemas.openxmlformats.org/officeDocument/2006/relationships/package" Target="../embeddings/Microsoft_Excel_Worksheet134.xlsx"/></Relationships>
</file>

<file path=ppt/charts/_rels/chart136.xml.rels><?xml version="1.0" encoding="UTF-8" standalone="yes"?>
<Relationships xmlns="http://schemas.openxmlformats.org/package/2006/relationships"><Relationship Id="rId1" Type="http://schemas.openxmlformats.org/officeDocument/2006/relationships/package" Target="../embeddings/Microsoft_Excel_Worksheet135.xlsx"/></Relationships>
</file>

<file path=ppt/charts/_rels/chart137.xml.rels><?xml version="1.0" encoding="UTF-8" standalone="yes"?>
<Relationships xmlns="http://schemas.openxmlformats.org/package/2006/relationships"><Relationship Id="rId1" Type="http://schemas.openxmlformats.org/officeDocument/2006/relationships/package" Target="../embeddings/Microsoft_Excel_Worksheet136.xlsx"/></Relationships>
</file>

<file path=ppt/charts/_rels/chart138.xml.rels><?xml version="1.0" encoding="UTF-8" standalone="yes"?>
<Relationships xmlns="http://schemas.openxmlformats.org/package/2006/relationships"><Relationship Id="rId1" Type="http://schemas.openxmlformats.org/officeDocument/2006/relationships/package" Target="../embeddings/Microsoft_Excel_Worksheet137.xlsx"/></Relationships>
</file>

<file path=ppt/charts/_rels/chart139.xml.rels><?xml version="1.0" encoding="UTF-8" standalone="yes"?>
<Relationships xmlns="http://schemas.openxmlformats.org/package/2006/relationships"><Relationship Id="rId1" Type="http://schemas.openxmlformats.org/officeDocument/2006/relationships/package" Target="../embeddings/Microsoft_Excel_Worksheet138.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40.xml.rels><?xml version="1.0" encoding="UTF-8" standalone="yes"?>
<Relationships xmlns="http://schemas.openxmlformats.org/package/2006/relationships"><Relationship Id="rId1" Type="http://schemas.openxmlformats.org/officeDocument/2006/relationships/package" Target="../embeddings/Microsoft_Excel_Worksheet139.xlsx"/></Relationships>
</file>

<file path=ppt/charts/_rels/chart141.xml.rels><?xml version="1.0" encoding="UTF-8" standalone="yes"?>
<Relationships xmlns="http://schemas.openxmlformats.org/package/2006/relationships"><Relationship Id="rId1" Type="http://schemas.openxmlformats.org/officeDocument/2006/relationships/package" Target="../embeddings/Microsoft_Excel_Worksheet140.xlsx"/></Relationships>
</file>

<file path=ppt/charts/_rels/chart142.xml.rels><?xml version="1.0" encoding="UTF-8" standalone="yes"?>
<Relationships xmlns="http://schemas.openxmlformats.org/package/2006/relationships"><Relationship Id="rId1" Type="http://schemas.openxmlformats.org/officeDocument/2006/relationships/package" Target="../embeddings/Microsoft_Excel_Worksheet141.xlsx"/></Relationships>
</file>

<file path=ppt/charts/_rels/chart143.xml.rels><?xml version="1.0" encoding="UTF-8" standalone="yes"?>
<Relationships xmlns="http://schemas.openxmlformats.org/package/2006/relationships"><Relationship Id="rId1" Type="http://schemas.openxmlformats.org/officeDocument/2006/relationships/package" Target="../embeddings/Microsoft_Excel_Worksheet142.xlsx"/></Relationships>
</file>

<file path=ppt/charts/_rels/chart144.xml.rels><?xml version="1.0" encoding="UTF-8" standalone="yes"?>
<Relationships xmlns="http://schemas.openxmlformats.org/package/2006/relationships"><Relationship Id="rId1" Type="http://schemas.openxmlformats.org/officeDocument/2006/relationships/package" Target="../embeddings/Microsoft_Excel_Worksheet143.xlsx"/></Relationships>
</file>

<file path=ppt/charts/_rels/chart145.xml.rels><?xml version="1.0" encoding="UTF-8" standalone="yes"?>
<Relationships xmlns="http://schemas.openxmlformats.org/package/2006/relationships"><Relationship Id="rId1" Type="http://schemas.openxmlformats.org/officeDocument/2006/relationships/package" Target="../embeddings/Microsoft_Excel_Worksheet144.xlsx"/></Relationships>
</file>

<file path=ppt/charts/_rels/chart146.xml.rels><?xml version="1.0" encoding="UTF-8" standalone="yes"?>
<Relationships xmlns="http://schemas.openxmlformats.org/package/2006/relationships"><Relationship Id="rId1" Type="http://schemas.openxmlformats.org/officeDocument/2006/relationships/package" Target="../embeddings/Microsoft_Excel_Worksheet145.xlsx"/></Relationships>
</file>

<file path=ppt/charts/_rels/chart147.xml.rels><?xml version="1.0" encoding="UTF-8" standalone="yes"?>
<Relationships xmlns="http://schemas.openxmlformats.org/package/2006/relationships"><Relationship Id="rId1" Type="http://schemas.openxmlformats.org/officeDocument/2006/relationships/package" Target="../embeddings/Microsoft_Excel_Worksheet146.xlsx"/></Relationships>
</file>

<file path=ppt/charts/_rels/chart148.xml.rels><?xml version="1.0" encoding="UTF-8" standalone="yes"?>
<Relationships xmlns="http://schemas.openxmlformats.org/package/2006/relationships"><Relationship Id="rId1" Type="http://schemas.openxmlformats.org/officeDocument/2006/relationships/package" Target="../embeddings/Microsoft_Excel_Worksheet147.xlsx"/></Relationships>
</file>

<file path=ppt/charts/_rels/chart149.xml.rels><?xml version="1.0" encoding="UTF-8" standalone="yes"?>
<Relationships xmlns="http://schemas.openxmlformats.org/package/2006/relationships"><Relationship Id="rId1" Type="http://schemas.openxmlformats.org/officeDocument/2006/relationships/package" Target="../embeddings/Microsoft_Excel_Worksheet148.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50.xml.rels><?xml version="1.0" encoding="UTF-8" standalone="yes"?>
<Relationships xmlns="http://schemas.openxmlformats.org/package/2006/relationships"><Relationship Id="rId1" Type="http://schemas.openxmlformats.org/officeDocument/2006/relationships/package" Target="../embeddings/Microsoft_Excel_Worksheet149.xlsx"/></Relationships>
</file>

<file path=ppt/charts/_rels/chart151.xml.rels><?xml version="1.0" encoding="UTF-8" standalone="yes"?>
<Relationships xmlns="http://schemas.openxmlformats.org/package/2006/relationships"><Relationship Id="rId1" Type="http://schemas.openxmlformats.org/officeDocument/2006/relationships/package" Target="../embeddings/Microsoft_Excel_Worksheet150.xlsx"/></Relationships>
</file>

<file path=ppt/charts/_rels/chart152.xml.rels><?xml version="1.0" encoding="UTF-8" standalone="yes"?>
<Relationships xmlns="http://schemas.openxmlformats.org/package/2006/relationships"><Relationship Id="rId1" Type="http://schemas.openxmlformats.org/officeDocument/2006/relationships/package" Target="../embeddings/Microsoft_Excel_Worksheet151.xlsx"/></Relationships>
</file>

<file path=ppt/charts/_rels/chart153.xml.rels><?xml version="1.0" encoding="UTF-8" standalone="yes"?>
<Relationships xmlns="http://schemas.openxmlformats.org/package/2006/relationships"><Relationship Id="rId1" Type="http://schemas.openxmlformats.org/officeDocument/2006/relationships/package" Target="../embeddings/Microsoft_Excel_Worksheet152.xlsx"/></Relationships>
</file>

<file path=ppt/charts/_rels/chart154.xml.rels><?xml version="1.0" encoding="UTF-8" standalone="yes"?>
<Relationships xmlns="http://schemas.openxmlformats.org/package/2006/relationships"><Relationship Id="rId1" Type="http://schemas.openxmlformats.org/officeDocument/2006/relationships/package" Target="../embeddings/Microsoft_Excel_Worksheet153.xlsx"/></Relationships>
</file>

<file path=ppt/charts/_rels/chart155.xml.rels><?xml version="1.0" encoding="UTF-8" standalone="yes"?>
<Relationships xmlns="http://schemas.openxmlformats.org/package/2006/relationships"><Relationship Id="rId1" Type="http://schemas.openxmlformats.org/officeDocument/2006/relationships/package" Target="../embeddings/Microsoft_Excel_Worksheet154.xlsx"/></Relationships>
</file>

<file path=ppt/charts/_rels/chart156.xml.rels><?xml version="1.0" encoding="UTF-8" standalone="yes"?>
<Relationships xmlns="http://schemas.openxmlformats.org/package/2006/relationships"><Relationship Id="rId1" Type="http://schemas.openxmlformats.org/officeDocument/2006/relationships/package" Target="../embeddings/Microsoft_Excel_Worksheet155.xlsx"/></Relationships>
</file>

<file path=ppt/charts/_rels/chart157.xml.rels><?xml version="1.0" encoding="UTF-8" standalone="yes"?>
<Relationships xmlns="http://schemas.openxmlformats.org/package/2006/relationships"><Relationship Id="rId1" Type="http://schemas.openxmlformats.org/officeDocument/2006/relationships/package" Target="../embeddings/Microsoft_Excel_Worksheet156.xlsx"/></Relationships>
</file>

<file path=ppt/charts/_rels/chart158.xml.rels><?xml version="1.0" encoding="UTF-8" standalone="yes"?>
<Relationships xmlns="http://schemas.openxmlformats.org/package/2006/relationships"><Relationship Id="rId1" Type="http://schemas.openxmlformats.org/officeDocument/2006/relationships/package" Target="../embeddings/Microsoft_Excel_Worksheet157.xlsx"/></Relationships>
</file>

<file path=ppt/charts/_rels/chart159.xml.rels><?xml version="1.0" encoding="UTF-8" standalone="yes"?>
<Relationships xmlns="http://schemas.openxmlformats.org/package/2006/relationships"><Relationship Id="rId1" Type="http://schemas.openxmlformats.org/officeDocument/2006/relationships/package" Target="../embeddings/Microsoft_Excel_Worksheet158.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60.xml.rels><?xml version="1.0" encoding="UTF-8" standalone="yes"?>
<Relationships xmlns="http://schemas.openxmlformats.org/package/2006/relationships"><Relationship Id="rId1" Type="http://schemas.openxmlformats.org/officeDocument/2006/relationships/package" Target="../embeddings/Microsoft_Excel_Worksheet159.xlsx"/></Relationships>
</file>

<file path=ppt/charts/_rels/chart161.xml.rels><?xml version="1.0" encoding="UTF-8" standalone="yes"?>
<Relationships xmlns="http://schemas.openxmlformats.org/package/2006/relationships"><Relationship Id="rId1" Type="http://schemas.openxmlformats.org/officeDocument/2006/relationships/package" Target="../embeddings/Microsoft_Excel_Worksheet160.xlsx"/></Relationships>
</file>

<file path=ppt/charts/_rels/chart162.xml.rels><?xml version="1.0" encoding="UTF-8" standalone="yes"?>
<Relationships xmlns="http://schemas.openxmlformats.org/package/2006/relationships"><Relationship Id="rId1" Type="http://schemas.openxmlformats.org/officeDocument/2006/relationships/package" Target="../embeddings/Microsoft_Excel_Worksheet161.xlsx"/></Relationships>
</file>

<file path=ppt/charts/_rels/chart163.xml.rels><?xml version="1.0" encoding="UTF-8" standalone="yes"?>
<Relationships xmlns="http://schemas.openxmlformats.org/package/2006/relationships"><Relationship Id="rId1" Type="http://schemas.openxmlformats.org/officeDocument/2006/relationships/package" Target="../embeddings/Microsoft_Excel_Worksheet162.xlsx"/></Relationships>
</file>

<file path=ppt/charts/_rels/chart164.xml.rels><?xml version="1.0" encoding="UTF-8" standalone="yes"?>
<Relationships xmlns="http://schemas.openxmlformats.org/package/2006/relationships"><Relationship Id="rId1" Type="http://schemas.openxmlformats.org/officeDocument/2006/relationships/package" Target="../embeddings/Microsoft_Excel_Worksheet163.xlsx"/></Relationships>
</file>

<file path=ppt/charts/_rels/chart165.xml.rels><?xml version="1.0" encoding="UTF-8" standalone="yes"?>
<Relationships xmlns="http://schemas.openxmlformats.org/package/2006/relationships"><Relationship Id="rId1" Type="http://schemas.openxmlformats.org/officeDocument/2006/relationships/package" Target="../embeddings/Microsoft_Excel_Worksheet164.xlsx"/></Relationships>
</file>

<file path=ppt/charts/_rels/chart166.xml.rels><?xml version="1.0" encoding="UTF-8" standalone="yes"?>
<Relationships xmlns="http://schemas.openxmlformats.org/package/2006/relationships"><Relationship Id="rId1" Type="http://schemas.openxmlformats.org/officeDocument/2006/relationships/package" Target="../embeddings/Microsoft_Excel_Worksheet165.xlsx"/></Relationships>
</file>

<file path=ppt/charts/_rels/chart167.xml.rels><?xml version="1.0" encoding="UTF-8" standalone="yes"?>
<Relationships xmlns="http://schemas.openxmlformats.org/package/2006/relationships"><Relationship Id="rId1" Type="http://schemas.openxmlformats.org/officeDocument/2006/relationships/package" Target="../embeddings/Microsoft_Excel_Worksheet166.xlsx"/></Relationships>
</file>

<file path=ppt/charts/_rels/chart168.xml.rels><?xml version="1.0" encoding="UTF-8" standalone="yes"?>
<Relationships xmlns="http://schemas.openxmlformats.org/package/2006/relationships"><Relationship Id="rId1" Type="http://schemas.openxmlformats.org/officeDocument/2006/relationships/package" Target="../embeddings/Microsoft_Excel_Worksheet167.xlsx"/></Relationships>
</file>

<file path=ppt/charts/_rels/chart169.xml.rels><?xml version="1.0" encoding="UTF-8" standalone="yes"?>
<Relationships xmlns="http://schemas.openxmlformats.org/package/2006/relationships"><Relationship Id="rId1" Type="http://schemas.openxmlformats.org/officeDocument/2006/relationships/package" Target="../embeddings/Microsoft_Excel_Worksheet168.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70.xml.rels><?xml version="1.0" encoding="UTF-8" standalone="yes"?>
<Relationships xmlns="http://schemas.openxmlformats.org/package/2006/relationships"><Relationship Id="rId1" Type="http://schemas.openxmlformats.org/officeDocument/2006/relationships/package" Target="../embeddings/Microsoft_Excel_Worksheet169.xlsx"/></Relationships>
</file>

<file path=ppt/charts/_rels/chart171.xml.rels><?xml version="1.0" encoding="UTF-8" standalone="yes"?>
<Relationships xmlns="http://schemas.openxmlformats.org/package/2006/relationships"><Relationship Id="rId1" Type="http://schemas.openxmlformats.org/officeDocument/2006/relationships/package" Target="../embeddings/Microsoft_Excel_Worksheet170.xlsx"/></Relationships>
</file>

<file path=ppt/charts/_rels/chart172.xml.rels><?xml version="1.0" encoding="UTF-8" standalone="yes"?>
<Relationships xmlns="http://schemas.openxmlformats.org/package/2006/relationships"><Relationship Id="rId1" Type="http://schemas.openxmlformats.org/officeDocument/2006/relationships/package" Target="../embeddings/Microsoft_Excel_Worksheet171.xlsx"/></Relationships>
</file>

<file path=ppt/charts/_rels/chart173.xml.rels><?xml version="1.0" encoding="UTF-8" standalone="yes"?>
<Relationships xmlns="http://schemas.openxmlformats.org/package/2006/relationships"><Relationship Id="rId1" Type="http://schemas.openxmlformats.org/officeDocument/2006/relationships/package" Target="../embeddings/Microsoft_Excel_Worksheet172.xlsx"/></Relationships>
</file>

<file path=ppt/charts/_rels/chart174.xml.rels><?xml version="1.0" encoding="UTF-8" standalone="yes"?>
<Relationships xmlns="http://schemas.openxmlformats.org/package/2006/relationships"><Relationship Id="rId1" Type="http://schemas.openxmlformats.org/officeDocument/2006/relationships/package" Target="../embeddings/Microsoft_Excel_Worksheet173.xlsx"/></Relationships>
</file>

<file path=ppt/charts/_rels/chart175.xml.rels><?xml version="1.0" encoding="UTF-8" standalone="yes"?>
<Relationships xmlns="http://schemas.openxmlformats.org/package/2006/relationships"><Relationship Id="rId1" Type="http://schemas.openxmlformats.org/officeDocument/2006/relationships/package" Target="../embeddings/Microsoft_Excel_Worksheet174.xlsx"/></Relationships>
</file>

<file path=ppt/charts/_rels/chart176.xml.rels><?xml version="1.0" encoding="UTF-8" standalone="yes"?>
<Relationships xmlns="http://schemas.openxmlformats.org/package/2006/relationships"><Relationship Id="rId1" Type="http://schemas.openxmlformats.org/officeDocument/2006/relationships/package" Target="../embeddings/Microsoft_Excel_Worksheet175.xlsx"/></Relationships>
</file>

<file path=ppt/charts/_rels/chart177.xml.rels><?xml version="1.0" encoding="UTF-8" standalone="yes"?>
<Relationships xmlns="http://schemas.openxmlformats.org/package/2006/relationships"><Relationship Id="rId1" Type="http://schemas.openxmlformats.org/officeDocument/2006/relationships/package" Target="../embeddings/Microsoft_Excel_Worksheet176.xlsx"/></Relationships>
</file>

<file path=ppt/charts/_rels/chart178.xml.rels><?xml version="1.0" encoding="UTF-8" standalone="yes"?>
<Relationships xmlns="http://schemas.openxmlformats.org/package/2006/relationships"><Relationship Id="rId1" Type="http://schemas.openxmlformats.org/officeDocument/2006/relationships/package" Target="../embeddings/Microsoft_Excel_Worksheet177.xlsx"/></Relationships>
</file>

<file path=ppt/charts/_rels/chart179.xml.rels><?xml version="1.0" encoding="UTF-8" standalone="yes"?>
<Relationships xmlns="http://schemas.openxmlformats.org/package/2006/relationships"><Relationship Id="rId1" Type="http://schemas.openxmlformats.org/officeDocument/2006/relationships/package" Target="../embeddings/Microsoft_Excel_Worksheet178.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80.xml.rels><?xml version="1.0" encoding="UTF-8" standalone="yes"?>
<Relationships xmlns="http://schemas.openxmlformats.org/package/2006/relationships"><Relationship Id="rId1" Type="http://schemas.openxmlformats.org/officeDocument/2006/relationships/package" Target="../embeddings/Microsoft_Excel_Worksheet179.xlsx"/></Relationships>
</file>

<file path=ppt/charts/_rels/chart181.xml.rels><?xml version="1.0" encoding="UTF-8" standalone="yes"?>
<Relationships xmlns="http://schemas.openxmlformats.org/package/2006/relationships"><Relationship Id="rId1" Type="http://schemas.openxmlformats.org/officeDocument/2006/relationships/package" Target="../embeddings/Microsoft_Excel_Worksheet180.xlsx"/></Relationships>
</file>

<file path=ppt/charts/_rels/chart182.xml.rels><?xml version="1.0" encoding="UTF-8" standalone="yes"?>
<Relationships xmlns="http://schemas.openxmlformats.org/package/2006/relationships"><Relationship Id="rId1" Type="http://schemas.openxmlformats.org/officeDocument/2006/relationships/package" Target="../embeddings/Microsoft_Excel_Worksheet181.xlsx"/></Relationships>
</file>

<file path=ppt/charts/_rels/chart183.xml.rels><?xml version="1.0" encoding="UTF-8" standalone="yes"?>
<Relationships xmlns="http://schemas.openxmlformats.org/package/2006/relationships"><Relationship Id="rId1" Type="http://schemas.openxmlformats.org/officeDocument/2006/relationships/package" Target="../embeddings/Microsoft_Excel_Worksheet182.xlsx"/></Relationships>
</file>

<file path=ppt/charts/_rels/chart184.xml.rels><?xml version="1.0" encoding="UTF-8" standalone="yes"?>
<Relationships xmlns="http://schemas.openxmlformats.org/package/2006/relationships"><Relationship Id="rId1" Type="http://schemas.openxmlformats.org/officeDocument/2006/relationships/package" Target="../embeddings/Microsoft_Excel_Worksheet183.xlsx"/></Relationships>
</file>

<file path=ppt/charts/_rels/chart185.xml.rels><?xml version="1.0" encoding="UTF-8" standalone="yes"?>
<Relationships xmlns="http://schemas.openxmlformats.org/package/2006/relationships"><Relationship Id="rId1" Type="http://schemas.openxmlformats.org/officeDocument/2006/relationships/package" Target="../embeddings/Microsoft_Excel_Worksheet184.xlsx"/></Relationships>
</file>

<file path=ppt/charts/_rels/chart186.xml.rels><?xml version="1.0" encoding="UTF-8" standalone="yes"?>
<Relationships xmlns="http://schemas.openxmlformats.org/package/2006/relationships"><Relationship Id="rId1" Type="http://schemas.openxmlformats.org/officeDocument/2006/relationships/package" Target="../embeddings/Microsoft_Excel_Worksheet185.xlsx"/></Relationships>
</file>

<file path=ppt/charts/_rels/chart187.xml.rels><?xml version="1.0" encoding="UTF-8" standalone="yes"?>
<Relationships xmlns="http://schemas.openxmlformats.org/package/2006/relationships"><Relationship Id="rId1" Type="http://schemas.openxmlformats.org/officeDocument/2006/relationships/package" Target="../embeddings/Microsoft_Excel_Worksheet186.xlsx"/></Relationships>
</file>

<file path=ppt/charts/_rels/chart188.xml.rels><?xml version="1.0" encoding="UTF-8" standalone="yes"?>
<Relationships xmlns="http://schemas.openxmlformats.org/package/2006/relationships"><Relationship Id="rId1" Type="http://schemas.openxmlformats.org/officeDocument/2006/relationships/package" Target="../embeddings/Microsoft_Excel_Worksheet187.xlsx"/></Relationships>
</file>

<file path=ppt/charts/_rels/chart189.xml.rels><?xml version="1.0" encoding="UTF-8" standalone="yes"?>
<Relationships xmlns="http://schemas.openxmlformats.org/package/2006/relationships"><Relationship Id="rId1" Type="http://schemas.openxmlformats.org/officeDocument/2006/relationships/package" Target="../embeddings/Microsoft_Excel_Worksheet188.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190.xml.rels><?xml version="1.0" encoding="UTF-8" standalone="yes"?>
<Relationships xmlns="http://schemas.openxmlformats.org/package/2006/relationships"><Relationship Id="rId1" Type="http://schemas.openxmlformats.org/officeDocument/2006/relationships/package" Target="../embeddings/Microsoft_Excel_Worksheet189.xlsx"/></Relationships>
</file>

<file path=ppt/charts/_rels/chart191.xml.rels><?xml version="1.0" encoding="UTF-8" standalone="yes"?>
<Relationships xmlns="http://schemas.openxmlformats.org/package/2006/relationships"><Relationship Id="rId1" Type="http://schemas.openxmlformats.org/officeDocument/2006/relationships/package" Target="../embeddings/Microsoft_Excel_Worksheet190.xlsx"/></Relationships>
</file>

<file path=ppt/charts/_rels/chart192.xml.rels><?xml version="1.0" encoding="UTF-8" standalone="yes"?>
<Relationships xmlns="http://schemas.openxmlformats.org/package/2006/relationships"><Relationship Id="rId1" Type="http://schemas.openxmlformats.org/officeDocument/2006/relationships/package" Target="../embeddings/Microsoft_Excel_Worksheet191.xlsx"/></Relationships>
</file>

<file path=ppt/charts/_rels/chart193.xml.rels><?xml version="1.0" encoding="UTF-8" standalone="yes"?>
<Relationships xmlns="http://schemas.openxmlformats.org/package/2006/relationships"><Relationship Id="rId1" Type="http://schemas.openxmlformats.org/officeDocument/2006/relationships/package" Target="../embeddings/Microsoft_Excel_Worksheet192.xlsx"/></Relationships>
</file>

<file path=ppt/charts/_rels/chart194.xml.rels><?xml version="1.0" encoding="UTF-8" standalone="yes"?>
<Relationships xmlns="http://schemas.openxmlformats.org/package/2006/relationships"><Relationship Id="rId1" Type="http://schemas.openxmlformats.org/officeDocument/2006/relationships/package" Target="../embeddings/Microsoft_Excel_Worksheet193.xlsx"/></Relationships>
</file>

<file path=ppt/charts/_rels/chart195.xml.rels><?xml version="1.0" encoding="UTF-8" standalone="yes"?>
<Relationships xmlns="http://schemas.openxmlformats.org/package/2006/relationships"><Relationship Id="rId1" Type="http://schemas.openxmlformats.org/officeDocument/2006/relationships/package" Target="../embeddings/Microsoft_Excel_Worksheet194.xlsx"/></Relationships>
</file>

<file path=ppt/charts/_rels/chart196.xml.rels><?xml version="1.0" encoding="UTF-8" standalone="yes"?>
<Relationships xmlns="http://schemas.openxmlformats.org/package/2006/relationships"><Relationship Id="rId1" Type="http://schemas.openxmlformats.org/officeDocument/2006/relationships/package" Target="../embeddings/Microsoft_Excel_Worksheet195.xlsx"/></Relationships>
</file>

<file path=ppt/charts/_rels/chart197.xml.rels><?xml version="1.0" encoding="UTF-8" standalone="yes"?>
<Relationships xmlns="http://schemas.openxmlformats.org/package/2006/relationships"><Relationship Id="rId1" Type="http://schemas.openxmlformats.org/officeDocument/2006/relationships/package" Target="../embeddings/Microsoft_Excel_Worksheet196.xlsx"/></Relationships>
</file>

<file path=ppt/charts/_rels/chart198.xml.rels><?xml version="1.0" encoding="UTF-8" standalone="yes"?>
<Relationships xmlns="http://schemas.openxmlformats.org/package/2006/relationships"><Relationship Id="rId1" Type="http://schemas.openxmlformats.org/officeDocument/2006/relationships/package" Target="../embeddings/Microsoft_Excel_Worksheet197.xlsx"/></Relationships>
</file>

<file path=ppt/charts/_rels/chart199.xml.rels><?xml version="1.0" encoding="UTF-8" standalone="yes"?>
<Relationships xmlns="http://schemas.openxmlformats.org/package/2006/relationships"><Relationship Id="rId1" Type="http://schemas.openxmlformats.org/officeDocument/2006/relationships/package" Target="../embeddings/Microsoft_Excel_Worksheet19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00.xml.rels><?xml version="1.0" encoding="UTF-8" standalone="yes"?>
<Relationships xmlns="http://schemas.openxmlformats.org/package/2006/relationships"><Relationship Id="rId1" Type="http://schemas.openxmlformats.org/officeDocument/2006/relationships/package" Target="../embeddings/Microsoft_Excel_Worksheet199.xlsx"/></Relationships>
</file>

<file path=ppt/charts/_rels/chart201.xml.rels><?xml version="1.0" encoding="UTF-8" standalone="yes"?>
<Relationships xmlns="http://schemas.openxmlformats.org/package/2006/relationships"><Relationship Id="rId1" Type="http://schemas.openxmlformats.org/officeDocument/2006/relationships/package" Target="../embeddings/Microsoft_Excel_Worksheet200.xlsx"/></Relationships>
</file>

<file path=ppt/charts/_rels/chart202.xml.rels><?xml version="1.0" encoding="UTF-8" standalone="yes"?>
<Relationships xmlns="http://schemas.openxmlformats.org/package/2006/relationships"><Relationship Id="rId1" Type="http://schemas.openxmlformats.org/officeDocument/2006/relationships/package" Target="../embeddings/Microsoft_Excel_Worksheet201.xlsx"/></Relationships>
</file>

<file path=ppt/charts/_rels/chart203.xml.rels><?xml version="1.0" encoding="UTF-8" standalone="yes"?>
<Relationships xmlns="http://schemas.openxmlformats.org/package/2006/relationships"><Relationship Id="rId1" Type="http://schemas.openxmlformats.org/officeDocument/2006/relationships/package" Target="../embeddings/Microsoft_Excel_Worksheet202.xlsx"/></Relationships>
</file>

<file path=ppt/charts/_rels/chart204.xml.rels><?xml version="1.0" encoding="UTF-8" standalone="yes"?>
<Relationships xmlns="http://schemas.openxmlformats.org/package/2006/relationships"><Relationship Id="rId1" Type="http://schemas.openxmlformats.org/officeDocument/2006/relationships/package" Target="../embeddings/Microsoft_Excel_Worksheet203.xlsx"/></Relationships>
</file>

<file path=ppt/charts/_rels/chart205.xml.rels><?xml version="1.0" encoding="UTF-8" standalone="yes"?>
<Relationships xmlns="http://schemas.openxmlformats.org/package/2006/relationships"><Relationship Id="rId1" Type="http://schemas.openxmlformats.org/officeDocument/2006/relationships/package" Target="../embeddings/Microsoft_Excel_Worksheet204.xlsx"/></Relationships>
</file>

<file path=ppt/charts/_rels/chart206.xml.rels><?xml version="1.0" encoding="UTF-8" standalone="yes"?>
<Relationships xmlns="http://schemas.openxmlformats.org/package/2006/relationships"><Relationship Id="rId1" Type="http://schemas.openxmlformats.org/officeDocument/2006/relationships/package" Target="../embeddings/Microsoft_Excel_Worksheet205.xlsx"/></Relationships>
</file>

<file path=ppt/charts/_rels/chart207.xml.rels><?xml version="1.0" encoding="UTF-8" standalone="yes"?>
<Relationships xmlns="http://schemas.openxmlformats.org/package/2006/relationships"><Relationship Id="rId1" Type="http://schemas.openxmlformats.org/officeDocument/2006/relationships/package" Target="../embeddings/Microsoft_Excel_Worksheet206.xlsx"/></Relationships>
</file>

<file path=ppt/charts/_rels/chart208.xml.rels><?xml version="1.0" encoding="UTF-8" standalone="yes"?>
<Relationships xmlns="http://schemas.openxmlformats.org/package/2006/relationships"><Relationship Id="rId1" Type="http://schemas.openxmlformats.org/officeDocument/2006/relationships/package" Target="../embeddings/Microsoft_Excel_Worksheet207.xlsx"/></Relationships>
</file>

<file path=ppt/charts/_rels/chart209.xml.rels><?xml version="1.0" encoding="UTF-8" standalone="yes"?>
<Relationships xmlns="http://schemas.openxmlformats.org/package/2006/relationships"><Relationship Id="rId1" Type="http://schemas.openxmlformats.org/officeDocument/2006/relationships/package" Target="../embeddings/Microsoft_Excel_Worksheet208.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10.xml.rels><?xml version="1.0" encoding="UTF-8" standalone="yes"?>
<Relationships xmlns="http://schemas.openxmlformats.org/package/2006/relationships"><Relationship Id="rId1" Type="http://schemas.openxmlformats.org/officeDocument/2006/relationships/package" Target="../embeddings/Microsoft_Excel_Worksheet209.xlsx"/></Relationships>
</file>

<file path=ppt/charts/_rels/chart211.xml.rels><?xml version="1.0" encoding="UTF-8" standalone="yes"?>
<Relationships xmlns="http://schemas.openxmlformats.org/package/2006/relationships"><Relationship Id="rId1" Type="http://schemas.openxmlformats.org/officeDocument/2006/relationships/package" Target="../embeddings/Microsoft_Excel_Worksheet210.xlsx"/></Relationships>
</file>

<file path=ppt/charts/_rels/chart212.xml.rels><?xml version="1.0" encoding="UTF-8" standalone="yes"?>
<Relationships xmlns="http://schemas.openxmlformats.org/package/2006/relationships"><Relationship Id="rId1" Type="http://schemas.openxmlformats.org/officeDocument/2006/relationships/package" Target="../embeddings/Microsoft_Excel_Worksheet211.xlsx"/></Relationships>
</file>

<file path=ppt/charts/_rels/chart213.xml.rels><?xml version="1.0" encoding="UTF-8" standalone="yes"?>
<Relationships xmlns="http://schemas.openxmlformats.org/package/2006/relationships"><Relationship Id="rId1" Type="http://schemas.openxmlformats.org/officeDocument/2006/relationships/package" Target="../embeddings/Microsoft_Excel_Worksheet212.xlsx"/></Relationships>
</file>

<file path=ppt/charts/_rels/chart214.xml.rels><?xml version="1.0" encoding="UTF-8" standalone="yes"?>
<Relationships xmlns="http://schemas.openxmlformats.org/package/2006/relationships"><Relationship Id="rId1" Type="http://schemas.openxmlformats.org/officeDocument/2006/relationships/package" Target="../embeddings/Microsoft_Excel_Worksheet213.xlsx"/></Relationships>
</file>

<file path=ppt/charts/_rels/chart215.xml.rels><?xml version="1.0" encoding="UTF-8" standalone="yes"?>
<Relationships xmlns="http://schemas.openxmlformats.org/package/2006/relationships"><Relationship Id="rId1" Type="http://schemas.openxmlformats.org/officeDocument/2006/relationships/package" Target="../embeddings/Microsoft_Excel_Worksheet214.xlsx"/></Relationships>
</file>

<file path=ppt/charts/_rels/chart216.xml.rels><?xml version="1.0" encoding="UTF-8" standalone="yes"?>
<Relationships xmlns="http://schemas.openxmlformats.org/package/2006/relationships"><Relationship Id="rId1" Type="http://schemas.openxmlformats.org/officeDocument/2006/relationships/package" Target="../embeddings/Microsoft_Excel_Worksheet215.xlsx"/></Relationships>
</file>

<file path=ppt/charts/_rels/chart217.xml.rels><?xml version="1.0" encoding="UTF-8" standalone="yes"?>
<Relationships xmlns="http://schemas.openxmlformats.org/package/2006/relationships"><Relationship Id="rId1" Type="http://schemas.openxmlformats.org/officeDocument/2006/relationships/package" Target="../embeddings/Microsoft_Excel_Worksheet216.xlsx"/></Relationships>
</file>

<file path=ppt/charts/_rels/chart218.xml.rels><?xml version="1.0" encoding="UTF-8" standalone="yes"?>
<Relationships xmlns="http://schemas.openxmlformats.org/package/2006/relationships"><Relationship Id="rId1" Type="http://schemas.openxmlformats.org/officeDocument/2006/relationships/package" Target="../embeddings/Microsoft_Excel_Worksheet217.xlsx"/></Relationships>
</file>

<file path=ppt/charts/_rels/chart219.xml.rels><?xml version="1.0" encoding="UTF-8" standalone="yes"?>
<Relationships xmlns="http://schemas.openxmlformats.org/package/2006/relationships"><Relationship Id="rId1" Type="http://schemas.openxmlformats.org/officeDocument/2006/relationships/package" Target="../embeddings/Microsoft_Excel_Worksheet218.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20.xml.rels><?xml version="1.0" encoding="UTF-8" standalone="yes"?>
<Relationships xmlns="http://schemas.openxmlformats.org/package/2006/relationships"><Relationship Id="rId1" Type="http://schemas.openxmlformats.org/officeDocument/2006/relationships/package" Target="../embeddings/Microsoft_Excel_Worksheet219.xlsx"/></Relationships>
</file>

<file path=ppt/charts/_rels/chart221.xml.rels><?xml version="1.0" encoding="UTF-8" standalone="yes"?>
<Relationships xmlns="http://schemas.openxmlformats.org/package/2006/relationships"><Relationship Id="rId1" Type="http://schemas.openxmlformats.org/officeDocument/2006/relationships/package" Target="../embeddings/Microsoft_Excel_Worksheet220.xlsx"/></Relationships>
</file>

<file path=ppt/charts/_rels/chart222.xml.rels><?xml version="1.0" encoding="UTF-8" standalone="yes"?>
<Relationships xmlns="http://schemas.openxmlformats.org/package/2006/relationships"><Relationship Id="rId1" Type="http://schemas.openxmlformats.org/officeDocument/2006/relationships/package" Target="../embeddings/Microsoft_Excel_Worksheet221.xlsx"/></Relationships>
</file>

<file path=ppt/charts/_rels/chart223.xml.rels><?xml version="1.0" encoding="UTF-8" standalone="yes"?>
<Relationships xmlns="http://schemas.openxmlformats.org/package/2006/relationships"><Relationship Id="rId1" Type="http://schemas.openxmlformats.org/officeDocument/2006/relationships/package" Target="../embeddings/Microsoft_Excel_Worksheet222.xlsx"/></Relationships>
</file>

<file path=ppt/charts/_rels/chart224.xml.rels><?xml version="1.0" encoding="UTF-8" standalone="yes"?>
<Relationships xmlns="http://schemas.openxmlformats.org/package/2006/relationships"><Relationship Id="rId1" Type="http://schemas.openxmlformats.org/officeDocument/2006/relationships/package" Target="../embeddings/Microsoft_Excel_Worksheet223.xlsx"/></Relationships>
</file>

<file path=ppt/charts/_rels/chart225.xml.rels><?xml version="1.0" encoding="UTF-8" standalone="yes"?>
<Relationships xmlns="http://schemas.openxmlformats.org/package/2006/relationships"><Relationship Id="rId1" Type="http://schemas.openxmlformats.org/officeDocument/2006/relationships/package" Target="../embeddings/Microsoft_Excel_Worksheet224.xlsx"/></Relationships>
</file>

<file path=ppt/charts/_rels/chart226.xml.rels><?xml version="1.0" encoding="UTF-8" standalone="yes"?>
<Relationships xmlns="http://schemas.openxmlformats.org/package/2006/relationships"><Relationship Id="rId1" Type="http://schemas.openxmlformats.org/officeDocument/2006/relationships/package" Target="../embeddings/Microsoft_Excel_Worksheet225.xlsx"/></Relationships>
</file>

<file path=ppt/charts/_rels/chart227.xml.rels><?xml version="1.0" encoding="UTF-8" standalone="yes"?>
<Relationships xmlns="http://schemas.openxmlformats.org/package/2006/relationships"><Relationship Id="rId1" Type="http://schemas.openxmlformats.org/officeDocument/2006/relationships/package" Target="../embeddings/Microsoft_Excel_Worksheet226.xlsx"/></Relationships>
</file>

<file path=ppt/charts/_rels/chart228.xml.rels><?xml version="1.0" encoding="UTF-8" standalone="yes"?>
<Relationships xmlns="http://schemas.openxmlformats.org/package/2006/relationships"><Relationship Id="rId1" Type="http://schemas.openxmlformats.org/officeDocument/2006/relationships/package" Target="../embeddings/Microsoft_Excel_Worksheet227.xlsx"/></Relationships>
</file>

<file path=ppt/charts/_rels/chart229.xml.rels><?xml version="1.0" encoding="UTF-8" standalone="yes"?>
<Relationships xmlns="http://schemas.openxmlformats.org/package/2006/relationships"><Relationship Id="rId1" Type="http://schemas.openxmlformats.org/officeDocument/2006/relationships/package" Target="../embeddings/Microsoft_Excel_Worksheet228.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30.xml.rels><?xml version="1.0" encoding="UTF-8" standalone="yes"?>
<Relationships xmlns="http://schemas.openxmlformats.org/package/2006/relationships"><Relationship Id="rId1" Type="http://schemas.openxmlformats.org/officeDocument/2006/relationships/package" Target="../embeddings/Microsoft_Excel_Worksheet229.xlsx"/></Relationships>
</file>

<file path=ppt/charts/_rels/chart231.xml.rels><?xml version="1.0" encoding="UTF-8" standalone="yes"?>
<Relationships xmlns="http://schemas.openxmlformats.org/package/2006/relationships"><Relationship Id="rId1" Type="http://schemas.openxmlformats.org/officeDocument/2006/relationships/package" Target="../embeddings/Microsoft_Excel_Worksheet230.xlsx"/></Relationships>
</file>

<file path=ppt/charts/_rels/chart232.xml.rels><?xml version="1.0" encoding="UTF-8" standalone="yes"?>
<Relationships xmlns="http://schemas.openxmlformats.org/package/2006/relationships"><Relationship Id="rId1" Type="http://schemas.openxmlformats.org/officeDocument/2006/relationships/package" Target="../embeddings/Microsoft_Excel_Worksheet231.xlsx"/></Relationships>
</file>

<file path=ppt/charts/_rels/chart233.xml.rels><?xml version="1.0" encoding="UTF-8" standalone="yes"?>
<Relationships xmlns="http://schemas.openxmlformats.org/package/2006/relationships"><Relationship Id="rId1" Type="http://schemas.openxmlformats.org/officeDocument/2006/relationships/package" Target="../embeddings/Microsoft_Excel_Worksheet232.xlsx"/></Relationships>
</file>

<file path=ppt/charts/_rels/chart234.xml.rels><?xml version="1.0" encoding="UTF-8" standalone="yes"?>
<Relationships xmlns="http://schemas.openxmlformats.org/package/2006/relationships"><Relationship Id="rId1" Type="http://schemas.openxmlformats.org/officeDocument/2006/relationships/package" Target="../embeddings/Microsoft_Excel_Worksheet233.xlsx"/></Relationships>
</file>

<file path=ppt/charts/_rels/chart235.xml.rels><?xml version="1.0" encoding="UTF-8" standalone="yes"?>
<Relationships xmlns="http://schemas.openxmlformats.org/package/2006/relationships"><Relationship Id="rId1" Type="http://schemas.openxmlformats.org/officeDocument/2006/relationships/package" Target="../embeddings/Microsoft_Excel_Worksheet234.xlsx"/></Relationships>
</file>

<file path=ppt/charts/_rels/chart236.xml.rels><?xml version="1.0" encoding="UTF-8" standalone="yes"?>
<Relationships xmlns="http://schemas.openxmlformats.org/package/2006/relationships"><Relationship Id="rId1" Type="http://schemas.openxmlformats.org/officeDocument/2006/relationships/package" Target="../embeddings/Microsoft_Excel_Worksheet235.xlsx"/></Relationships>
</file>

<file path=ppt/charts/_rels/chart237.xml.rels><?xml version="1.0" encoding="UTF-8" standalone="yes"?>
<Relationships xmlns="http://schemas.openxmlformats.org/package/2006/relationships"><Relationship Id="rId1" Type="http://schemas.openxmlformats.org/officeDocument/2006/relationships/package" Target="../embeddings/Microsoft_Excel_Worksheet236.xlsx"/></Relationships>
</file>

<file path=ppt/charts/_rels/chart238.xml.rels><?xml version="1.0" encoding="UTF-8" standalone="yes"?>
<Relationships xmlns="http://schemas.openxmlformats.org/package/2006/relationships"><Relationship Id="rId1" Type="http://schemas.openxmlformats.org/officeDocument/2006/relationships/package" Target="../embeddings/Microsoft_Excel_Worksheet237.xlsx"/></Relationships>
</file>

<file path=ppt/charts/_rels/chart239.xml.rels><?xml version="1.0" encoding="UTF-8" standalone="yes"?>
<Relationships xmlns="http://schemas.openxmlformats.org/package/2006/relationships"><Relationship Id="rId1" Type="http://schemas.openxmlformats.org/officeDocument/2006/relationships/package" Target="../embeddings/Microsoft_Excel_Worksheet238.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40.xml.rels><?xml version="1.0" encoding="UTF-8" standalone="yes"?>
<Relationships xmlns="http://schemas.openxmlformats.org/package/2006/relationships"><Relationship Id="rId1" Type="http://schemas.openxmlformats.org/officeDocument/2006/relationships/package" Target="../embeddings/Microsoft_Excel_Worksheet239.xlsx"/></Relationships>
</file>

<file path=ppt/charts/_rels/chart241.xml.rels><?xml version="1.0" encoding="UTF-8" standalone="yes"?>
<Relationships xmlns="http://schemas.openxmlformats.org/package/2006/relationships"><Relationship Id="rId1" Type="http://schemas.openxmlformats.org/officeDocument/2006/relationships/package" Target="../embeddings/Microsoft_Excel_Worksheet240.xlsx"/></Relationships>
</file>

<file path=ppt/charts/_rels/chart242.xml.rels><?xml version="1.0" encoding="UTF-8" standalone="yes"?>
<Relationships xmlns="http://schemas.openxmlformats.org/package/2006/relationships"><Relationship Id="rId1" Type="http://schemas.openxmlformats.org/officeDocument/2006/relationships/package" Target="../embeddings/Microsoft_Excel_Worksheet241.xlsx"/></Relationships>
</file>

<file path=ppt/charts/_rels/chart243.xml.rels><?xml version="1.0" encoding="UTF-8" standalone="yes"?>
<Relationships xmlns="http://schemas.openxmlformats.org/package/2006/relationships"><Relationship Id="rId1" Type="http://schemas.openxmlformats.org/officeDocument/2006/relationships/package" Target="../embeddings/Microsoft_Excel_Worksheet242.xlsx"/></Relationships>
</file>

<file path=ppt/charts/_rels/chart244.xml.rels><?xml version="1.0" encoding="UTF-8" standalone="yes"?>
<Relationships xmlns="http://schemas.openxmlformats.org/package/2006/relationships"><Relationship Id="rId1" Type="http://schemas.openxmlformats.org/officeDocument/2006/relationships/package" Target="../embeddings/Microsoft_Excel_Worksheet243.xlsx"/></Relationships>
</file>

<file path=ppt/charts/_rels/chart245.xml.rels><?xml version="1.0" encoding="UTF-8" standalone="yes"?>
<Relationships xmlns="http://schemas.openxmlformats.org/package/2006/relationships"><Relationship Id="rId1" Type="http://schemas.openxmlformats.org/officeDocument/2006/relationships/package" Target="../embeddings/Microsoft_Excel_Worksheet244.xlsx"/></Relationships>
</file>

<file path=ppt/charts/_rels/chart246.xml.rels><?xml version="1.0" encoding="UTF-8" standalone="yes"?>
<Relationships xmlns="http://schemas.openxmlformats.org/package/2006/relationships"><Relationship Id="rId1" Type="http://schemas.openxmlformats.org/officeDocument/2006/relationships/package" Target="../embeddings/Microsoft_Excel_Worksheet245.xlsx"/></Relationships>
</file>

<file path=ppt/charts/_rels/chart247.xml.rels><?xml version="1.0" encoding="UTF-8" standalone="yes"?>
<Relationships xmlns="http://schemas.openxmlformats.org/package/2006/relationships"><Relationship Id="rId1" Type="http://schemas.openxmlformats.org/officeDocument/2006/relationships/package" Target="../embeddings/Microsoft_Excel_Worksheet246.xlsx"/></Relationships>
</file>

<file path=ppt/charts/_rels/chart248.xml.rels><?xml version="1.0" encoding="UTF-8" standalone="yes"?>
<Relationships xmlns="http://schemas.openxmlformats.org/package/2006/relationships"><Relationship Id="rId1" Type="http://schemas.openxmlformats.org/officeDocument/2006/relationships/package" Target="../embeddings/Microsoft_Excel_Worksheet247.xlsx"/></Relationships>
</file>

<file path=ppt/charts/_rels/chart249.xml.rels><?xml version="1.0" encoding="UTF-8" standalone="yes"?>
<Relationships xmlns="http://schemas.openxmlformats.org/package/2006/relationships"><Relationship Id="rId1" Type="http://schemas.openxmlformats.org/officeDocument/2006/relationships/package" Target="../embeddings/Microsoft_Excel_Worksheet248.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50.xml.rels><?xml version="1.0" encoding="UTF-8" standalone="yes"?>
<Relationships xmlns="http://schemas.openxmlformats.org/package/2006/relationships"><Relationship Id="rId1" Type="http://schemas.openxmlformats.org/officeDocument/2006/relationships/package" Target="../embeddings/Microsoft_Excel_Worksheet249.xlsx"/></Relationships>
</file>

<file path=ppt/charts/_rels/chart251.xml.rels><?xml version="1.0" encoding="UTF-8" standalone="yes"?>
<Relationships xmlns="http://schemas.openxmlformats.org/package/2006/relationships"><Relationship Id="rId1" Type="http://schemas.openxmlformats.org/officeDocument/2006/relationships/package" Target="../embeddings/Microsoft_Excel_Worksheet250.xlsx"/></Relationships>
</file>

<file path=ppt/charts/_rels/chart252.xml.rels><?xml version="1.0" encoding="UTF-8" standalone="yes"?>
<Relationships xmlns="http://schemas.openxmlformats.org/package/2006/relationships"><Relationship Id="rId1" Type="http://schemas.openxmlformats.org/officeDocument/2006/relationships/package" Target="../embeddings/Microsoft_Excel_Worksheet251.xlsx"/></Relationships>
</file>

<file path=ppt/charts/_rels/chart253.xml.rels><?xml version="1.0" encoding="UTF-8" standalone="yes"?>
<Relationships xmlns="http://schemas.openxmlformats.org/package/2006/relationships"><Relationship Id="rId1" Type="http://schemas.openxmlformats.org/officeDocument/2006/relationships/package" Target="../embeddings/Microsoft_Excel_Worksheet252.xlsx"/></Relationships>
</file>

<file path=ppt/charts/_rels/chart254.xml.rels><?xml version="1.0" encoding="UTF-8" standalone="yes"?>
<Relationships xmlns="http://schemas.openxmlformats.org/package/2006/relationships"><Relationship Id="rId1" Type="http://schemas.openxmlformats.org/officeDocument/2006/relationships/package" Target="../embeddings/Microsoft_Excel_Worksheet253.xlsx"/></Relationships>
</file>

<file path=ppt/charts/_rels/chart255.xml.rels><?xml version="1.0" encoding="UTF-8" standalone="yes"?>
<Relationships xmlns="http://schemas.openxmlformats.org/package/2006/relationships"><Relationship Id="rId1" Type="http://schemas.openxmlformats.org/officeDocument/2006/relationships/package" Target="../embeddings/Microsoft_Excel_Worksheet254.xlsx"/></Relationships>
</file>

<file path=ppt/charts/_rels/chart256.xml.rels><?xml version="1.0" encoding="UTF-8" standalone="yes"?>
<Relationships xmlns="http://schemas.openxmlformats.org/package/2006/relationships"><Relationship Id="rId1" Type="http://schemas.openxmlformats.org/officeDocument/2006/relationships/package" Target="../embeddings/Microsoft_Excel_Worksheet255.xlsx"/></Relationships>
</file>

<file path=ppt/charts/_rels/chart257.xml.rels><?xml version="1.0" encoding="UTF-8" standalone="yes"?>
<Relationships xmlns="http://schemas.openxmlformats.org/package/2006/relationships"><Relationship Id="rId1" Type="http://schemas.openxmlformats.org/officeDocument/2006/relationships/package" Target="../embeddings/Microsoft_Excel_Worksheet256.xlsx"/></Relationships>
</file>

<file path=ppt/charts/_rels/chart258.xml.rels><?xml version="1.0" encoding="UTF-8" standalone="yes"?>
<Relationships xmlns="http://schemas.openxmlformats.org/package/2006/relationships"><Relationship Id="rId1" Type="http://schemas.openxmlformats.org/officeDocument/2006/relationships/package" Target="../embeddings/Microsoft_Excel_Worksheet257.xlsx"/></Relationships>
</file>

<file path=ppt/charts/_rels/chart259.xml.rels><?xml version="1.0" encoding="UTF-8" standalone="yes"?>
<Relationships xmlns="http://schemas.openxmlformats.org/package/2006/relationships"><Relationship Id="rId1" Type="http://schemas.openxmlformats.org/officeDocument/2006/relationships/package" Target="../embeddings/Microsoft_Excel_Worksheet258.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60.xml.rels><?xml version="1.0" encoding="UTF-8" standalone="yes"?>
<Relationships xmlns="http://schemas.openxmlformats.org/package/2006/relationships"><Relationship Id="rId1" Type="http://schemas.openxmlformats.org/officeDocument/2006/relationships/package" Target="../embeddings/Microsoft_Excel_Worksheet259.xlsx"/></Relationships>
</file>

<file path=ppt/charts/_rels/chart261.xml.rels><?xml version="1.0" encoding="UTF-8" standalone="yes"?>
<Relationships xmlns="http://schemas.openxmlformats.org/package/2006/relationships"><Relationship Id="rId1" Type="http://schemas.openxmlformats.org/officeDocument/2006/relationships/package" Target="../embeddings/Microsoft_Excel_Worksheet260.xlsx"/></Relationships>
</file>

<file path=ppt/charts/_rels/chart262.xml.rels><?xml version="1.0" encoding="UTF-8" standalone="yes"?>
<Relationships xmlns="http://schemas.openxmlformats.org/package/2006/relationships"><Relationship Id="rId1" Type="http://schemas.openxmlformats.org/officeDocument/2006/relationships/package" Target="../embeddings/Microsoft_Excel_Worksheet261.xlsx"/></Relationships>
</file>

<file path=ppt/charts/_rels/chart263.xml.rels><?xml version="1.0" encoding="UTF-8" standalone="yes"?>
<Relationships xmlns="http://schemas.openxmlformats.org/package/2006/relationships"><Relationship Id="rId1" Type="http://schemas.openxmlformats.org/officeDocument/2006/relationships/package" Target="../embeddings/Microsoft_Excel_Worksheet262.xlsx"/></Relationships>
</file>

<file path=ppt/charts/_rels/chart264.xml.rels><?xml version="1.0" encoding="UTF-8" standalone="yes"?>
<Relationships xmlns="http://schemas.openxmlformats.org/package/2006/relationships"><Relationship Id="rId1" Type="http://schemas.openxmlformats.org/officeDocument/2006/relationships/package" Target="../embeddings/Microsoft_Excel_Worksheet263.xlsx"/></Relationships>
</file>

<file path=ppt/charts/_rels/chart265.xml.rels><?xml version="1.0" encoding="UTF-8" standalone="yes"?>
<Relationships xmlns="http://schemas.openxmlformats.org/package/2006/relationships"><Relationship Id="rId1" Type="http://schemas.openxmlformats.org/officeDocument/2006/relationships/package" Target="../embeddings/Microsoft_Excel_Worksheet264.xlsx"/></Relationships>
</file>

<file path=ppt/charts/_rels/chart266.xml.rels><?xml version="1.0" encoding="UTF-8" standalone="yes"?>
<Relationships xmlns="http://schemas.openxmlformats.org/package/2006/relationships"><Relationship Id="rId1" Type="http://schemas.openxmlformats.org/officeDocument/2006/relationships/package" Target="../embeddings/Microsoft_Excel_Worksheet265.xlsx"/></Relationships>
</file>

<file path=ppt/charts/_rels/chart267.xml.rels><?xml version="1.0" encoding="UTF-8" standalone="yes"?>
<Relationships xmlns="http://schemas.openxmlformats.org/package/2006/relationships"><Relationship Id="rId1" Type="http://schemas.openxmlformats.org/officeDocument/2006/relationships/package" Target="../embeddings/Microsoft_Excel_Worksheet266.xlsx"/></Relationships>
</file>

<file path=ppt/charts/_rels/chart268.xml.rels><?xml version="1.0" encoding="UTF-8" standalone="yes"?>
<Relationships xmlns="http://schemas.openxmlformats.org/package/2006/relationships"><Relationship Id="rId1" Type="http://schemas.openxmlformats.org/officeDocument/2006/relationships/package" Target="../embeddings/Microsoft_Excel_Worksheet267.xlsx"/></Relationships>
</file>

<file path=ppt/charts/_rels/chart269.xml.rels><?xml version="1.0" encoding="UTF-8" standalone="yes"?>
<Relationships xmlns="http://schemas.openxmlformats.org/package/2006/relationships"><Relationship Id="rId1" Type="http://schemas.openxmlformats.org/officeDocument/2006/relationships/package" Target="../embeddings/Microsoft_Excel_Worksheet268.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70.xml.rels><?xml version="1.0" encoding="UTF-8" standalone="yes"?>
<Relationships xmlns="http://schemas.openxmlformats.org/package/2006/relationships"><Relationship Id="rId1" Type="http://schemas.openxmlformats.org/officeDocument/2006/relationships/package" Target="../embeddings/Microsoft_Excel_Worksheet269.xlsx"/></Relationships>
</file>

<file path=ppt/charts/_rels/chart271.xml.rels><?xml version="1.0" encoding="UTF-8" standalone="yes"?>
<Relationships xmlns="http://schemas.openxmlformats.org/package/2006/relationships"><Relationship Id="rId1" Type="http://schemas.openxmlformats.org/officeDocument/2006/relationships/package" Target="../embeddings/Microsoft_Excel_Worksheet270.xlsx"/></Relationships>
</file>

<file path=ppt/charts/_rels/chart272.xml.rels><?xml version="1.0" encoding="UTF-8" standalone="yes"?>
<Relationships xmlns="http://schemas.openxmlformats.org/package/2006/relationships"><Relationship Id="rId1" Type="http://schemas.openxmlformats.org/officeDocument/2006/relationships/package" Target="../embeddings/Microsoft_Excel_Worksheet271.xlsx"/></Relationships>
</file>

<file path=ppt/charts/_rels/chart273.xml.rels><?xml version="1.0" encoding="UTF-8" standalone="yes"?>
<Relationships xmlns="http://schemas.openxmlformats.org/package/2006/relationships"><Relationship Id="rId1" Type="http://schemas.openxmlformats.org/officeDocument/2006/relationships/package" Target="../embeddings/Microsoft_Excel_Worksheet272.xlsx"/></Relationships>
</file>

<file path=ppt/charts/_rels/chart274.xml.rels><?xml version="1.0" encoding="UTF-8" standalone="yes"?>
<Relationships xmlns="http://schemas.openxmlformats.org/package/2006/relationships"><Relationship Id="rId1" Type="http://schemas.openxmlformats.org/officeDocument/2006/relationships/package" Target="../embeddings/Microsoft_Excel_Worksheet273.xlsx"/></Relationships>
</file>

<file path=ppt/charts/_rels/chart275.xml.rels><?xml version="1.0" encoding="UTF-8" standalone="yes"?>
<Relationships xmlns="http://schemas.openxmlformats.org/package/2006/relationships"><Relationship Id="rId1" Type="http://schemas.openxmlformats.org/officeDocument/2006/relationships/package" Target="../embeddings/Microsoft_Excel_Worksheet274.xlsx"/></Relationships>
</file>

<file path=ppt/charts/_rels/chart276.xml.rels><?xml version="1.0" encoding="UTF-8" standalone="yes"?>
<Relationships xmlns="http://schemas.openxmlformats.org/package/2006/relationships"><Relationship Id="rId1" Type="http://schemas.openxmlformats.org/officeDocument/2006/relationships/package" Target="../embeddings/Microsoft_Excel_Worksheet275.xlsx"/></Relationships>
</file>

<file path=ppt/charts/_rels/chart277.xml.rels><?xml version="1.0" encoding="UTF-8" standalone="yes"?>
<Relationships xmlns="http://schemas.openxmlformats.org/package/2006/relationships"><Relationship Id="rId1" Type="http://schemas.openxmlformats.org/officeDocument/2006/relationships/package" Target="../embeddings/Microsoft_Excel_Worksheet276.xlsx"/></Relationships>
</file>

<file path=ppt/charts/_rels/chart278.xml.rels><?xml version="1.0" encoding="UTF-8" standalone="yes"?>
<Relationships xmlns="http://schemas.openxmlformats.org/package/2006/relationships"><Relationship Id="rId1" Type="http://schemas.openxmlformats.org/officeDocument/2006/relationships/package" Target="../embeddings/Microsoft_Excel_Worksheet277.xlsx"/></Relationships>
</file>

<file path=ppt/charts/_rels/chart279.xml.rels><?xml version="1.0" encoding="UTF-8" standalone="yes"?>
<Relationships xmlns="http://schemas.openxmlformats.org/package/2006/relationships"><Relationship Id="rId1" Type="http://schemas.openxmlformats.org/officeDocument/2006/relationships/package" Target="../embeddings/Microsoft_Excel_Worksheet278.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80.xml.rels><?xml version="1.0" encoding="UTF-8" standalone="yes"?>
<Relationships xmlns="http://schemas.openxmlformats.org/package/2006/relationships"><Relationship Id="rId1" Type="http://schemas.openxmlformats.org/officeDocument/2006/relationships/package" Target="../embeddings/Microsoft_Excel_Worksheet279.xlsx"/></Relationships>
</file>

<file path=ppt/charts/_rels/chart281.xml.rels><?xml version="1.0" encoding="UTF-8" standalone="yes"?>
<Relationships xmlns="http://schemas.openxmlformats.org/package/2006/relationships"><Relationship Id="rId1" Type="http://schemas.openxmlformats.org/officeDocument/2006/relationships/package" Target="../embeddings/Microsoft_Excel_Worksheet280.xlsx"/></Relationships>
</file>

<file path=ppt/charts/_rels/chart282.xml.rels><?xml version="1.0" encoding="UTF-8" standalone="yes"?>
<Relationships xmlns="http://schemas.openxmlformats.org/package/2006/relationships"><Relationship Id="rId1" Type="http://schemas.openxmlformats.org/officeDocument/2006/relationships/package" Target="../embeddings/Microsoft_Excel_Worksheet281.xlsx"/></Relationships>
</file>

<file path=ppt/charts/_rels/chart283.xml.rels><?xml version="1.0" encoding="UTF-8" standalone="yes"?>
<Relationships xmlns="http://schemas.openxmlformats.org/package/2006/relationships"><Relationship Id="rId1" Type="http://schemas.openxmlformats.org/officeDocument/2006/relationships/package" Target="../embeddings/Microsoft_Excel_Worksheet282.xlsx"/></Relationships>
</file>

<file path=ppt/charts/_rels/chart284.xml.rels><?xml version="1.0" encoding="UTF-8" standalone="yes"?>
<Relationships xmlns="http://schemas.openxmlformats.org/package/2006/relationships"><Relationship Id="rId1" Type="http://schemas.openxmlformats.org/officeDocument/2006/relationships/package" Target="../embeddings/Microsoft_Excel_Worksheet283.xlsx"/></Relationships>
</file>

<file path=ppt/charts/_rels/chart285.xml.rels><?xml version="1.0" encoding="UTF-8" standalone="yes"?>
<Relationships xmlns="http://schemas.openxmlformats.org/package/2006/relationships"><Relationship Id="rId1" Type="http://schemas.openxmlformats.org/officeDocument/2006/relationships/package" Target="../embeddings/Microsoft_Excel_Worksheet284.xlsx"/></Relationships>
</file>

<file path=ppt/charts/_rels/chart286.xml.rels><?xml version="1.0" encoding="UTF-8" standalone="yes"?>
<Relationships xmlns="http://schemas.openxmlformats.org/package/2006/relationships"><Relationship Id="rId1" Type="http://schemas.openxmlformats.org/officeDocument/2006/relationships/package" Target="../embeddings/Microsoft_Excel_Worksheet285.xlsx"/></Relationships>
</file>

<file path=ppt/charts/_rels/chart287.xml.rels><?xml version="1.0" encoding="UTF-8" standalone="yes"?>
<Relationships xmlns="http://schemas.openxmlformats.org/package/2006/relationships"><Relationship Id="rId1" Type="http://schemas.openxmlformats.org/officeDocument/2006/relationships/package" Target="../embeddings/Microsoft_Excel_Worksheet286.xlsx"/></Relationships>
</file>

<file path=ppt/charts/_rels/chart288.xml.rels><?xml version="1.0" encoding="UTF-8" standalone="yes"?>
<Relationships xmlns="http://schemas.openxmlformats.org/package/2006/relationships"><Relationship Id="rId1" Type="http://schemas.openxmlformats.org/officeDocument/2006/relationships/package" Target="../embeddings/Microsoft_Excel_Worksheet287.xlsx"/></Relationships>
</file>

<file path=ppt/charts/_rels/chart289.xml.rels><?xml version="1.0" encoding="UTF-8" standalone="yes"?>
<Relationships xmlns="http://schemas.openxmlformats.org/package/2006/relationships"><Relationship Id="rId1" Type="http://schemas.openxmlformats.org/officeDocument/2006/relationships/package" Target="../embeddings/Microsoft_Excel_Worksheet288.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290.xml.rels><?xml version="1.0" encoding="UTF-8" standalone="yes"?>
<Relationships xmlns="http://schemas.openxmlformats.org/package/2006/relationships"><Relationship Id="rId1" Type="http://schemas.openxmlformats.org/officeDocument/2006/relationships/package" Target="../embeddings/Microsoft_Excel_Worksheet289.xlsx"/></Relationships>
</file>

<file path=ppt/charts/_rels/chart291.xml.rels><?xml version="1.0" encoding="UTF-8" standalone="yes"?>
<Relationships xmlns="http://schemas.openxmlformats.org/package/2006/relationships"><Relationship Id="rId1" Type="http://schemas.openxmlformats.org/officeDocument/2006/relationships/package" Target="../embeddings/Microsoft_Excel_Worksheet290.xlsx"/></Relationships>
</file>

<file path=ppt/charts/_rels/chart292.xml.rels><?xml version="1.0" encoding="UTF-8" standalone="yes"?>
<Relationships xmlns="http://schemas.openxmlformats.org/package/2006/relationships"><Relationship Id="rId1" Type="http://schemas.openxmlformats.org/officeDocument/2006/relationships/package" Target="../embeddings/Microsoft_Excel_Worksheet291.xlsx"/></Relationships>
</file>

<file path=ppt/charts/_rels/chart293.xml.rels><?xml version="1.0" encoding="UTF-8" standalone="yes"?>
<Relationships xmlns="http://schemas.openxmlformats.org/package/2006/relationships"><Relationship Id="rId1" Type="http://schemas.openxmlformats.org/officeDocument/2006/relationships/package" Target="../embeddings/Microsoft_Excel_Worksheet292.xlsx"/></Relationships>
</file>

<file path=ppt/charts/_rels/chart294.xml.rels><?xml version="1.0" encoding="UTF-8" standalone="yes"?>
<Relationships xmlns="http://schemas.openxmlformats.org/package/2006/relationships"><Relationship Id="rId1" Type="http://schemas.openxmlformats.org/officeDocument/2006/relationships/package" Target="../embeddings/Microsoft_Excel_Worksheet293.xlsx"/></Relationships>
</file>

<file path=ppt/charts/_rels/chart295.xml.rels><?xml version="1.0" encoding="UTF-8" standalone="yes"?>
<Relationships xmlns="http://schemas.openxmlformats.org/package/2006/relationships"><Relationship Id="rId1" Type="http://schemas.openxmlformats.org/officeDocument/2006/relationships/package" Target="../embeddings/Microsoft_Excel_Worksheet294.xlsx"/></Relationships>
</file>

<file path=ppt/charts/_rels/chart296.xml.rels><?xml version="1.0" encoding="UTF-8" standalone="yes"?>
<Relationships xmlns="http://schemas.openxmlformats.org/package/2006/relationships"><Relationship Id="rId1" Type="http://schemas.openxmlformats.org/officeDocument/2006/relationships/package" Target="../embeddings/Microsoft_Excel_Worksheet295.xlsx"/></Relationships>
</file>

<file path=ppt/charts/_rels/chart297.xml.rels><?xml version="1.0" encoding="UTF-8" standalone="yes"?>
<Relationships xmlns="http://schemas.openxmlformats.org/package/2006/relationships"><Relationship Id="rId1" Type="http://schemas.openxmlformats.org/officeDocument/2006/relationships/package" Target="../embeddings/Microsoft_Excel_Worksheet296.xlsx"/></Relationships>
</file>

<file path=ppt/charts/_rels/chart298.xml.rels><?xml version="1.0" encoding="UTF-8" standalone="yes"?>
<Relationships xmlns="http://schemas.openxmlformats.org/package/2006/relationships"><Relationship Id="rId1" Type="http://schemas.openxmlformats.org/officeDocument/2006/relationships/package" Target="../embeddings/Microsoft_Excel_Worksheet297.xlsx"/></Relationships>
</file>

<file path=ppt/charts/_rels/chart299.xml.rels><?xml version="1.0" encoding="UTF-8" standalone="yes"?>
<Relationships xmlns="http://schemas.openxmlformats.org/package/2006/relationships"><Relationship Id="rId1" Type="http://schemas.openxmlformats.org/officeDocument/2006/relationships/package" Target="../embeddings/Microsoft_Excel_Worksheet29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00.xml.rels><?xml version="1.0" encoding="UTF-8" standalone="yes"?>
<Relationships xmlns="http://schemas.openxmlformats.org/package/2006/relationships"><Relationship Id="rId1" Type="http://schemas.openxmlformats.org/officeDocument/2006/relationships/package" Target="../embeddings/Microsoft_Excel_Worksheet299.xlsx"/></Relationships>
</file>

<file path=ppt/charts/_rels/chart301.xml.rels><?xml version="1.0" encoding="UTF-8" standalone="yes"?>
<Relationships xmlns="http://schemas.openxmlformats.org/package/2006/relationships"><Relationship Id="rId1" Type="http://schemas.openxmlformats.org/officeDocument/2006/relationships/package" Target="../embeddings/Microsoft_Excel_Worksheet300.xlsx"/></Relationships>
</file>

<file path=ppt/charts/_rels/chart302.xml.rels><?xml version="1.0" encoding="UTF-8" standalone="yes"?>
<Relationships xmlns="http://schemas.openxmlformats.org/package/2006/relationships"><Relationship Id="rId1" Type="http://schemas.openxmlformats.org/officeDocument/2006/relationships/package" Target="../embeddings/Microsoft_Excel_Worksheet301.xlsx"/></Relationships>
</file>

<file path=ppt/charts/_rels/chart303.xml.rels><?xml version="1.0" encoding="UTF-8" standalone="yes"?>
<Relationships xmlns="http://schemas.openxmlformats.org/package/2006/relationships"><Relationship Id="rId1" Type="http://schemas.openxmlformats.org/officeDocument/2006/relationships/package" Target="../embeddings/Microsoft_Excel_Worksheet302.xlsx"/></Relationships>
</file>

<file path=ppt/charts/_rels/chart304.xml.rels><?xml version="1.0" encoding="UTF-8" standalone="yes"?>
<Relationships xmlns="http://schemas.openxmlformats.org/package/2006/relationships"><Relationship Id="rId1" Type="http://schemas.openxmlformats.org/officeDocument/2006/relationships/package" Target="../embeddings/Microsoft_Excel_Worksheet303.xlsx"/></Relationships>
</file>

<file path=ppt/charts/_rels/chart305.xml.rels><?xml version="1.0" encoding="UTF-8" standalone="yes"?>
<Relationships xmlns="http://schemas.openxmlformats.org/package/2006/relationships"><Relationship Id="rId1" Type="http://schemas.openxmlformats.org/officeDocument/2006/relationships/package" Target="../embeddings/Microsoft_Excel_Worksheet304.xlsx"/></Relationships>
</file>

<file path=ppt/charts/_rels/chart306.xml.rels><?xml version="1.0" encoding="UTF-8" standalone="yes"?>
<Relationships xmlns="http://schemas.openxmlformats.org/package/2006/relationships"><Relationship Id="rId1" Type="http://schemas.openxmlformats.org/officeDocument/2006/relationships/package" Target="../embeddings/Microsoft_Excel_Worksheet305.xlsx"/></Relationships>
</file>

<file path=ppt/charts/_rels/chart307.xml.rels><?xml version="1.0" encoding="UTF-8" standalone="yes"?>
<Relationships xmlns="http://schemas.openxmlformats.org/package/2006/relationships"><Relationship Id="rId1" Type="http://schemas.openxmlformats.org/officeDocument/2006/relationships/package" Target="../embeddings/Microsoft_Excel_Worksheet306.xlsx"/></Relationships>
</file>

<file path=ppt/charts/_rels/chart308.xml.rels><?xml version="1.0" encoding="UTF-8" standalone="yes"?>
<Relationships xmlns="http://schemas.openxmlformats.org/package/2006/relationships"><Relationship Id="rId1" Type="http://schemas.openxmlformats.org/officeDocument/2006/relationships/package" Target="../embeddings/Microsoft_Excel_Worksheet307.xlsx"/></Relationships>
</file>

<file path=ppt/charts/_rels/chart309.xml.rels><?xml version="1.0" encoding="UTF-8" standalone="yes"?>
<Relationships xmlns="http://schemas.openxmlformats.org/package/2006/relationships"><Relationship Id="rId1" Type="http://schemas.openxmlformats.org/officeDocument/2006/relationships/package" Target="../embeddings/Microsoft_Excel_Worksheet308.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10.xml.rels><?xml version="1.0" encoding="UTF-8" standalone="yes"?>
<Relationships xmlns="http://schemas.openxmlformats.org/package/2006/relationships"><Relationship Id="rId1" Type="http://schemas.openxmlformats.org/officeDocument/2006/relationships/package" Target="../embeddings/Microsoft_Excel_Worksheet309.xlsx"/></Relationships>
</file>

<file path=ppt/charts/_rels/chart311.xml.rels><?xml version="1.0" encoding="UTF-8" standalone="yes"?>
<Relationships xmlns="http://schemas.openxmlformats.org/package/2006/relationships"><Relationship Id="rId1" Type="http://schemas.openxmlformats.org/officeDocument/2006/relationships/package" Target="../embeddings/Microsoft_Excel_Worksheet310.xlsx"/></Relationships>
</file>

<file path=ppt/charts/_rels/chart312.xml.rels><?xml version="1.0" encoding="UTF-8" standalone="yes"?>
<Relationships xmlns="http://schemas.openxmlformats.org/package/2006/relationships"><Relationship Id="rId1" Type="http://schemas.openxmlformats.org/officeDocument/2006/relationships/package" Target="../embeddings/Microsoft_Excel_Worksheet311.xlsx"/></Relationships>
</file>

<file path=ppt/charts/_rels/chart313.xml.rels><?xml version="1.0" encoding="UTF-8" standalone="yes"?>
<Relationships xmlns="http://schemas.openxmlformats.org/package/2006/relationships"><Relationship Id="rId1" Type="http://schemas.openxmlformats.org/officeDocument/2006/relationships/package" Target="../embeddings/Microsoft_Excel_Worksheet312.xlsx"/></Relationships>
</file>

<file path=ppt/charts/_rels/chart314.xml.rels><?xml version="1.0" encoding="UTF-8" standalone="yes"?>
<Relationships xmlns="http://schemas.openxmlformats.org/package/2006/relationships"><Relationship Id="rId1" Type="http://schemas.openxmlformats.org/officeDocument/2006/relationships/package" Target="../embeddings/Microsoft_Excel_Worksheet313.xlsx"/></Relationships>
</file>

<file path=ppt/charts/_rels/chart315.xml.rels><?xml version="1.0" encoding="UTF-8" standalone="yes"?>
<Relationships xmlns="http://schemas.openxmlformats.org/package/2006/relationships"><Relationship Id="rId1" Type="http://schemas.openxmlformats.org/officeDocument/2006/relationships/package" Target="../embeddings/Microsoft_Excel_Worksheet314.xlsx"/></Relationships>
</file>

<file path=ppt/charts/_rels/chart316.xml.rels><?xml version="1.0" encoding="UTF-8" standalone="yes"?>
<Relationships xmlns="http://schemas.openxmlformats.org/package/2006/relationships"><Relationship Id="rId1" Type="http://schemas.openxmlformats.org/officeDocument/2006/relationships/package" Target="../embeddings/Microsoft_Excel_Worksheet315.xlsx"/></Relationships>
</file>

<file path=ppt/charts/_rels/chart317.xml.rels><?xml version="1.0" encoding="UTF-8" standalone="yes"?>
<Relationships xmlns="http://schemas.openxmlformats.org/package/2006/relationships"><Relationship Id="rId1" Type="http://schemas.openxmlformats.org/officeDocument/2006/relationships/package" Target="../embeddings/Microsoft_Excel_Worksheet316.xlsx"/></Relationships>
</file>

<file path=ppt/charts/_rels/chart318.xml.rels><?xml version="1.0" encoding="UTF-8" standalone="yes"?>
<Relationships xmlns="http://schemas.openxmlformats.org/package/2006/relationships"><Relationship Id="rId1" Type="http://schemas.openxmlformats.org/officeDocument/2006/relationships/package" Target="../embeddings/Microsoft_Excel_Worksheet317.xlsx"/></Relationships>
</file>

<file path=ppt/charts/_rels/chart319.xml.rels><?xml version="1.0" encoding="UTF-8" standalone="yes"?>
<Relationships xmlns="http://schemas.openxmlformats.org/package/2006/relationships"><Relationship Id="rId1" Type="http://schemas.openxmlformats.org/officeDocument/2006/relationships/package" Target="../embeddings/Microsoft_Excel_Worksheet318.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20.xml.rels><?xml version="1.0" encoding="UTF-8" standalone="yes"?>
<Relationships xmlns="http://schemas.openxmlformats.org/package/2006/relationships"><Relationship Id="rId1" Type="http://schemas.openxmlformats.org/officeDocument/2006/relationships/package" Target="../embeddings/Microsoft_Excel_Worksheet319.xlsx"/></Relationships>
</file>

<file path=ppt/charts/_rels/chart321.xml.rels><?xml version="1.0" encoding="UTF-8" standalone="yes"?>
<Relationships xmlns="http://schemas.openxmlformats.org/package/2006/relationships"><Relationship Id="rId1" Type="http://schemas.openxmlformats.org/officeDocument/2006/relationships/package" Target="../embeddings/Microsoft_Excel_Worksheet320.xlsx"/></Relationships>
</file>

<file path=ppt/charts/_rels/chart322.xml.rels><?xml version="1.0" encoding="UTF-8" standalone="yes"?>
<Relationships xmlns="http://schemas.openxmlformats.org/package/2006/relationships"><Relationship Id="rId1" Type="http://schemas.openxmlformats.org/officeDocument/2006/relationships/package" Target="../embeddings/Microsoft_Excel_Worksheet321.xlsx"/></Relationships>
</file>

<file path=ppt/charts/_rels/chart323.xml.rels><?xml version="1.0" encoding="UTF-8" standalone="yes"?>
<Relationships xmlns="http://schemas.openxmlformats.org/package/2006/relationships"><Relationship Id="rId1" Type="http://schemas.openxmlformats.org/officeDocument/2006/relationships/package" Target="../embeddings/Microsoft_Excel_Worksheet322.xlsx"/></Relationships>
</file>

<file path=ppt/charts/_rels/chart324.xml.rels><?xml version="1.0" encoding="UTF-8" standalone="yes"?>
<Relationships xmlns="http://schemas.openxmlformats.org/package/2006/relationships"><Relationship Id="rId1" Type="http://schemas.openxmlformats.org/officeDocument/2006/relationships/package" Target="../embeddings/Microsoft_Excel_Worksheet323.xlsx"/></Relationships>
</file>

<file path=ppt/charts/_rels/chart325.xml.rels><?xml version="1.0" encoding="UTF-8" standalone="yes"?>
<Relationships xmlns="http://schemas.openxmlformats.org/package/2006/relationships"><Relationship Id="rId1" Type="http://schemas.openxmlformats.org/officeDocument/2006/relationships/package" Target="../embeddings/Microsoft_Excel_Worksheet324.xlsx"/></Relationships>
</file>

<file path=ppt/charts/_rels/chart326.xml.rels><?xml version="1.0" encoding="UTF-8" standalone="yes"?>
<Relationships xmlns="http://schemas.openxmlformats.org/package/2006/relationships"><Relationship Id="rId1" Type="http://schemas.openxmlformats.org/officeDocument/2006/relationships/package" Target="../embeddings/Microsoft_Excel_Worksheet325.xlsx"/></Relationships>
</file>

<file path=ppt/charts/_rels/chart327.xml.rels><?xml version="1.0" encoding="UTF-8" standalone="yes"?>
<Relationships xmlns="http://schemas.openxmlformats.org/package/2006/relationships"><Relationship Id="rId1" Type="http://schemas.openxmlformats.org/officeDocument/2006/relationships/package" Target="../embeddings/Microsoft_Excel_Worksheet326.xlsx"/></Relationships>
</file>

<file path=ppt/charts/_rels/chart328.xml.rels><?xml version="1.0" encoding="UTF-8" standalone="yes"?>
<Relationships xmlns="http://schemas.openxmlformats.org/package/2006/relationships"><Relationship Id="rId1" Type="http://schemas.openxmlformats.org/officeDocument/2006/relationships/package" Target="../embeddings/Microsoft_Excel_Worksheet327.xlsx"/></Relationships>
</file>

<file path=ppt/charts/_rels/chart329.xml.rels><?xml version="1.0" encoding="UTF-8" standalone="yes"?>
<Relationships xmlns="http://schemas.openxmlformats.org/package/2006/relationships"><Relationship Id="rId1" Type="http://schemas.openxmlformats.org/officeDocument/2006/relationships/package" Target="../embeddings/Microsoft_Excel_Worksheet328.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30.xml.rels><?xml version="1.0" encoding="UTF-8" standalone="yes"?>
<Relationships xmlns="http://schemas.openxmlformats.org/package/2006/relationships"><Relationship Id="rId1" Type="http://schemas.openxmlformats.org/officeDocument/2006/relationships/package" Target="../embeddings/Microsoft_Excel_Worksheet329.xlsx"/></Relationships>
</file>

<file path=ppt/charts/_rels/chart331.xml.rels><?xml version="1.0" encoding="UTF-8" standalone="yes"?>
<Relationships xmlns="http://schemas.openxmlformats.org/package/2006/relationships"><Relationship Id="rId1" Type="http://schemas.openxmlformats.org/officeDocument/2006/relationships/package" Target="../embeddings/Microsoft_Excel_Worksheet330.xlsx"/></Relationships>
</file>

<file path=ppt/charts/_rels/chart332.xml.rels><?xml version="1.0" encoding="UTF-8" standalone="yes"?>
<Relationships xmlns="http://schemas.openxmlformats.org/package/2006/relationships"><Relationship Id="rId1" Type="http://schemas.openxmlformats.org/officeDocument/2006/relationships/package" Target="../embeddings/Microsoft_Excel_Worksheet331.xlsx"/></Relationships>
</file>

<file path=ppt/charts/_rels/chart333.xml.rels><?xml version="1.0" encoding="UTF-8" standalone="yes"?>
<Relationships xmlns="http://schemas.openxmlformats.org/package/2006/relationships"><Relationship Id="rId1" Type="http://schemas.openxmlformats.org/officeDocument/2006/relationships/package" Target="../embeddings/Microsoft_Excel_Worksheet332.xlsx"/></Relationships>
</file>

<file path=ppt/charts/_rels/chart334.xml.rels><?xml version="1.0" encoding="UTF-8" standalone="yes"?>
<Relationships xmlns="http://schemas.openxmlformats.org/package/2006/relationships"><Relationship Id="rId1" Type="http://schemas.openxmlformats.org/officeDocument/2006/relationships/package" Target="../embeddings/Microsoft_Excel_Worksheet333.xlsx"/></Relationships>
</file>

<file path=ppt/charts/_rels/chart335.xml.rels><?xml version="1.0" encoding="UTF-8" standalone="yes"?>
<Relationships xmlns="http://schemas.openxmlformats.org/package/2006/relationships"><Relationship Id="rId1" Type="http://schemas.openxmlformats.org/officeDocument/2006/relationships/package" Target="../embeddings/Microsoft_Excel_Worksheet334.xlsx"/></Relationships>
</file>

<file path=ppt/charts/_rels/chart336.xml.rels><?xml version="1.0" encoding="UTF-8" standalone="yes"?>
<Relationships xmlns="http://schemas.openxmlformats.org/package/2006/relationships"><Relationship Id="rId1" Type="http://schemas.openxmlformats.org/officeDocument/2006/relationships/package" Target="../embeddings/Microsoft_Excel_Worksheet335.xlsx"/></Relationships>
</file>

<file path=ppt/charts/_rels/chart337.xml.rels><?xml version="1.0" encoding="UTF-8" standalone="yes"?>
<Relationships xmlns="http://schemas.openxmlformats.org/package/2006/relationships"><Relationship Id="rId1" Type="http://schemas.openxmlformats.org/officeDocument/2006/relationships/package" Target="../embeddings/Microsoft_Excel_Worksheet336.xlsx"/></Relationships>
</file>

<file path=ppt/charts/_rels/chart338.xml.rels><?xml version="1.0" encoding="UTF-8" standalone="yes"?>
<Relationships xmlns="http://schemas.openxmlformats.org/package/2006/relationships"><Relationship Id="rId1" Type="http://schemas.openxmlformats.org/officeDocument/2006/relationships/package" Target="../embeddings/Microsoft_Excel_Worksheet337.xlsx"/></Relationships>
</file>

<file path=ppt/charts/_rels/chart339.xml.rels><?xml version="1.0" encoding="UTF-8" standalone="yes"?>
<Relationships xmlns="http://schemas.openxmlformats.org/package/2006/relationships"><Relationship Id="rId1" Type="http://schemas.openxmlformats.org/officeDocument/2006/relationships/package" Target="../embeddings/Microsoft_Excel_Worksheet338.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40.xml.rels><?xml version="1.0" encoding="UTF-8" standalone="yes"?>
<Relationships xmlns="http://schemas.openxmlformats.org/package/2006/relationships"><Relationship Id="rId1" Type="http://schemas.openxmlformats.org/officeDocument/2006/relationships/package" Target="../embeddings/Microsoft_Excel_Worksheet339.xlsx"/></Relationships>
</file>

<file path=ppt/charts/_rels/chart341.xml.rels><?xml version="1.0" encoding="UTF-8" standalone="yes"?>
<Relationships xmlns="http://schemas.openxmlformats.org/package/2006/relationships"><Relationship Id="rId1" Type="http://schemas.openxmlformats.org/officeDocument/2006/relationships/package" Target="../embeddings/Microsoft_Excel_Worksheet340.xlsx"/></Relationships>
</file>

<file path=ppt/charts/_rels/chart342.xml.rels><?xml version="1.0" encoding="UTF-8" standalone="yes"?>
<Relationships xmlns="http://schemas.openxmlformats.org/package/2006/relationships"><Relationship Id="rId1" Type="http://schemas.openxmlformats.org/officeDocument/2006/relationships/package" Target="../embeddings/Microsoft_Excel_Worksheet341.xlsx"/></Relationships>
</file>

<file path=ppt/charts/_rels/chart343.xml.rels><?xml version="1.0" encoding="UTF-8" standalone="yes"?>
<Relationships xmlns="http://schemas.openxmlformats.org/package/2006/relationships"><Relationship Id="rId1" Type="http://schemas.openxmlformats.org/officeDocument/2006/relationships/package" Target="../embeddings/Microsoft_Excel_Worksheet342.xlsx"/></Relationships>
</file>

<file path=ppt/charts/_rels/chart344.xml.rels><?xml version="1.0" encoding="UTF-8" standalone="yes"?>
<Relationships xmlns="http://schemas.openxmlformats.org/package/2006/relationships"><Relationship Id="rId1" Type="http://schemas.openxmlformats.org/officeDocument/2006/relationships/package" Target="../embeddings/Microsoft_Excel_Worksheet343.xlsx"/></Relationships>
</file>

<file path=ppt/charts/_rels/chart345.xml.rels><?xml version="1.0" encoding="UTF-8" standalone="yes"?>
<Relationships xmlns="http://schemas.openxmlformats.org/package/2006/relationships"><Relationship Id="rId1" Type="http://schemas.openxmlformats.org/officeDocument/2006/relationships/package" Target="../embeddings/Microsoft_Excel_Worksheet344.xlsx"/></Relationships>
</file>

<file path=ppt/charts/_rels/chart346.xml.rels><?xml version="1.0" encoding="UTF-8" standalone="yes"?>
<Relationships xmlns="http://schemas.openxmlformats.org/package/2006/relationships"><Relationship Id="rId1" Type="http://schemas.openxmlformats.org/officeDocument/2006/relationships/package" Target="../embeddings/Microsoft_Excel_Worksheet345.xlsx"/></Relationships>
</file>

<file path=ppt/charts/_rels/chart347.xml.rels><?xml version="1.0" encoding="UTF-8" standalone="yes"?>
<Relationships xmlns="http://schemas.openxmlformats.org/package/2006/relationships"><Relationship Id="rId1" Type="http://schemas.openxmlformats.org/officeDocument/2006/relationships/package" Target="../embeddings/Microsoft_Excel_Worksheet346.xlsx"/></Relationships>
</file>

<file path=ppt/charts/_rels/chart348.xml.rels><?xml version="1.0" encoding="UTF-8" standalone="yes"?>
<Relationships xmlns="http://schemas.openxmlformats.org/package/2006/relationships"><Relationship Id="rId1" Type="http://schemas.openxmlformats.org/officeDocument/2006/relationships/package" Target="../embeddings/Microsoft_Excel_Worksheet347.xlsx"/></Relationships>
</file>

<file path=ppt/charts/_rels/chart349.xml.rels><?xml version="1.0" encoding="UTF-8" standalone="yes"?>
<Relationships xmlns="http://schemas.openxmlformats.org/package/2006/relationships"><Relationship Id="rId1" Type="http://schemas.openxmlformats.org/officeDocument/2006/relationships/package" Target="../embeddings/Microsoft_Excel_Worksheet348.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50.xml.rels><?xml version="1.0" encoding="UTF-8" standalone="yes"?>
<Relationships xmlns="http://schemas.openxmlformats.org/package/2006/relationships"><Relationship Id="rId1" Type="http://schemas.openxmlformats.org/officeDocument/2006/relationships/package" Target="../embeddings/Microsoft_Excel_Worksheet349.xlsx"/></Relationships>
</file>

<file path=ppt/charts/_rels/chart351.xml.rels><?xml version="1.0" encoding="UTF-8" standalone="yes"?>
<Relationships xmlns="http://schemas.openxmlformats.org/package/2006/relationships"><Relationship Id="rId1" Type="http://schemas.openxmlformats.org/officeDocument/2006/relationships/package" Target="../embeddings/Microsoft_Excel_Worksheet350.xlsx"/></Relationships>
</file>

<file path=ppt/charts/_rels/chart352.xml.rels><?xml version="1.0" encoding="UTF-8" standalone="yes"?>
<Relationships xmlns="http://schemas.openxmlformats.org/package/2006/relationships"><Relationship Id="rId1" Type="http://schemas.openxmlformats.org/officeDocument/2006/relationships/package" Target="../embeddings/Microsoft_Excel_Worksheet351.xlsx"/></Relationships>
</file>

<file path=ppt/charts/_rels/chart353.xml.rels><?xml version="1.0" encoding="UTF-8" standalone="yes"?>
<Relationships xmlns="http://schemas.openxmlformats.org/package/2006/relationships"><Relationship Id="rId1" Type="http://schemas.openxmlformats.org/officeDocument/2006/relationships/package" Target="../embeddings/Microsoft_Excel_Worksheet352.xlsx"/></Relationships>
</file>

<file path=ppt/charts/_rels/chart354.xml.rels><?xml version="1.0" encoding="UTF-8" standalone="yes"?>
<Relationships xmlns="http://schemas.openxmlformats.org/package/2006/relationships"><Relationship Id="rId1" Type="http://schemas.openxmlformats.org/officeDocument/2006/relationships/package" Target="../embeddings/Microsoft_Excel_Worksheet353.xlsx"/></Relationships>
</file>

<file path=ppt/charts/_rels/chart355.xml.rels><?xml version="1.0" encoding="UTF-8" standalone="yes"?>
<Relationships xmlns="http://schemas.openxmlformats.org/package/2006/relationships"><Relationship Id="rId1" Type="http://schemas.openxmlformats.org/officeDocument/2006/relationships/package" Target="../embeddings/Microsoft_Excel_Worksheet354.xlsx"/></Relationships>
</file>

<file path=ppt/charts/_rels/chart356.xml.rels><?xml version="1.0" encoding="UTF-8" standalone="yes"?>
<Relationships xmlns="http://schemas.openxmlformats.org/package/2006/relationships"><Relationship Id="rId1" Type="http://schemas.openxmlformats.org/officeDocument/2006/relationships/package" Target="../embeddings/Microsoft_Excel_Worksheet355.xlsx"/></Relationships>
</file>

<file path=ppt/charts/_rels/chart357.xml.rels><?xml version="1.0" encoding="UTF-8" standalone="yes"?>
<Relationships xmlns="http://schemas.openxmlformats.org/package/2006/relationships"><Relationship Id="rId1" Type="http://schemas.openxmlformats.org/officeDocument/2006/relationships/package" Target="../embeddings/Microsoft_Excel_Worksheet356.xlsx"/></Relationships>
</file>

<file path=ppt/charts/_rels/chart358.xml.rels><?xml version="1.0" encoding="UTF-8" standalone="yes"?>
<Relationships xmlns="http://schemas.openxmlformats.org/package/2006/relationships"><Relationship Id="rId1" Type="http://schemas.openxmlformats.org/officeDocument/2006/relationships/package" Target="../embeddings/Microsoft_Excel_Worksheet357.xlsx"/></Relationships>
</file>

<file path=ppt/charts/_rels/chart359.xml.rels><?xml version="1.0" encoding="UTF-8" standalone="yes"?>
<Relationships xmlns="http://schemas.openxmlformats.org/package/2006/relationships"><Relationship Id="rId1" Type="http://schemas.openxmlformats.org/officeDocument/2006/relationships/package" Target="../embeddings/Microsoft_Excel_Worksheet358.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60.xml.rels><?xml version="1.0" encoding="UTF-8" standalone="yes"?>
<Relationships xmlns="http://schemas.openxmlformats.org/package/2006/relationships"><Relationship Id="rId1" Type="http://schemas.openxmlformats.org/officeDocument/2006/relationships/package" Target="../embeddings/Microsoft_Excel_Worksheet359.xlsx"/></Relationships>
</file>

<file path=ppt/charts/_rels/chart361.xml.rels><?xml version="1.0" encoding="UTF-8" standalone="yes"?>
<Relationships xmlns="http://schemas.openxmlformats.org/package/2006/relationships"><Relationship Id="rId1" Type="http://schemas.openxmlformats.org/officeDocument/2006/relationships/package" Target="../embeddings/Microsoft_Excel_Worksheet360.xlsx"/></Relationships>
</file>

<file path=ppt/charts/_rels/chart362.xml.rels><?xml version="1.0" encoding="UTF-8" standalone="yes"?>
<Relationships xmlns="http://schemas.openxmlformats.org/package/2006/relationships"><Relationship Id="rId1" Type="http://schemas.openxmlformats.org/officeDocument/2006/relationships/package" Target="../embeddings/Microsoft_Excel_Worksheet361.xlsx"/></Relationships>
</file>

<file path=ppt/charts/_rels/chart363.xml.rels><?xml version="1.0" encoding="UTF-8" standalone="yes"?>
<Relationships xmlns="http://schemas.openxmlformats.org/package/2006/relationships"><Relationship Id="rId1" Type="http://schemas.openxmlformats.org/officeDocument/2006/relationships/package" Target="../embeddings/Microsoft_Excel_Worksheet362.xlsx"/></Relationships>
</file>

<file path=ppt/charts/_rels/chart364.xml.rels><?xml version="1.0" encoding="UTF-8" standalone="yes"?>
<Relationships xmlns="http://schemas.openxmlformats.org/package/2006/relationships"><Relationship Id="rId1" Type="http://schemas.openxmlformats.org/officeDocument/2006/relationships/package" Target="../embeddings/Microsoft_Excel_Worksheet363.xlsx"/></Relationships>
</file>

<file path=ppt/charts/_rels/chart365.xml.rels><?xml version="1.0" encoding="UTF-8" standalone="yes"?>
<Relationships xmlns="http://schemas.openxmlformats.org/package/2006/relationships"><Relationship Id="rId1" Type="http://schemas.openxmlformats.org/officeDocument/2006/relationships/package" Target="../embeddings/Microsoft_Excel_Worksheet364.xlsx"/></Relationships>
</file>

<file path=ppt/charts/_rels/chart366.xml.rels><?xml version="1.0" encoding="UTF-8" standalone="yes"?>
<Relationships xmlns="http://schemas.openxmlformats.org/package/2006/relationships"><Relationship Id="rId1" Type="http://schemas.openxmlformats.org/officeDocument/2006/relationships/package" Target="../embeddings/Microsoft_Excel_Worksheet365.xlsx"/></Relationships>
</file>

<file path=ppt/charts/_rels/chart367.xml.rels><?xml version="1.0" encoding="UTF-8" standalone="yes"?>
<Relationships xmlns="http://schemas.openxmlformats.org/package/2006/relationships"><Relationship Id="rId1" Type="http://schemas.openxmlformats.org/officeDocument/2006/relationships/package" Target="../embeddings/Microsoft_Excel_Worksheet366.xlsx"/></Relationships>
</file>

<file path=ppt/charts/_rels/chart368.xml.rels><?xml version="1.0" encoding="UTF-8" standalone="yes"?>
<Relationships xmlns="http://schemas.openxmlformats.org/package/2006/relationships"><Relationship Id="rId1" Type="http://schemas.openxmlformats.org/officeDocument/2006/relationships/package" Target="../embeddings/Microsoft_Excel_Worksheet367.xlsx"/></Relationships>
</file>

<file path=ppt/charts/_rels/chart369.xml.rels><?xml version="1.0" encoding="UTF-8" standalone="yes"?>
<Relationships xmlns="http://schemas.openxmlformats.org/package/2006/relationships"><Relationship Id="rId1" Type="http://schemas.openxmlformats.org/officeDocument/2006/relationships/package" Target="../embeddings/Microsoft_Excel_Worksheet368.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70.xml.rels><?xml version="1.0" encoding="UTF-8" standalone="yes"?>
<Relationships xmlns="http://schemas.openxmlformats.org/package/2006/relationships"><Relationship Id="rId1" Type="http://schemas.openxmlformats.org/officeDocument/2006/relationships/package" Target="../embeddings/Microsoft_Excel_Worksheet369.xlsx"/></Relationships>
</file>

<file path=ppt/charts/_rels/chart371.xml.rels><?xml version="1.0" encoding="UTF-8" standalone="yes"?>
<Relationships xmlns="http://schemas.openxmlformats.org/package/2006/relationships"><Relationship Id="rId1" Type="http://schemas.openxmlformats.org/officeDocument/2006/relationships/package" Target="../embeddings/Microsoft_Excel_Worksheet370.xlsx"/></Relationships>
</file>

<file path=ppt/charts/_rels/chart372.xml.rels><?xml version="1.0" encoding="UTF-8" standalone="yes"?>
<Relationships xmlns="http://schemas.openxmlformats.org/package/2006/relationships"><Relationship Id="rId1" Type="http://schemas.openxmlformats.org/officeDocument/2006/relationships/package" Target="../embeddings/Microsoft_Excel_Worksheet371.xlsx"/></Relationships>
</file>

<file path=ppt/charts/_rels/chart373.xml.rels><?xml version="1.0" encoding="UTF-8" standalone="yes"?>
<Relationships xmlns="http://schemas.openxmlformats.org/package/2006/relationships"><Relationship Id="rId1" Type="http://schemas.openxmlformats.org/officeDocument/2006/relationships/package" Target="../embeddings/Microsoft_Excel_Worksheet372.xlsx"/></Relationships>
</file>

<file path=ppt/charts/_rels/chart374.xml.rels><?xml version="1.0" encoding="UTF-8" standalone="yes"?>
<Relationships xmlns="http://schemas.openxmlformats.org/package/2006/relationships"><Relationship Id="rId1" Type="http://schemas.openxmlformats.org/officeDocument/2006/relationships/package" Target="../embeddings/Microsoft_Excel_Worksheet373.xlsx"/></Relationships>
</file>

<file path=ppt/charts/_rels/chart375.xml.rels><?xml version="1.0" encoding="UTF-8" standalone="yes"?>
<Relationships xmlns="http://schemas.openxmlformats.org/package/2006/relationships"><Relationship Id="rId1" Type="http://schemas.openxmlformats.org/officeDocument/2006/relationships/package" Target="../embeddings/Microsoft_Excel_Worksheet374.xlsx"/></Relationships>
</file>

<file path=ppt/charts/_rels/chart376.xml.rels><?xml version="1.0" encoding="UTF-8" standalone="yes"?>
<Relationships xmlns="http://schemas.openxmlformats.org/package/2006/relationships"><Relationship Id="rId1" Type="http://schemas.openxmlformats.org/officeDocument/2006/relationships/package" Target="../embeddings/Microsoft_Excel_Worksheet375.xlsx"/></Relationships>
</file>

<file path=ppt/charts/_rels/chart377.xml.rels><?xml version="1.0" encoding="UTF-8" standalone="yes"?>
<Relationships xmlns="http://schemas.openxmlformats.org/package/2006/relationships"><Relationship Id="rId1" Type="http://schemas.openxmlformats.org/officeDocument/2006/relationships/package" Target="../embeddings/Microsoft_Excel_Worksheet376.xlsx"/></Relationships>
</file>

<file path=ppt/charts/_rels/chart378.xml.rels><?xml version="1.0" encoding="UTF-8" standalone="yes"?>
<Relationships xmlns="http://schemas.openxmlformats.org/package/2006/relationships"><Relationship Id="rId1" Type="http://schemas.openxmlformats.org/officeDocument/2006/relationships/package" Target="../embeddings/Microsoft_Excel_Worksheet377.xlsx"/></Relationships>
</file>

<file path=ppt/charts/_rels/chart379.xml.rels><?xml version="1.0" encoding="UTF-8" standalone="yes"?>
<Relationships xmlns="http://schemas.openxmlformats.org/package/2006/relationships"><Relationship Id="rId1" Type="http://schemas.openxmlformats.org/officeDocument/2006/relationships/package" Target="../embeddings/Microsoft_Excel_Worksheet378.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80.xml.rels><?xml version="1.0" encoding="UTF-8" standalone="yes"?>
<Relationships xmlns="http://schemas.openxmlformats.org/package/2006/relationships"><Relationship Id="rId1" Type="http://schemas.openxmlformats.org/officeDocument/2006/relationships/package" Target="../embeddings/Microsoft_Excel_Worksheet379.xlsx"/></Relationships>
</file>

<file path=ppt/charts/_rels/chart381.xml.rels><?xml version="1.0" encoding="UTF-8" standalone="yes"?>
<Relationships xmlns="http://schemas.openxmlformats.org/package/2006/relationships"><Relationship Id="rId1" Type="http://schemas.openxmlformats.org/officeDocument/2006/relationships/package" Target="../embeddings/Microsoft_Excel_Worksheet380.xlsx"/></Relationships>
</file>

<file path=ppt/charts/_rels/chart382.xml.rels><?xml version="1.0" encoding="UTF-8" standalone="yes"?>
<Relationships xmlns="http://schemas.openxmlformats.org/package/2006/relationships"><Relationship Id="rId1" Type="http://schemas.openxmlformats.org/officeDocument/2006/relationships/package" Target="../embeddings/Microsoft_Excel_Worksheet381.xlsx"/></Relationships>
</file>

<file path=ppt/charts/_rels/chart383.xml.rels><?xml version="1.0" encoding="UTF-8" standalone="yes"?>
<Relationships xmlns="http://schemas.openxmlformats.org/package/2006/relationships"><Relationship Id="rId1" Type="http://schemas.openxmlformats.org/officeDocument/2006/relationships/package" Target="../embeddings/Microsoft_Excel_Worksheet382.xlsx"/></Relationships>
</file>

<file path=ppt/charts/_rels/chart384.xml.rels><?xml version="1.0" encoding="UTF-8" standalone="yes"?>
<Relationships xmlns="http://schemas.openxmlformats.org/package/2006/relationships"><Relationship Id="rId1" Type="http://schemas.openxmlformats.org/officeDocument/2006/relationships/package" Target="../embeddings/Microsoft_Excel_Worksheet383.xlsx"/></Relationships>
</file>

<file path=ppt/charts/_rels/chart385.xml.rels><?xml version="1.0" encoding="UTF-8" standalone="yes"?>
<Relationships xmlns="http://schemas.openxmlformats.org/package/2006/relationships"><Relationship Id="rId1" Type="http://schemas.openxmlformats.org/officeDocument/2006/relationships/package" Target="../embeddings/Microsoft_Excel_Worksheet384.xlsx"/></Relationships>
</file>

<file path=ppt/charts/_rels/chart386.xml.rels><?xml version="1.0" encoding="UTF-8" standalone="yes"?>
<Relationships xmlns="http://schemas.openxmlformats.org/package/2006/relationships"><Relationship Id="rId1" Type="http://schemas.openxmlformats.org/officeDocument/2006/relationships/package" Target="../embeddings/Microsoft_Excel_Worksheet385.xlsx"/></Relationships>
</file>

<file path=ppt/charts/_rels/chart387.xml.rels><?xml version="1.0" encoding="UTF-8" standalone="yes"?>
<Relationships xmlns="http://schemas.openxmlformats.org/package/2006/relationships"><Relationship Id="rId1" Type="http://schemas.openxmlformats.org/officeDocument/2006/relationships/package" Target="../embeddings/Microsoft_Excel_Worksheet386.xlsx"/></Relationships>
</file>

<file path=ppt/charts/_rels/chart388.xml.rels><?xml version="1.0" encoding="UTF-8" standalone="yes"?>
<Relationships xmlns="http://schemas.openxmlformats.org/package/2006/relationships"><Relationship Id="rId1" Type="http://schemas.openxmlformats.org/officeDocument/2006/relationships/package" Target="../embeddings/Microsoft_Excel_Worksheet387.xlsx"/></Relationships>
</file>

<file path=ppt/charts/_rels/chart389.xml.rels><?xml version="1.0" encoding="UTF-8" standalone="yes"?>
<Relationships xmlns="http://schemas.openxmlformats.org/package/2006/relationships"><Relationship Id="rId1" Type="http://schemas.openxmlformats.org/officeDocument/2006/relationships/package" Target="../embeddings/Microsoft_Excel_Worksheet388.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390.xml.rels><?xml version="1.0" encoding="UTF-8" standalone="yes"?>
<Relationships xmlns="http://schemas.openxmlformats.org/package/2006/relationships"><Relationship Id="rId1" Type="http://schemas.openxmlformats.org/officeDocument/2006/relationships/package" Target="../embeddings/Microsoft_Excel_Worksheet389.xlsx"/></Relationships>
</file>

<file path=ppt/charts/_rels/chart391.xml.rels><?xml version="1.0" encoding="UTF-8" standalone="yes"?>
<Relationships xmlns="http://schemas.openxmlformats.org/package/2006/relationships"><Relationship Id="rId1" Type="http://schemas.openxmlformats.org/officeDocument/2006/relationships/package" Target="../embeddings/Microsoft_Excel_Worksheet390.xlsx"/></Relationships>
</file>

<file path=ppt/charts/_rels/chart392.xml.rels><?xml version="1.0" encoding="UTF-8" standalone="yes"?>
<Relationships xmlns="http://schemas.openxmlformats.org/package/2006/relationships"><Relationship Id="rId1" Type="http://schemas.openxmlformats.org/officeDocument/2006/relationships/package" Target="../embeddings/Microsoft_Excel_Worksheet391.xlsx"/></Relationships>
</file>

<file path=ppt/charts/_rels/chart393.xml.rels><?xml version="1.0" encoding="UTF-8" standalone="yes"?>
<Relationships xmlns="http://schemas.openxmlformats.org/package/2006/relationships"><Relationship Id="rId1" Type="http://schemas.openxmlformats.org/officeDocument/2006/relationships/package" Target="../embeddings/Microsoft_Excel_Worksheet392.xlsx"/></Relationships>
</file>

<file path=ppt/charts/_rels/chart394.xml.rels><?xml version="1.0" encoding="UTF-8" standalone="yes"?>
<Relationships xmlns="http://schemas.openxmlformats.org/package/2006/relationships"><Relationship Id="rId1" Type="http://schemas.openxmlformats.org/officeDocument/2006/relationships/package" Target="../embeddings/Microsoft_Excel_Worksheet393.xlsx"/></Relationships>
</file>

<file path=ppt/charts/_rels/chart395.xml.rels><?xml version="1.0" encoding="UTF-8" standalone="yes"?>
<Relationships xmlns="http://schemas.openxmlformats.org/package/2006/relationships"><Relationship Id="rId1" Type="http://schemas.openxmlformats.org/officeDocument/2006/relationships/package" Target="../embeddings/Microsoft_Excel_Worksheet394.xlsx"/></Relationships>
</file>

<file path=ppt/charts/_rels/chart396.xml.rels><?xml version="1.0" encoding="UTF-8" standalone="yes"?>
<Relationships xmlns="http://schemas.openxmlformats.org/package/2006/relationships"><Relationship Id="rId1" Type="http://schemas.openxmlformats.org/officeDocument/2006/relationships/package" Target="../embeddings/Microsoft_Excel_Worksheet395.xlsx"/></Relationships>
</file>

<file path=ppt/charts/_rels/chart397.xml.rels><?xml version="1.0" encoding="UTF-8" standalone="yes"?>
<Relationships xmlns="http://schemas.openxmlformats.org/package/2006/relationships"><Relationship Id="rId1" Type="http://schemas.openxmlformats.org/officeDocument/2006/relationships/package" Target="../embeddings/Microsoft_Excel_Worksheet396.xlsx"/></Relationships>
</file>

<file path=ppt/charts/_rels/chart398.xml.rels><?xml version="1.0" encoding="UTF-8" standalone="yes"?>
<Relationships xmlns="http://schemas.openxmlformats.org/package/2006/relationships"><Relationship Id="rId1" Type="http://schemas.openxmlformats.org/officeDocument/2006/relationships/package" Target="../embeddings/Microsoft_Excel_Worksheet397.xlsx"/></Relationships>
</file>

<file path=ppt/charts/_rels/chart399.xml.rels><?xml version="1.0" encoding="UTF-8" standalone="yes"?>
<Relationships xmlns="http://schemas.openxmlformats.org/package/2006/relationships"><Relationship Id="rId1" Type="http://schemas.openxmlformats.org/officeDocument/2006/relationships/package" Target="../embeddings/Microsoft_Excel_Worksheet39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00.xml.rels><?xml version="1.0" encoding="UTF-8" standalone="yes"?>
<Relationships xmlns="http://schemas.openxmlformats.org/package/2006/relationships"><Relationship Id="rId1" Type="http://schemas.openxmlformats.org/officeDocument/2006/relationships/package" Target="../embeddings/Microsoft_Excel_Worksheet399.xlsx"/></Relationships>
</file>

<file path=ppt/charts/_rels/chart401.xml.rels><?xml version="1.0" encoding="UTF-8" standalone="yes"?>
<Relationships xmlns="http://schemas.openxmlformats.org/package/2006/relationships"><Relationship Id="rId1" Type="http://schemas.openxmlformats.org/officeDocument/2006/relationships/package" Target="../embeddings/Microsoft_Excel_Worksheet400.xlsx"/></Relationships>
</file>

<file path=ppt/charts/_rels/chart402.xml.rels><?xml version="1.0" encoding="UTF-8" standalone="yes"?>
<Relationships xmlns="http://schemas.openxmlformats.org/package/2006/relationships"><Relationship Id="rId1" Type="http://schemas.openxmlformats.org/officeDocument/2006/relationships/package" Target="../embeddings/Microsoft_Excel_Worksheet401.xlsx"/></Relationships>
</file>

<file path=ppt/charts/_rels/chart403.xml.rels><?xml version="1.0" encoding="UTF-8" standalone="yes"?>
<Relationships xmlns="http://schemas.openxmlformats.org/package/2006/relationships"><Relationship Id="rId1" Type="http://schemas.openxmlformats.org/officeDocument/2006/relationships/package" Target="../embeddings/Microsoft_Excel_Worksheet402.xlsx"/></Relationships>
</file>

<file path=ppt/charts/_rels/chart404.xml.rels><?xml version="1.0" encoding="UTF-8" standalone="yes"?>
<Relationships xmlns="http://schemas.openxmlformats.org/package/2006/relationships"><Relationship Id="rId1" Type="http://schemas.openxmlformats.org/officeDocument/2006/relationships/package" Target="../embeddings/Microsoft_Excel_Worksheet403.xlsx"/></Relationships>
</file>

<file path=ppt/charts/_rels/chart405.xml.rels><?xml version="1.0" encoding="UTF-8" standalone="yes"?>
<Relationships xmlns="http://schemas.openxmlformats.org/package/2006/relationships"><Relationship Id="rId1" Type="http://schemas.openxmlformats.org/officeDocument/2006/relationships/package" Target="../embeddings/Microsoft_Excel_Worksheet404.xlsx"/></Relationships>
</file>

<file path=ppt/charts/_rels/chart406.xml.rels><?xml version="1.0" encoding="UTF-8" standalone="yes"?>
<Relationships xmlns="http://schemas.openxmlformats.org/package/2006/relationships"><Relationship Id="rId1" Type="http://schemas.openxmlformats.org/officeDocument/2006/relationships/package" Target="../embeddings/Microsoft_Excel_Worksheet405.xlsx"/></Relationships>
</file>

<file path=ppt/charts/_rels/chart407.xml.rels><?xml version="1.0" encoding="UTF-8" standalone="yes"?>
<Relationships xmlns="http://schemas.openxmlformats.org/package/2006/relationships"><Relationship Id="rId1" Type="http://schemas.openxmlformats.org/officeDocument/2006/relationships/package" Target="../embeddings/Microsoft_Excel_Worksheet406.xlsx"/></Relationships>
</file>

<file path=ppt/charts/_rels/chart408.xml.rels><?xml version="1.0" encoding="UTF-8" standalone="yes"?>
<Relationships xmlns="http://schemas.openxmlformats.org/package/2006/relationships"><Relationship Id="rId1" Type="http://schemas.openxmlformats.org/officeDocument/2006/relationships/package" Target="../embeddings/Microsoft_Excel_Worksheet407.xlsx"/></Relationships>
</file>

<file path=ppt/charts/_rels/chart409.xml.rels><?xml version="1.0" encoding="UTF-8" standalone="yes"?>
<Relationships xmlns="http://schemas.openxmlformats.org/package/2006/relationships"><Relationship Id="rId1" Type="http://schemas.openxmlformats.org/officeDocument/2006/relationships/package" Target="../embeddings/Microsoft_Excel_Worksheet408.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10.xml.rels><?xml version="1.0" encoding="UTF-8" standalone="yes"?>
<Relationships xmlns="http://schemas.openxmlformats.org/package/2006/relationships"><Relationship Id="rId1" Type="http://schemas.openxmlformats.org/officeDocument/2006/relationships/package" Target="../embeddings/Microsoft_Excel_Worksheet409.xlsx"/></Relationships>
</file>

<file path=ppt/charts/_rels/chart411.xml.rels><?xml version="1.0" encoding="UTF-8" standalone="yes"?>
<Relationships xmlns="http://schemas.openxmlformats.org/package/2006/relationships"><Relationship Id="rId1" Type="http://schemas.openxmlformats.org/officeDocument/2006/relationships/package" Target="../embeddings/Microsoft_Excel_Worksheet410.xlsx"/></Relationships>
</file>

<file path=ppt/charts/_rels/chart412.xml.rels><?xml version="1.0" encoding="UTF-8" standalone="yes"?>
<Relationships xmlns="http://schemas.openxmlformats.org/package/2006/relationships"><Relationship Id="rId1" Type="http://schemas.openxmlformats.org/officeDocument/2006/relationships/package" Target="../embeddings/Microsoft_Excel_Worksheet411.xlsx"/></Relationships>
</file>

<file path=ppt/charts/_rels/chart413.xml.rels><?xml version="1.0" encoding="UTF-8" standalone="yes"?>
<Relationships xmlns="http://schemas.openxmlformats.org/package/2006/relationships"><Relationship Id="rId1" Type="http://schemas.openxmlformats.org/officeDocument/2006/relationships/package" Target="../embeddings/Microsoft_Excel_Worksheet412.xlsx"/></Relationships>
</file>

<file path=ppt/charts/_rels/chart414.xml.rels><?xml version="1.0" encoding="UTF-8" standalone="yes"?>
<Relationships xmlns="http://schemas.openxmlformats.org/package/2006/relationships"><Relationship Id="rId1" Type="http://schemas.openxmlformats.org/officeDocument/2006/relationships/package" Target="../embeddings/Microsoft_Excel_Worksheet413.xlsx"/></Relationships>
</file>

<file path=ppt/charts/_rels/chart415.xml.rels><?xml version="1.0" encoding="UTF-8" standalone="yes"?>
<Relationships xmlns="http://schemas.openxmlformats.org/package/2006/relationships"><Relationship Id="rId1" Type="http://schemas.openxmlformats.org/officeDocument/2006/relationships/package" Target="../embeddings/Microsoft_Excel_Worksheet414.xlsx"/></Relationships>
</file>

<file path=ppt/charts/_rels/chart416.xml.rels><?xml version="1.0" encoding="UTF-8" standalone="yes"?>
<Relationships xmlns="http://schemas.openxmlformats.org/package/2006/relationships"><Relationship Id="rId1" Type="http://schemas.openxmlformats.org/officeDocument/2006/relationships/package" Target="../embeddings/Microsoft_Excel_Worksheet415.xlsx"/></Relationships>
</file>

<file path=ppt/charts/_rels/chart417.xml.rels><?xml version="1.0" encoding="UTF-8" standalone="yes"?>
<Relationships xmlns="http://schemas.openxmlformats.org/package/2006/relationships"><Relationship Id="rId1" Type="http://schemas.openxmlformats.org/officeDocument/2006/relationships/package" Target="../embeddings/Microsoft_Excel_Worksheet416.xlsx"/></Relationships>
</file>

<file path=ppt/charts/_rels/chart418.xml.rels><?xml version="1.0" encoding="UTF-8" standalone="yes"?>
<Relationships xmlns="http://schemas.openxmlformats.org/package/2006/relationships"><Relationship Id="rId1" Type="http://schemas.openxmlformats.org/officeDocument/2006/relationships/package" Target="../embeddings/Microsoft_Excel_Worksheet417.xlsx"/></Relationships>
</file>

<file path=ppt/charts/_rels/chart419.xml.rels><?xml version="1.0" encoding="UTF-8" standalone="yes"?>
<Relationships xmlns="http://schemas.openxmlformats.org/package/2006/relationships"><Relationship Id="rId1" Type="http://schemas.openxmlformats.org/officeDocument/2006/relationships/package" Target="../embeddings/Microsoft_Excel_Worksheet418.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20.xml.rels><?xml version="1.0" encoding="UTF-8" standalone="yes"?>
<Relationships xmlns="http://schemas.openxmlformats.org/package/2006/relationships"><Relationship Id="rId1" Type="http://schemas.openxmlformats.org/officeDocument/2006/relationships/package" Target="../embeddings/Microsoft_Excel_Worksheet419.xlsx"/></Relationships>
</file>

<file path=ppt/charts/_rels/chart421.xml.rels><?xml version="1.0" encoding="UTF-8" standalone="yes"?>
<Relationships xmlns="http://schemas.openxmlformats.org/package/2006/relationships"><Relationship Id="rId1" Type="http://schemas.openxmlformats.org/officeDocument/2006/relationships/package" Target="../embeddings/Microsoft_Excel_Worksheet420.xlsx"/></Relationships>
</file>

<file path=ppt/charts/_rels/chart422.xml.rels><?xml version="1.0" encoding="UTF-8" standalone="yes"?>
<Relationships xmlns="http://schemas.openxmlformats.org/package/2006/relationships"><Relationship Id="rId1" Type="http://schemas.openxmlformats.org/officeDocument/2006/relationships/package" Target="../embeddings/Microsoft_Excel_Worksheet421.xlsx"/></Relationships>
</file>

<file path=ppt/charts/_rels/chart423.xml.rels><?xml version="1.0" encoding="UTF-8" standalone="yes"?>
<Relationships xmlns="http://schemas.openxmlformats.org/package/2006/relationships"><Relationship Id="rId1" Type="http://schemas.openxmlformats.org/officeDocument/2006/relationships/package" Target="../embeddings/Microsoft_Excel_Worksheet422.xlsx"/></Relationships>
</file>

<file path=ppt/charts/_rels/chart424.xml.rels><?xml version="1.0" encoding="UTF-8" standalone="yes"?>
<Relationships xmlns="http://schemas.openxmlformats.org/package/2006/relationships"><Relationship Id="rId1" Type="http://schemas.openxmlformats.org/officeDocument/2006/relationships/package" Target="../embeddings/Microsoft_Excel_Worksheet423.xlsx"/></Relationships>
</file>

<file path=ppt/charts/_rels/chart425.xml.rels><?xml version="1.0" encoding="UTF-8" standalone="yes"?>
<Relationships xmlns="http://schemas.openxmlformats.org/package/2006/relationships"><Relationship Id="rId1" Type="http://schemas.openxmlformats.org/officeDocument/2006/relationships/package" Target="../embeddings/Microsoft_Excel_Worksheet424.xlsx"/></Relationships>
</file>

<file path=ppt/charts/_rels/chart426.xml.rels><?xml version="1.0" encoding="UTF-8" standalone="yes"?>
<Relationships xmlns="http://schemas.openxmlformats.org/package/2006/relationships"><Relationship Id="rId1" Type="http://schemas.openxmlformats.org/officeDocument/2006/relationships/package" Target="../embeddings/Microsoft_Excel_Worksheet425.xlsx"/></Relationships>
</file>

<file path=ppt/charts/_rels/chart427.xml.rels><?xml version="1.0" encoding="UTF-8" standalone="yes"?>
<Relationships xmlns="http://schemas.openxmlformats.org/package/2006/relationships"><Relationship Id="rId1" Type="http://schemas.openxmlformats.org/officeDocument/2006/relationships/package" Target="../embeddings/Microsoft_Excel_Worksheet426.xlsx"/></Relationships>
</file>

<file path=ppt/charts/_rels/chart428.xml.rels><?xml version="1.0" encoding="UTF-8" standalone="yes"?>
<Relationships xmlns="http://schemas.openxmlformats.org/package/2006/relationships"><Relationship Id="rId1" Type="http://schemas.openxmlformats.org/officeDocument/2006/relationships/package" Target="../embeddings/Microsoft_Excel_Worksheet427.xlsx"/></Relationships>
</file>

<file path=ppt/charts/_rels/chart429.xml.rels><?xml version="1.0" encoding="UTF-8" standalone="yes"?>
<Relationships xmlns="http://schemas.openxmlformats.org/package/2006/relationships"><Relationship Id="rId1" Type="http://schemas.openxmlformats.org/officeDocument/2006/relationships/package" Target="../embeddings/Microsoft_Excel_Worksheet428.xlsx"/></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430.xml.rels><?xml version="1.0" encoding="UTF-8" standalone="yes"?>
<Relationships xmlns="http://schemas.openxmlformats.org/package/2006/relationships"><Relationship Id="rId1" Type="http://schemas.openxmlformats.org/officeDocument/2006/relationships/package" Target="../embeddings/Microsoft_Excel_Worksheet429.xlsx"/></Relationships>
</file>

<file path=ppt/charts/_rels/chart431.xml.rels><?xml version="1.0" encoding="UTF-8" standalone="yes"?>
<Relationships xmlns="http://schemas.openxmlformats.org/package/2006/relationships"><Relationship Id="rId1" Type="http://schemas.openxmlformats.org/officeDocument/2006/relationships/package" Target="../embeddings/Microsoft_Excel_Worksheet430.xlsx"/></Relationships>
</file>

<file path=ppt/charts/_rels/chart432.xml.rels><?xml version="1.0" encoding="UTF-8" standalone="yes"?>
<Relationships xmlns="http://schemas.openxmlformats.org/package/2006/relationships"><Relationship Id="rId1" Type="http://schemas.openxmlformats.org/officeDocument/2006/relationships/package" Target="../embeddings/Microsoft_Excel_Worksheet431.xlsx"/></Relationships>
</file>

<file path=ppt/charts/_rels/chart433.xml.rels><?xml version="1.0" encoding="UTF-8" standalone="yes"?>
<Relationships xmlns="http://schemas.openxmlformats.org/package/2006/relationships"><Relationship Id="rId1" Type="http://schemas.openxmlformats.org/officeDocument/2006/relationships/package" Target="../embeddings/Microsoft_Excel_Worksheet432.xlsx"/></Relationships>
</file>

<file path=ppt/charts/_rels/chart434.xml.rels><?xml version="1.0" encoding="UTF-8" standalone="yes"?>
<Relationships xmlns="http://schemas.openxmlformats.org/package/2006/relationships"><Relationship Id="rId1" Type="http://schemas.openxmlformats.org/officeDocument/2006/relationships/package" Target="../embeddings/Microsoft_Excel_Worksheet433.xlsx"/></Relationships>
</file>

<file path=ppt/charts/_rels/chart435.xml.rels><?xml version="1.0" encoding="UTF-8" standalone="yes"?>
<Relationships xmlns="http://schemas.openxmlformats.org/package/2006/relationships"><Relationship Id="rId1" Type="http://schemas.openxmlformats.org/officeDocument/2006/relationships/package" Target="../embeddings/Microsoft_Excel_Worksheet434.xlsx"/></Relationships>
</file>

<file path=ppt/charts/_rels/chart436.xml.rels><?xml version="1.0" encoding="UTF-8" standalone="yes"?>
<Relationships xmlns="http://schemas.openxmlformats.org/package/2006/relationships"><Relationship Id="rId1" Type="http://schemas.openxmlformats.org/officeDocument/2006/relationships/package" Target="../embeddings/Microsoft_Excel_Worksheet435.xlsx"/></Relationships>
</file>

<file path=ppt/charts/_rels/chart437.xml.rels><?xml version="1.0" encoding="UTF-8" standalone="yes"?>
<Relationships xmlns="http://schemas.openxmlformats.org/package/2006/relationships"><Relationship Id="rId1" Type="http://schemas.openxmlformats.org/officeDocument/2006/relationships/package" Target="../embeddings/Microsoft_Excel_Worksheet436.xlsx"/></Relationships>
</file>

<file path=ppt/charts/_rels/chart438.xml.rels><?xml version="1.0" encoding="UTF-8" standalone="yes"?>
<Relationships xmlns="http://schemas.openxmlformats.org/package/2006/relationships"><Relationship Id="rId1" Type="http://schemas.openxmlformats.org/officeDocument/2006/relationships/package" Target="../embeddings/Microsoft_Excel_Worksheet437.xlsx"/></Relationships>
</file>

<file path=ppt/charts/_rels/chart439.xml.rels><?xml version="1.0" encoding="UTF-8" standalone="yes"?>
<Relationships xmlns="http://schemas.openxmlformats.org/package/2006/relationships"><Relationship Id="rId1" Type="http://schemas.openxmlformats.org/officeDocument/2006/relationships/package" Target="../embeddings/Microsoft_Excel_Worksheet438.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40.xml.rels><?xml version="1.0" encoding="UTF-8" standalone="yes"?>
<Relationships xmlns="http://schemas.openxmlformats.org/package/2006/relationships"><Relationship Id="rId1" Type="http://schemas.openxmlformats.org/officeDocument/2006/relationships/package" Target="../embeddings/Microsoft_Excel_Worksheet439.xlsx"/></Relationships>
</file>

<file path=ppt/charts/_rels/chart441.xml.rels><?xml version="1.0" encoding="UTF-8" standalone="yes"?>
<Relationships xmlns="http://schemas.openxmlformats.org/package/2006/relationships"><Relationship Id="rId1" Type="http://schemas.openxmlformats.org/officeDocument/2006/relationships/package" Target="../embeddings/Microsoft_Excel_Worksheet440.xlsx"/></Relationships>
</file>

<file path=ppt/charts/_rels/chart442.xml.rels><?xml version="1.0" encoding="UTF-8" standalone="yes"?>
<Relationships xmlns="http://schemas.openxmlformats.org/package/2006/relationships"><Relationship Id="rId1" Type="http://schemas.openxmlformats.org/officeDocument/2006/relationships/package" Target="../embeddings/Microsoft_Excel_Worksheet441.xlsx"/></Relationships>
</file>

<file path=ppt/charts/_rels/chart443.xml.rels><?xml version="1.0" encoding="UTF-8" standalone="yes"?>
<Relationships xmlns="http://schemas.openxmlformats.org/package/2006/relationships"><Relationship Id="rId1" Type="http://schemas.openxmlformats.org/officeDocument/2006/relationships/package" Target="../embeddings/Microsoft_Excel_Worksheet442.xlsx"/></Relationships>
</file>

<file path=ppt/charts/_rels/chart444.xml.rels><?xml version="1.0" encoding="UTF-8" standalone="yes"?>
<Relationships xmlns="http://schemas.openxmlformats.org/package/2006/relationships"><Relationship Id="rId1" Type="http://schemas.openxmlformats.org/officeDocument/2006/relationships/package" Target="../embeddings/Microsoft_Excel_Worksheet443.xlsx"/></Relationships>
</file>

<file path=ppt/charts/_rels/chart445.xml.rels><?xml version="1.0" encoding="UTF-8" standalone="yes"?>
<Relationships xmlns="http://schemas.openxmlformats.org/package/2006/relationships"><Relationship Id="rId1" Type="http://schemas.openxmlformats.org/officeDocument/2006/relationships/package" Target="../embeddings/Microsoft_Excel_Worksheet444.xlsx"/></Relationships>
</file>

<file path=ppt/charts/_rels/chart446.xml.rels><?xml version="1.0" encoding="UTF-8" standalone="yes"?>
<Relationships xmlns="http://schemas.openxmlformats.org/package/2006/relationships"><Relationship Id="rId1" Type="http://schemas.openxmlformats.org/officeDocument/2006/relationships/package" Target="../embeddings/Microsoft_Excel_Worksheet445.xlsx"/></Relationships>
</file>

<file path=ppt/charts/_rels/chart447.xml.rels><?xml version="1.0" encoding="UTF-8" standalone="yes"?>
<Relationships xmlns="http://schemas.openxmlformats.org/package/2006/relationships"><Relationship Id="rId1" Type="http://schemas.openxmlformats.org/officeDocument/2006/relationships/package" Target="../embeddings/Microsoft_Excel_Worksheet446.xlsx"/></Relationships>
</file>

<file path=ppt/charts/_rels/chart448.xml.rels><?xml version="1.0" encoding="UTF-8" standalone="yes"?>
<Relationships xmlns="http://schemas.openxmlformats.org/package/2006/relationships"><Relationship Id="rId1" Type="http://schemas.openxmlformats.org/officeDocument/2006/relationships/package" Target="../embeddings/Microsoft_Excel_Worksheet447.xlsx"/></Relationships>
</file>

<file path=ppt/charts/_rels/chart449.xml.rels><?xml version="1.0" encoding="UTF-8" standalone="yes"?>
<Relationships xmlns="http://schemas.openxmlformats.org/package/2006/relationships"><Relationship Id="rId1" Type="http://schemas.openxmlformats.org/officeDocument/2006/relationships/package" Target="../embeddings/Microsoft_Excel_Worksheet448.xlsx"/></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50.xml.rels><?xml version="1.0" encoding="UTF-8" standalone="yes"?>
<Relationships xmlns="http://schemas.openxmlformats.org/package/2006/relationships"><Relationship Id="rId1" Type="http://schemas.openxmlformats.org/officeDocument/2006/relationships/package" Target="../embeddings/Microsoft_Excel_Worksheet449.xlsx"/></Relationships>
</file>

<file path=ppt/charts/_rels/chart451.xml.rels><?xml version="1.0" encoding="UTF-8" standalone="yes"?>
<Relationships xmlns="http://schemas.openxmlformats.org/package/2006/relationships"><Relationship Id="rId1" Type="http://schemas.openxmlformats.org/officeDocument/2006/relationships/package" Target="../embeddings/Microsoft_Excel_Worksheet450.xlsx"/></Relationships>
</file>

<file path=ppt/charts/_rels/chart452.xml.rels><?xml version="1.0" encoding="UTF-8" standalone="yes"?>
<Relationships xmlns="http://schemas.openxmlformats.org/package/2006/relationships"><Relationship Id="rId1" Type="http://schemas.openxmlformats.org/officeDocument/2006/relationships/package" Target="../embeddings/Microsoft_Excel_Worksheet451.xlsx"/></Relationships>
</file>

<file path=ppt/charts/_rels/chart453.xml.rels><?xml version="1.0" encoding="UTF-8" standalone="yes"?>
<Relationships xmlns="http://schemas.openxmlformats.org/package/2006/relationships"><Relationship Id="rId1" Type="http://schemas.openxmlformats.org/officeDocument/2006/relationships/package" Target="../embeddings/Microsoft_Excel_Worksheet452.xlsx"/></Relationships>
</file>

<file path=ppt/charts/_rels/chart454.xml.rels><?xml version="1.0" encoding="UTF-8" standalone="yes"?>
<Relationships xmlns="http://schemas.openxmlformats.org/package/2006/relationships"><Relationship Id="rId1" Type="http://schemas.openxmlformats.org/officeDocument/2006/relationships/package" Target="../embeddings/Microsoft_Excel_Worksheet453.xlsx"/></Relationships>
</file>

<file path=ppt/charts/_rels/chart455.xml.rels><?xml version="1.0" encoding="UTF-8" standalone="yes"?>
<Relationships xmlns="http://schemas.openxmlformats.org/package/2006/relationships"><Relationship Id="rId1" Type="http://schemas.openxmlformats.org/officeDocument/2006/relationships/package" Target="../embeddings/Microsoft_Excel_Worksheet454.xlsx"/></Relationships>
</file>

<file path=ppt/charts/_rels/chart456.xml.rels><?xml version="1.0" encoding="UTF-8" standalone="yes"?>
<Relationships xmlns="http://schemas.openxmlformats.org/package/2006/relationships"><Relationship Id="rId1" Type="http://schemas.openxmlformats.org/officeDocument/2006/relationships/package" Target="../embeddings/Microsoft_Excel_Worksheet455.xlsx"/></Relationships>
</file>

<file path=ppt/charts/_rels/chart457.xml.rels><?xml version="1.0" encoding="UTF-8" standalone="yes"?>
<Relationships xmlns="http://schemas.openxmlformats.org/package/2006/relationships"><Relationship Id="rId1" Type="http://schemas.openxmlformats.org/officeDocument/2006/relationships/package" Target="../embeddings/Microsoft_Excel_Worksheet456.xlsx"/></Relationships>
</file>

<file path=ppt/charts/_rels/chart458.xml.rels><?xml version="1.0" encoding="UTF-8" standalone="yes"?>
<Relationships xmlns="http://schemas.openxmlformats.org/package/2006/relationships"><Relationship Id="rId1" Type="http://schemas.openxmlformats.org/officeDocument/2006/relationships/package" Target="../embeddings/Microsoft_Excel_Worksheet457.xlsx"/></Relationships>
</file>

<file path=ppt/charts/_rels/chart459.xml.rels><?xml version="1.0" encoding="UTF-8" standalone="yes"?>
<Relationships xmlns="http://schemas.openxmlformats.org/package/2006/relationships"><Relationship Id="rId1" Type="http://schemas.openxmlformats.org/officeDocument/2006/relationships/package" Target="../embeddings/Microsoft_Excel_Worksheet458.xlsx"/></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Worksheet45.xlsx"/></Relationships>
</file>

<file path=ppt/charts/_rels/chart460.xml.rels><?xml version="1.0" encoding="UTF-8" standalone="yes"?>
<Relationships xmlns="http://schemas.openxmlformats.org/package/2006/relationships"><Relationship Id="rId1" Type="http://schemas.openxmlformats.org/officeDocument/2006/relationships/package" Target="../embeddings/Microsoft_Excel_Worksheet459.xlsx"/></Relationships>
</file>

<file path=ppt/charts/_rels/chart461.xml.rels><?xml version="1.0" encoding="UTF-8" standalone="yes"?>
<Relationships xmlns="http://schemas.openxmlformats.org/package/2006/relationships"><Relationship Id="rId1" Type="http://schemas.openxmlformats.org/officeDocument/2006/relationships/package" Target="../embeddings/Microsoft_Excel_Worksheet460.xlsx"/></Relationships>
</file>

<file path=ppt/charts/_rels/chart462.xml.rels><?xml version="1.0" encoding="UTF-8" standalone="yes"?>
<Relationships xmlns="http://schemas.openxmlformats.org/package/2006/relationships"><Relationship Id="rId1" Type="http://schemas.openxmlformats.org/officeDocument/2006/relationships/package" Target="../embeddings/Microsoft_Excel_Worksheet461.xlsx"/></Relationships>
</file>

<file path=ppt/charts/_rels/chart463.xml.rels><?xml version="1.0" encoding="UTF-8" standalone="yes"?>
<Relationships xmlns="http://schemas.openxmlformats.org/package/2006/relationships"><Relationship Id="rId1" Type="http://schemas.openxmlformats.org/officeDocument/2006/relationships/package" Target="../embeddings/Microsoft_Excel_Worksheet462.xlsx"/></Relationships>
</file>

<file path=ppt/charts/_rels/chart464.xml.rels><?xml version="1.0" encoding="UTF-8" standalone="yes"?>
<Relationships xmlns="http://schemas.openxmlformats.org/package/2006/relationships"><Relationship Id="rId1" Type="http://schemas.openxmlformats.org/officeDocument/2006/relationships/package" Target="../embeddings/Microsoft_Excel_Worksheet463.xlsx"/></Relationships>
</file>

<file path=ppt/charts/_rels/chart465.xml.rels><?xml version="1.0" encoding="UTF-8" standalone="yes"?>
<Relationships xmlns="http://schemas.openxmlformats.org/package/2006/relationships"><Relationship Id="rId1" Type="http://schemas.openxmlformats.org/officeDocument/2006/relationships/package" Target="../embeddings/Microsoft_Excel_Worksheet464.xlsx"/></Relationships>
</file>

<file path=ppt/charts/_rels/chart466.xml.rels><?xml version="1.0" encoding="UTF-8" standalone="yes"?>
<Relationships xmlns="http://schemas.openxmlformats.org/package/2006/relationships"><Relationship Id="rId1" Type="http://schemas.openxmlformats.org/officeDocument/2006/relationships/package" Target="../embeddings/Microsoft_Excel_Worksheet465.xlsx"/></Relationships>
</file>

<file path=ppt/charts/_rels/chart467.xml.rels><?xml version="1.0" encoding="UTF-8" standalone="yes"?>
<Relationships xmlns="http://schemas.openxmlformats.org/package/2006/relationships"><Relationship Id="rId1" Type="http://schemas.openxmlformats.org/officeDocument/2006/relationships/package" Target="../embeddings/Microsoft_Excel_Worksheet466.xlsx"/></Relationships>
</file>

<file path=ppt/charts/_rels/chart468.xml.rels><?xml version="1.0" encoding="UTF-8" standalone="yes"?>
<Relationships xmlns="http://schemas.openxmlformats.org/package/2006/relationships"><Relationship Id="rId1" Type="http://schemas.openxmlformats.org/officeDocument/2006/relationships/package" Target="../embeddings/Microsoft_Excel_Worksheet467.xlsx"/></Relationships>
</file>

<file path=ppt/charts/_rels/chart469.xml.rels><?xml version="1.0" encoding="UTF-8" standalone="yes"?>
<Relationships xmlns="http://schemas.openxmlformats.org/package/2006/relationships"><Relationship Id="rId1" Type="http://schemas.openxmlformats.org/officeDocument/2006/relationships/package" Target="../embeddings/Microsoft_Excel_Worksheet468.xlsx"/></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Worksheet46.xlsx"/></Relationships>
</file>

<file path=ppt/charts/_rels/chart470.xml.rels><?xml version="1.0" encoding="UTF-8" standalone="yes"?>
<Relationships xmlns="http://schemas.openxmlformats.org/package/2006/relationships"><Relationship Id="rId1" Type="http://schemas.openxmlformats.org/officeDocument/2006/relationships/package" Target="../embeddings/Microsoft_Excel_Worksheet469.xlsx"/></Relationships>
</file>

<file path=ppt/charts/_rels/chart471.xml.rels><?xml version="1.0" encoding="UTF-8" standalone="yes"?>
<Relationships xmlns="http://schemas.openxmlformats.org/package/2006/relationships"><Relationship Id="rId1" Type="http://schemas.openxmlformats.org/officeDocument/2006/relationships/package" Target="../embeddings/Microsoft_Excel_Worksheet470.xlsx"/></Relationships>
</file>

<file path=ppt/charts/_rels/chart472.xml.rels><?xml version="1.0" encoding="UTF-8" standalone="yes"?>
<Relationships xmlns="http://schemas.openxmlformats.org/package/2006/relationships"><Relationship Id="rId1" Type="http://schemas.openxmlformats.org/officeDocument/2006/relationships/package" Target="../embeddings/Microsoft_Excel_Worksheet471.xlsx"/></Relationships>
</file>

<file path=ppt/charts/_rels/chart473.xml.rels><?xml version="1.0" encoding="UTF-8" standalone="yes"?>
<Relationships xmlns="http://schemas.openxmlformats.org/package/2006/relationships"><Relationship Id="rId1" Type="http://schemas.openxmlformats.org/officeDocument/2006/relationships/package" Target="../embeddings/Microsoft_Excel_Worksheet472.xlsx"/></Relationships>
</file>

<file path=ppt/charts/_rels/chart474.xml.rels><?xml version="1.0" encoding="UTF-8" standalone="yes"?>
<Relationships xmlns="http://schemas.openxmlformats.org/package/2006/relationships"><Relationship Id="rId1" Type="http://schemas.openxmlformats.org/officeDocument/2006/relationships/package" Target="../embeddings/Microsoft_Excel_Worksheet473.xlsx"/></Relationships>
</file>

<file path=ppt/charts/_rels/chart475.xml.rels><?xml version="1.0" encoding="UTF-8" standalone="yes"?>
<Relationships xmlns="http://schemas.openxmlformats.org/package/2006/relationships"><Relationship Id="rId1" Type="http://schemas.openxmlformats.org/officeDocument/2006/relationships/package" Target="../embeddings/Microsoft_Excel_Worksheet474.xlsx"/></Relationships>
</file>

<file path=ppt/charts/_rels/chart476.xml.rels><?xml version="1.0" encoding="UTF-8" standalone="yes"?>
<Relationships xmlns="http://schemas.openxmlformats.org/package/2006/relationships"><Relationship Id="rId1" Type="http://schemas.openxmlformats.org/officeDocument/2006/relationships/package" Target="../embeddings/Microsoft_Excel_Worksheet475.xlsx"/></Relationships>
</file>

<file path=ppt/charts/_rels/chart477.xml.rels><?xml version="1.0" encoding="UTF-8" standalone="yes"?>
<Relationships xmlns="http://schemas.openxmlformats.org/package/2006/relationships"><Relationship Id="rId1" Type="http://schemas.openxmlformats.org/officeDocument/2006/relationships/package" Target="../embeddings/Microsoft_Excel_Worksheet476.xlsx"/></Relationships>
</file>

<file path=ppt/charts/_rels/chart478.xml.rels><?xml version="1.0" encoding="UTF-8" standalone="yes"?>
<Relationships xmlns="http://schemas.openxmlformats.org/package/2006/relationships"><Relationship Id="rId1" Type="http://schemas.openxmlformats.org/officeDocument/2006/relationships/package" Target="../embeddings/Microsoft_Excel_Worksheet477.xlsx"/></Relationships>
</file>

<file path=ppt/charts/_rels/chart479.xml.rels><?xml version="1.0" encoding="UTF-8" standalone="yes"?>
<Relationships xmlns="http://schemas.openxmlformats.org/package/2006/relationships"><Relationship Id="rId1" Type="http://schemas.openxmlformats.org/officeDocument/2006/relationships/package" Target="../embeddings/Microsoft_Excel_Worksheet478.xlsx"/></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80.xml.rels><?xml version="1.0" encoding="UTF-8" standalone="yes"?>
<Relationships xmlns="http://schemas.openxmlformats.org/package/2006/relationships"><Relationship Id="rId1" Type="http://schemas.openxmlformats.org/officeDocument/2006/relationships/package" Target="../embeddings/Microsoft_Excel_Worksheet479.xlsx"/></Relationships>
</file>

<file path=ppt/charts/_rels/chart481.xml.rels><?xml version="1.0" encoding="UTF-8" standalone="yes"?>
<Relationships xmlns="http://schemas.openxmlformats.org/package/2006/relationships"><Relationship Id="rId1" Type="http://schemas.openxmlformats.org/officeDocument/2006/relationships/package" Target="../embeddings/Microsoft_Excel_Worksheet480.xlsx"/></Relationships>
</file>

<file path=ppt/charts/_rels/chart482.xml.rels><?xml version="1.0" encoding="UTF-8" standalone="yes"?>
<Relationships xmlns="http://schemas.openxmlformats.org/package/2006/relationships"><Relationship Id="rId1" Type="http://schemas.openxmlformats.org/officeDocument/2006/relationships/package" Target="../embeddings/Microsoft_Excel_Worksheet481.xlsx"/></Relationships>
</file>

<file path=ppt/charts/_rels/chart483.xml.rels><?xml version="1.0" encoding="UTF-8" standalone="yes"?>
<Relationships xmlns="http://schemas.openxmlformats.org/package/2006/relationships"><Relationship Id="rId1" Type="http://schemas.openxmlformats.org/officeDocument/2006/relationships/package" Target="../embeddings/Microsoft_Excel_Worksheet482.xlsx"/></Relationships>
</file>

<file path=ppt/charts/_rels/chart484.xml.rels><?xml version="1.0" encoding="UTF-8" standalone="yes"?>
<Relationships xmlns="http://schemas.openxmlformats.org/package/2006/relationships"><Relationship Id="rId1" Type="http://schemas.openxmlformats.org/officeDocument/2006/relationships/package" Target="../embeddings/Microsoft_Excel_Worksheet483.xlsx"/></Relationships>
</file>

<file path=ppt/charts/_rels/chart485.xml.rels><?xml version="1.0" encoding="UTF-8" standalone="yes"?>
<Relationships xmlns="http://schemas.openxmlformats.org/package/2006/relationships"><Relationship Id="rId1" Type="http://schemas.openxmlformats.org/officeDocument/2006/relationships/package" Target="../embeddings/Microsoft_Excel_Worksheet484.xlsx"/></Relationships>
</file>

<file path=ppt/charts/_rels/chart486.xml.rels><?xml version="1.0" encoding="UTF-8" standalone="yes"?>
<Relationships xmlns="http://schemas.openxmlformats.org/package/2006/relationships"><Relationship Id="rId1" Type="http://schemas.openxmlformats.org/officeDocument/2006/relationships/package" Target="../embeddings/Microsoft_Excel_Worksheet485.xlsx"/></Relationships>
</file>

<file path=ppt/charts/_rels/chart487.xml.rels><?xml version="1.0" encoding="UTF-8" standalone="yes"?>
<Relationships xmlns="http://schemas.openxmlformats.org/package/2006/relationships"><Relationship Id="rId1" Type="http://schemas.openxmlformats.org/officeDocument/2006/relationships/package" Target="../embeddings/Microsoft_Excel_Worksheet486.xlsx"/></Relationships>
</file>

<file path=ppt/charts/_rels/chart488.xml.rels><?xml version="1.0" encoding="UTF-8" standalone="yes"?>
<Relationships xmlns="http://schemas.openxmlformats.org/package/2006/relationships"><Relationship Id="rId1" Type="http://schemas.openxmlformats.org/officeDocument/2006/relationships/package" Target="../embeddings/Microsoft_Excel_Worksheet487.xlsx"/></Relationships>
</file>

<file path=ppt/charts/_rels/chart489.xml.rels><?xml version="1.0" encoding="UTF-8" standalone="yes"?>
<Relationships xmlns="http://schemas.openxmlformats.org/package/2006/relationships"><Relationship Id="rId1" Type="http://schemas.openxmlformats.org/officeDocument/2006/relationships/package" Target="../embeddings/Microsoft_Excel_Worksheet488.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490.xml.rels><?xml version="1.0" encoding="UTF-8" standalone="yes"?>
<Relationships xmlns="http://schemas.openxmlformats.org/package/2006/relationships"><Relationship Id="rId1" Type="http://schemas.openxmlformats.org/officeDocument/2006/relationships/package" Target="../embeddings/Microsoft_Excel_Worksheet489.xlsx"/></Relationships>
</file>

<file path=ppt/charts/_rels/chart491.xml.rels><?xml version="1.0" encoding="UTF-8" standalone="yes"?>
<Relationships xmlns="http://schemas.openxmlformats.org/package/2006/relationships"><Relationship Id="rId1" Type="http://schemas.openxmlformats.org/officeDocument/2006/relationships/package" Target="../embeddings/Microsoft_Excel_Worksheet490.xlsx"/></Relationships>
</file>

<file path=ppt/charts/_rels/chart492.xml.rels><?xml version="1.0" encoding="UTF-8" standalone="yes"?>
<Relationships xmlns="http://schemas.openxmlformats.org/package/2006/relationships"><Relationship Id="rId1" Type="http://schemas.openxmlformats.org/officeDocument/2006/relationships/package" Target="../embeddings/Microsoft_Excel_Worksheet491.xlsx"/></Relationships>
</file>

<file path=ppt/charts/_rels/chart493.xml.rels><?xml version="1.0" encoding="UTF-8" standalone="yes"?>
<Relationships xmlns="http://schemas.openxmlformats.org/package/2006/relationships"><Relationship Id="rId1" Type="http://schemas.openxmlformats.org/officeDocument/2006/relationships/package" Target="../embeddings/Microsoft_Excel_Worksheet492.xlsx"/></Relationships>
</file>

<file path=ppt/charts/_rels/chart494.xml.rels><?xml version="1.0" encoding="UTF-8" standalone="yes"?>
<Relationships xmlns="http://schemas.openxmlformats.org/package/2006/relationships"><Relationship Id="rId1" Type="http://schemas.openxmlformats.org/officeDocument/2006/relationships/package" Target="../embeddings/Microsoft_Excel_Worksheet493.xlsx"/></Relationships>
</file>

<file path=ppt/charts/_rels/chart495.xml.rels><?xml version="1.0" encoding="UTF-8" standalone="yes"?>
<Relationships xmlns="http://schemas.openxmlformats.org/package/2006/relationships"><Relationship Id="rId1" Type="http://schemas.openxmlformats.org/officeDocument/2006/relationships/package" Target="../embeddings/Microsoft_Excel_Worksheet494.xlsx"/></Relationships>
</file>

<file path=ppt/charts/_rels/chart496.xml.rels><?xml version="1.0" encoding="UTF-8" standalone="yes"?>
<Relationships xmlns="http://schemas.openxmlformats.org/package/2006/relationships"><Relationship Id="rId1" Type="http://schemas.openxmlformats.org/officeDocument/2006/relationships/package" Target="../embeddings/Microsoft_Excel_Worksheet495.xlsx"/></Relationships>
</file>

<file path=ppt/charts/_rels/chart497.xml.rels><?xml version="1.0" encoding="UTF-8" standalone="yes"?>
<Relationships xmlns="http://schemas.openxmlformats.org/package/2006/relationships"><Relationship Id="rId1" Type="http://schemas.openxmlformats.org/officeDocument/2006/relationships/package" Target="../embeddings/Microsoft_Excel_Worksheet496.xlsx"/></Relationships>
</file>

<file path=ppt/charts/_rels/chart498.xml.rels><?xml version="1.0" encoding="UTF-8" standalone="yes"?>
<Relationships xmlns="http://schemas.openxmlformats.org/package/2006/relationships"><Relationship Id="rId1" Type="http://schemas.openxmlformats.org/officeDocument/2006/relationships/package" Target="../embeddings/Microsoft_Excel_Worksheet497.xlsx"/></Relationships>
</file>

<file path=ppt/charts/_rels/chart499.xml.rels><?xml version="1.0" encoding="UTF-8" standalone="yes"?>
<Relationships xmlns="http://schemas.openxmlformats.org/package/2006/relationships"><Relationship Id="rId1" Type="http://schemas.openxmlformats.org/officeDocument/2006/relationships/package" Target="../embeddings/Microsoft_Excel_Worksheet498.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00.xml.rels><?xml version="1.0" encoding="UTF-8" standalone="yes"?>
<Relationships xmlns="http://schemas.openxmlformats.org/package/2006/relationships"><Relationship Id="rId1" Type="http://schemas.openxmlformats.org/officeDocument/2006/relationships/package" Target="../embeddings/Microsoft_Excel_Worksheet499.xlsx"/></Relationships>
</file>

<file path=ppt/charts/_rels/chart501.xml.rels><?xml version="1.0" encoding="UTF-8" standalone="yes"?>
<Relationships xmlns="http://schemas.openxmlformats.org/package/2006/relationships"><Relationship Id="rId1" Type="http://schemas.openxmlformats.org/officeDocument/2006/relationships/package" Target="../embeddings/Microsoft_Excel_Worksheet500.xlsx"/></Relationships>
</file>

<file path=ppt/charts/_rels/chart502.xml.rels><?xml version="1.0" encoding="UTF-8" standalone="yes"?>
<Relationships xmlns="http://schemas.openxmlformats.org/package/2006/relationships"><Relationship Id="rId1" Type="http://schemas.openxmlformats.org/officeDocument/2006/relationships/package" Target="../embeddings/Microsoft_Excel_Worksheet501.xlsx"/></Relationships>
</file>

<file path=ppt/charts/_rels/chart503.xml.rels><?xml version="1.0" encoding="UTF-8" standalone="yes"?>
<Relationships xmlns="http://schemas.openxmlformats.org/package/2006/relationships"><Relationship Id="rId1" Type="http://schemas.openxmlformats.org/officeDocument/2006/relationships/package" Target="../embeddings/Microsoft_Excel_Worksheet502.xlsx"/></Relationships>
</file>

<file path=ppt/charts/_rels/chart504.xml.rels><?xml version="1.0" encoding="UTF-8" standalone="yes"?>
<Relationships xmlns="http://schemas.openxmlformats.org/package/2006/relationships"><Relationship Id="rId1" Type="http://schemas.openxmlformats.org/officeDocument/2006/relationships/package" Target="../embeddings/Microsoft_Excel_Worksheet503.xlsx"/></Relationships>
</file>

<file path=ppt/charts/_rels/chart505.xml.rels><?xml version="1.0" encoding="UTF-8" standalone="yes"?>
<Relationships xmlns="http://schemas.openxmlformats.org/package/2006/relationships"><Relationship Id="rId1" Type="http://schemas.openxmlformats.org/officeDocument/2006/relationships/package" Target="../embeddings/Microsoft_Excel_Worksheet504.xlsx"/></Relationships>
</file>

<file path=ppt/charts/_rels/chart506.xml.rels><?xml version="1.0" encoding="UTF-8" standalone="yes"?>
<Relationships xmlns="http://schemas.openxmlformats.org/package/2006/relationships"><Relationship Id="rId1" Type="http://schemas.openxmlformats.org/officeDocument/2006/relationships/package" Target="../embeddings/Microsoft_Excel_Worksheet505.xlsx"/></Relationships>
</file>

<file path=ppt/charts/_rels/chart507.xml.rels><?xml version="1.0" encoding="UTF-8" standalone="yes"?>
<Relationships xmlns="http://schemas.openxmlformats.org/package/2006/relationships"><Relationship Id="rId1" Type="http://schemas.openxmlformats.org/officeDocument/2006/relationships/package" Target="../embeddings/Microsoft_Excel_Worksheet506.xlsx"/></Relationships>
</file>

<file path=ppt/charts/_rels/chart508.xml.rels><?xml version="1.0" encoding="UTF-8" standalone="yes"?>
<Relationships xmlns="http://schemas.openxmlformats.org/package/2006/relationships"><Relationship Id="rId1" Type="http://schemas.openxmlformats.org/officeDocument/2006/relationships/package" Target="../embeddings/Microsoft_Excel_Worksheet507.xlsx"/></Relationships>
</file>

<file path=ppt/charts/_rels/chart509.xml.rels><?xml version="1.0" encoding="UTF-8" standalone="yes"?>
<Relationships xmlns="http://schemas.openxmlformats.org/package/2006/relationships"><Relationship Id="rId1" Type="http://schemas.openxmlformats.org/officeDocument/2006/relationships/package" Target="../embeddings/Microsoft_Excel_Worksheet508.xlsx"/></Relationships>
</file>

<file path=ppt/charts/_rels/chart51.xml.rels><?xml version="1.0" encoding="UTF-8" standalone="yes"?>
<Relationships xmlns="http://schemas.openxmlformats.org/package/2006/relationships"><Relationship Id="rId1" Type="http://schemas.openxmlformats.org/officeDocument/2006/relationships/package" Target="../embeddings/Microsoft_Excel_Worksheet50.xlsx"/></Relationships>
</file>

<file path=ppt/charts/_rels/chart510.xml.rels><?xml version="1.0" encoding="UTF-8" standalone="yes"?>
<Relationships xmlns="http://schemas.openxmlformats.org/package/2006/relationships"><Relationship Id="rId1" Type="http://schemas.openxmlformats.org/officeDocument/2006/relationships/package" Target="../embeddings/Microsoft_Excel_Worksheet509.xlsx"/></Relationships>
</file>

<file path=ppt/charts/_rels/chart511.xml.rels><?xml version="1.0" encoding="UTF-8" standalone="yes"?>
<Relationships xmlns="http://schemas.openxmlformats.org/package/2006/relationships"><Relationship Id="rId1" Type="http://schemas.openxmlformats.org/officeDocument/2006/relationships/package" Target="../embeddings/Microsoft_Excel_Worksheet510.xlsx"/></Relationships>
</file>

<file path=ppt/charts/_rels/chart512.xml.rels><?xml version="1.0" encoding="UTF-8" standalone="yes"?>
<Relationships xmlns="http://schemas.openxmlformats.org/package/2006/relationships"><Relationship Id="rId1" Type="http://schemas.openxmlformats.org/officeDocument/2006/relationships/package" Target="../embeddings/Microsoft_Excel_Worksheet511.xlsx"/></Relationships>
</file>

<file path=ppt/charts/_rels/chart513.xml.rels><?xml version="1.0" encoding="UTF-8" standalone="yes"?>
<Relationships xmlns="http://schemas.openxmlformats.org/package/2006/relationships"><Relationship Id="rId1" Type="http://schemas.openxmlformats.org/officeDocument/2006/relationships/package" Target="../embeddings/Microsoft_Excel_Worksheet512.xlsx"/></Relationships>
</file>

<file path=ppt/charts/_rels/chart514.xml.rels><?xml version="1.0" encoding="UTF-8" standalone="yes"?>
<Relationships xmlns="http://schemas.openxmlformats.org/package/2006/relationships"><Relationship Id="rId1" Type="http://schemas.openxmlformats.org/officeDocument/2006/relationships/package" Target="../embeddings/Microsoft_Excel_Worksheet513.xlsx"/></Relationships>
</file>

<file path=ppt/charts/_rels/chart515.xml.rels><?xml version="1.0" encoding="UTF-8" standalone="yes"?>
<Relationships xmlns="http://schemas.openxmlformats.org/package/2006/relationships"><Relationship Id="rId1" Type="http://schemas.openxmlformats.org/officeDocument/2006/relationships/package" Target="../embeddings/Microsoft_Excel_Worksheet514.xlsx"/></Relationships>
</file>

<file path=ppt/charts/_rels/chart516.xml.rels><?xml version="1.0" encoding="UTF-8" standalone="yes"?>
<Relationships xmlns="http://schemas.openxmlformats.org/package/2006/relationships"><Relationship Id="rId1" Type="http://schemas.openxmlformats.org/officeDocument/2006/relationships/package" Target="../embeddings/Microsoft_Excel_Worksheet515.xlsx"/></Relationships>
</file>

<file path=ppt/charts/_rels/chart517.xml.rels><?xml version="1.0" encoding="UTF-8" standalone="yes"?>
<Relationships xmlns="http://schemas.openxmlformats.org/package/2006/relationships"><Relationship Id="rId1" Type="http://schemas.openxmlformats.org/officeDocument/2006/relationships/package" Target="../embeddings/Microsoft_Excel_Worksheet516.xlsx"/></Relationships>
</file>

<file path=ppt/charts/_rels/chart518.xml.rels><?xml version="1.0" encoding="UTF-8" standalone="yes"?>
<Relationships xmlns="http://schemas.openxmlformats.org/package/2006/relationships"><Relationship Id="rId1" Type="http://schemas.openxmlformats.org/officeDocument/2006/relationships/package" Target="../embeddings/Microsoft_Excel_Worksheet517.xlsx"/></Relationships>
</file>

<file path=ppt/charts/_rels/chart519.xml.rels><?xml version="1.0" encoding="UTF-8" standalone="yes"?>
<Relationships xmlns="http://schemas.openxmlformats.org/package/2006/relationships"><Relationship Id="rId1" Type="http://schemas.openxmlformats.org/officeDocument/2006/relationships/package" Target="../embeddings/Microsoft_Excel_Worksheet518.xlsx"/></Relationships>
</file>

<file path=ppt/charts/_rels/chart52.xml.rels><?xml version="1.0" encoding="UTF-8" standalone="yes"?>
<Relationships xmlns="http://schemas.openxmlformats.org/package/2006/relationships"><Relationship Id="rId1" Type="http://schemas.openxmlformats.org/officeDocument/2006/relationships/package" Target="../embeddings/Microsoft_Excel_Worksheet51.xlsx"/></Relationships>
</file>

<file path=ppt/charts/_rels/chart520.xml.rels><?xml version="1.0" encoding="UTF-8" standalone="yes"?>
<Relationships xmlns="http://schemas.openxmlformats.org/package/2006/relationships"><Relationship Id="rId1" Type="http://schemas.openxmlformats.org/officeDocument/2006/relationships/package" Target="../embeddings/Microsoft_Excel_Worksheet519.xlsx"/></Relationships>
</file>

<file path=ppt/charts/_rels/chart521.xml.rels><?xml version="1.0" encoding="UTF-8" standalone="yes"?>
<Relationships xmlns="http://schemas.openxmlformats.org/package/2006/relationships"><Relationship Id="rId1" Type="http://schemas.openxmlformats.org/officeDocument/2006/relationships/package" Target="../embeddings/Microsoft_Excel_Worksheet520.xlsx"/></Relationships>
</file>

<file path=ppt/charts/_rels/chart522.xml.rels><?xml version="1.0" encoding="UTF-8" standalone="yes"?>
<Relationships xmlns="http://schemas.openxmlformats.org/package/2006/relationships"><Relationship Id="rId1" Type="http://schemas.openxmlformats.org/officeDocument/2006/relationships/package" Target="../embeddings/Microsoft_Excel_Worksheet521.xlsx"/></Relationships>
</file>

<file path=ppt/charts/_rels/chart523.xml.rels><?xml version="1.0" encoding="UTF-8" standalone="yes"?>
<Relationships xmlns="http://schemas.openxmlformats.org/package/2006/relationships"><Relationship Id="rId1" Type="http://schemas.openxmlformats.org/officeDocument/2006/relationships/package" Target="../embeddings/Microsoft_Excel_Worksheet522.xlsx"/></Relationships>
</file>

<file path=ppt/charts/_rels/chart524.xml.rels><?xml version="1.0" encoding="UTF-8" standalone="yes"?>
<Relationships xmlns="http://schemas.openxmlformats.org/package/2006/relationships"><Relationship Id="rId1" Type="http://schemas.openxmlformats.org/officeDocument/2006/relationships/package" Target="../embeddings/Microsoft_Excel_Worksheet523.xlsx"/></Relationships>
</file>

<file path=ppt/charts/_rels/chart525.xml.rels><?xml version="1.0" encoding="UTF-8" standalone="yes"?>
<Relationships xmlns="http://schemas.openxmlformats.org/package/2006/relationships"><Relationship Id="rId1" Type="http://schemas.openxmlformats.org/officeDocument/2006/relationships/package" Target="../embeddings/Microsoft_Excel_Worksheet524.xlsx"/></Relationships>
</file>

<file path=ppt/charts/_rels/chart526.xml.rels><?xml version="1.0" encoding="UTF-8" standalone="yes"?>
<Relationships xmlns="http://schemas.openxmlformats.org/package/2006/relationships"><Relationship Id="rId1" Type="http://schemas.openxmlformats.org/officeDocument/2006/relationships/package" Target="../embeddings/Microsoft_Excel_Worksheet525.xlsx"/></Relationships>
</file>

<file path=ppt/charts/_rels/chart527.xml.rels><?xml version="1.0" encoding="UTF-8" standalone="yes"?>
<Relationships xmlns="http://schemas.openxmlformats.org/package/2006/relationships"><Relationship Id="rId1" Type="http://schemas.openxmlformats.org/officeDocument/2006/relationships/package" Target="../embeddings/Microsoft_Excel_Worksheet526.xlsx"/></Relationships>
</file>

<file path=ppt/charts/_rels/chart528.xml.rels><?xml version="1.0" encoding="UTF-8" standalone="yes"?>
<Relationships xmlns="http://schemas.openxmlformats.org/package/2006/relationships"><Relationship Id="rId1" Type="http://schemas.openxmlformats.org/officeDocument/2006/relationships/package" Target="../embeddings/Microsoft_Excel_Worksheet527.xlsx"/></Relationships>
</file>

<file path=ppt/charts/_rels/chart529.xml.rels><?xml version="1.0" encoding="UTF-8" standalone="yes"?>
<Relationships xmlns="http://schemas.openxmlformats.org/package/2006/relationships"><Relationship Id="rId1" Type="http://schemas.openxmlformats.org/officeDocument/2006/relationships/package" Target="../embeddings/Microsoft_Excel_Worksheet528.xlsx"/></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30.xml.rels><?xml version="1.0" encoding="UTF-8" standalone="yes"?>
<Relationships xmlns="http://schemas.openxmlformats.org/package/2006/relationships"><Relationship Id="rId1" Type="http://schemas.openxmlformats.org/officeDocument/2006/relationships/package" Target="../embeddings/Microsoft_Excel_Worksheet529.xlsx"/></Relationships>
</file>

<file path=ppt/charts/_rels/chart531.xml.rels><?xml version="1.0" encoding="UTF-8" standalone="yes"?>
<Relationships xmlns="http://schemas.openxmlformats.org/package/2006/relationships"><Relationship Id="rId1" Type="http://schemas.openxmlformats.org/officeDocument/2006/relationships/package" Target="../embeddings/Microsoft_Excel_Worksheet530.xlsx"/></Relationships>
</file>

<file path=ppt/charts/_rels/chart532.xml.rels><?xml version="1.0" encoding="UTF-8" standalone="yes"?>
<Relationships xmlns="http://schemas.openxmlformats.org/package/2006/relationships"><Relationship Id="rId1" Type="http://schemas.openxmlformats.org/officeDocument/2006/relationships/package" Target="../embeddings/Microsoft_Excel_Worksheet531.xlsx"/></Relationships>
</file>

<file path=ppt/charts/_rels/chart533.xml.rels><?xml version="1.0" encoding="UTF-8" standalone="yes"?>
<Relationships xmlns="http://schemas.openxmlformats.org/package/2006/relationships"><Relationship Id="rId1" Type="http://schemas.openxmlformats.org/officeDocument/2006/relationships/package" Target="../embeddings/Microsoft_Excel_Worksheet532.xlsx"/></Relationships>
</file>

<file path=ppt/charts/_rels/chart534.xml.rels><?xml version="1.0" encoding="UTF-8" standalone="yes"?>
<Relationships xmlns="http://schemas.openxmlformats.org/package/2006/relationships"><Relationship Id="rId1" Type="http://schemas.openxmlformats.org/officeDocument/2006/relationships/package" Target="../embeddings/Microsoft_Excel_Worksheet533.xlsx"/></Relationships>
</file>

<file path=ppt/charts/_rels/chart535.xml.rels><?xml version="1.0" encoding="UTF-8" standalone="yes"?>
<Relationships xmlns="http://schemas.openxmlformats.org/package/2006/relationships"><Relationship Id="rId1" Type="http://schemas.openxmlformats.org/officeDocument/2006/relationships/package" Target="../embeddings/Microsoft_Excel_Worksheet534.xlsx"/></Relationships>
</file>

<file path=ppt/charts/_rels/chart536.xml.rels><?xml version="1.0" encoding="UTF-8" standalone="yes"?>
<Relationships xmlns="http://schemas.openxmlformats.org/package/2006/relationships"><Relationship Id="rId1" Type="http://schemas.openxmlformats.org/officeDocument/2006/relationships/package" Target="../embeddings/Microsoft_Excel_Worksheet535.xlsx"/></Relationships>
</file>

<file path=ppt/charts/_rels/chart537.xml.rels><?xml version="1.0" encoding="UTF-8" standalone="yes"?>
<Relationships xmlns="http://schemas.openxmlformats.org/package/2006/relationships"><Relationship Id="rId1" Type="http://schemas.openxmlformats.org/officeDocument/2006/relationships/package" Target="../embeddings/Microsoft_Excel_Worksheet536.xlsx"/></Relationships>
</file>

<file path=ppt/charts/_rels/chart538.xml.rels><?xml version="1.0" encoding="UTF-8" standalone="yes"?>
<Relationships xmlns="http://schemas.openxmlformats.org/package/2006/relationships"><Relationship Id="rId1" Type="http://schemas.openxmlformats.org/officeDocument/2006/relationships/package" Target="../embeddings/Microsoft_Excel_Worksheet537.xlsx"/></Relationships>
</file>

<file path=ppt/charts/_rels/chart539.xml.rels><?xml version="1.0" encoding="UTF-8" standalone="yes"?>
<Relationships xmlns="http://schemas.openxmlformats.org/package/2006/relationships"><Relationship Id="rId1" Type="http://schemas.openxmlformats.org/officeDocument/2006/relationships/package" Target="../embeddings/Microsoft_Excel_Worksheet538.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40.xml.rels><?xml version="1.0" encoding="UTF-8" standalone="yes"?>
<Relationships xmlns="http://schemas.openxmlformats.org/package/2006/relationships"><Relationship Id="rId1" Type="http://schemas.openxmlformats.org/officeDocument/2006/relationships/package" Target="../embeddings/Microsoft_Excel_Worksheet539.xlsx"/></Relationships>
</file>

<file path=ppt/charts/_rels/chart541.xml.rels><?xml version="1.0" encoding="UTF-8" standalone="yes"?>
<Relationships xmlns="http://schemas.openxmlformats.org/package/2006/relationships"><Relationship Id="rId1" Type="http://schemas.openxmlformats.org/officeDocument/2006/relationships/package" Target="../embeddings/Microsoft_Excel_Worksheet540.xlsx"/></Relationships>
</file>

<file path=ppt/charts/_rels/chart542.xml.rels><?xml version="1.0" encoding="UTF-8" standalone="yes"?>
<Relationships xmlns="http://schemas.openxmlformats.org/package/2006/relationships"><Relationship Id="rId1" Type="http://schemas.openxmlformats.org/officeDocument/2006/relationships/package" Target="../embeddings/Microsoft_Excel_Worksheet541.xlsx"/></Relationships>
</file>

<file path=ppt/charts/_rels/chart543.xml.rels><?xml version="1.0" encoding="UTF-8" standalone="yes"?>
<Relationships xmlns="http://schemas.openxmlformats.org/package/2006/relationships"><Relationship Id="rId1" Type="http://schemas.openxmlformats.org/officeDocument/2006/relationships/package" Target="../embeddings/Microsoft_Excel_Worksheet542.xlsx"/></Relationships>
</file>

<file path=ppt/charts/_rels/chart544.xml.rels><?xml version="1.0" encoding="UTF-8" standalone="yes"?>
<Relationships xmlns="http://schemas.openxmlformats.org/package/2006/relationships"><Relationship Id="rId1" Type="http://schemas.openxmlformats.org/officeDocument/2006/relationships/package" Target="../embeddings/Microsoft_Excel_Worksheet543.xlsx"/></Relationships>
</file>

<file path=ppt/charts/_rels/chart545.xml.rels><?xml version="1.0" encoding="UTF-8" standalone="yes"?>
<Relationships xmlns="http://schemas.openxmlformats.org/package/2006/relationships"><Relationship Id="rId1" Type="http://schemas.openxmlformats.org/officeDocument/2006/relationships/package" Target="../embeddings/Microsoft_Excel_Worksheet544.xlsx"/></Relationships>
</file>

<file path=ppt/charts/_rels/chart546.xml.rels><?xml version="1.0" encoding="UTF-8" standalone="yes"?>
<Relationships xmlns="http://schemas.openxmlformats.org/package/2006/relationships"><Relationship Id="rId1" Type="http://schemas.openxmlformats.org/officeDocument/2006/relationships/package" Target="../embeddings/Microsoft_Excel_Worksheet545.xlsx"/></Relationships>
</file>

<file path=ppt/charts/_rels/chart547.xml.rels><?xml version="1.0" encoding="UTF-8" standalone="yes"?>
<Relationships xmlns="http://schemas.openxmlformats.org/package/2006/relationships"><Relationship Id="rId1" Type="http://schemas.openxmlformats.org/officeDocument/2006/relationships/package" Target="../embeddings/Microsoft_Excel_Worksheet546.xlsx"/></Relationships>
</file>

<file path=ppt/charts/_rels/chart548.xml.rels><?xml version="1.0" encoding="UTF-8" standalone="yes"?>
<Relationships xmlns="http://schemas.openxmlformats.org/package/2006/relationships"><Relationship Id="rId1" Type="http://schemas.openxmlformats.org/officeDocument/2006/relationships/package" Target="../embeddings/Microsoft_Excel_Worksheet547.xlsx"/></Relationships>
</file>

<file path=ppt/charts/_rels/chart549.xml.rels><?xml version="1.0" encoding="UTF-8" standalone="yes"?>
<Relationships xmlns="http://schemas.openxmlformats.org/package/2006/relationships"><Relationship Id="rId1" Type="http://schemas.openxmlformats.org/officeDocument/2006/relationships/package" Target="../embeddings/Microsoft_Excel_Worksheet548.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50.xml.rels><?xml version="1.0" encoding="UTF-8" standalone="yes"?>
<Relationships xmlns="http://schemas.openxmlformats.org/package/2006/relationships"><Relationship Id="rId1" Type="http://schemas.openxmlformats.org/officeDocument/2006/relationships/package" Target="../embeddings/Microsoft_Excel_Worksheet549.xlsx"/></Relationships>
</file>

<file path=ppt/charts/_rels/chart551.xml.rels><?xml version="1.0" encoding="UTF-8" standalone="yes"?>
<Relationships xmlns="http://schemas.openxmlformats.org/package/2006/relationships"><Relationship Id="rId1" Type="http://schemas.openxmlformats.org/officeDocument/2006/relationships/package" Target="../embeddings/Microsoft_Excel_Worksheet550.xlsx"/></Relationships>
</file>

<file path=ppt/charts/_rels/chart552.xml.rels><?xml version="1.0" encoding="UTF-8" standalone="yes"?>
<Relationships xmlns="http://schemas.openxmlformats.org/package/2006/relationships"><Relationship Id="rId1" Type="http://schemas.openxmlformats.org/officeDocument/2006/relationships/package" Target="../embeddings/Microsoft_Excel_Worksheet551.xlsx"/></Relationships>
</file>

<file path=ppt/charts/_rels/chart553.xml.rels><?xml version="1.0" encoding="UTF-8" standalone="yes"?>
<Relationships xmlns="http://schemas.openxmlformats.org/package/2006/relationships"><Relationship Id="rId1" Type="http://schemas.openxmlformats.org/officeDocument/2006/relationships/package" Target="../embeddings/Microsoft_Excel_Worksheet552.xlsx"/></Relationships>
</file>

<file path=ppt/charts/_rels/chart554.xml.rels><?xml version="1.0" encoding="UTF-8" standalone="yes"?>
<Relationships xmlns="http://schemas.openxmlformats.org/package/2006/relationships"><Relationship Id="rId1" Type="http://schemas.openxmlformats.org/officeDocument/2006/relationships/package" Target="../embeddings/Microsoft_Excel_Worksheet553.xlsx"/></Relationships>
</file>

<file path=ppt/charts/_rels/chart555.xml.rels><?xml version="1.0" encoding="UTF-8" standalone="yes"?>
<Relationships xmlns="http://schemas.openxmlformats.org/package/2006/relationships"><Relationship Id="rId1" Type="http://schemas.openxmlformats.org/officeDocument/2006/relationships/package" Target="../embeddings/Microsoft_Excel_Worksheet554.xlsx"/></Relationships>
</file>

<file path=ppt/charts/_rels/chart556.xml.rels><?xml version="1.0" encoding="UTF-8" standalone="yes"?>
<Relationships xmlns="http://schemas.openxmlformats.org/package/2006/relationships"><Relationship Id="rId1" Type="http://schemas.openxmlformats.org/officeDocument/2006/relationships/package" Target="../embeddings/Microsoft_Excel_Worksheet555.xlsx"/></Relationships>
</file>

<file path=ppt/charts/_rels/chart557.xml.rels><?xml version="1.0" encoding="UTF-8" standalone="yes"?>
<Relationships xmlns="http://schemas.openxmlformats.org/package/2006/relationships"><Relationship Id="rId1" Type="http://schemas.openxmlformats.org/officeDocument/2006/relationships/package" Target="../embeddings/Microsoft_Excel_Worksheet556.xlsx"/></Relationships>
</file>

<file path=ppt/charts/_rels/chart558.xml.rels><?xml version="1.0" encoding="UTF-8" standalone="yes"?>
<Relationships xmlns="http://schemas.openxmlformats.org/package/2006/relationships"><Relationship Id="rId1" Type="http://schemas.openxmlformats.org/officeDocument/2006/relationships/package" Target="../embeddings/Microsoft_Excel_Worksheet557.xlsx"/></Relationships>
</file>

<file path=ppt/charts/_rels/chart559.xml.rels><?xml version="1.0" encoding="UTF-8" standalone="yes"?>
<Relationships xmlns="http://schemas.openxmlformats.org/package/2006/relationships"><Relationship Id="rId1" Type="http://schemas.openxmlformats.org/officeDocument/2006/relationships/package" Target="../embeddings/Microsoft_Excel_Worksheet558.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60.xml.rels><?xml version="1.0" encoding="UTF-8" standalone="yes"?>
<Relationships xmlns="http://schemas.openxmlformats.org/package/2006/relationships"><Relationship Id="rId1" Type="http://schemas.openxmlformats.org/officeDocument/2006/relationships/package" Target="../embeddings/Microsoft_Excel_Worksheet559.xlsx"/></Relationships>
</file>

<file path=ppt/charts/_rels/chart561.xml.rels><?xml version="1.0" encoding="UTF-8" standalone="yes"?>
<Relationships xmlns="http://schemas.openxmlformats.org/package/2006/relationships"><Relationship Id="rId1" Type="http://schemas.openxmlformats.org/officeDocument/2006/relationships/package" Target="../embeddings/Microsoft_Excel_Worksheet560.xlsx"/></Relationships>
</file>

<file path=ppt/charts/_rels/chart562.xml.rels><?xml version="1.0" encoding="UTF-8" standalone="yes"?>
<Relationships xmlns="http://schemas.openxmlformats.org/package/2006/relationships"><Relationship Id="rId1" Type="http://schemas.openxmlformats.org/officeDocument/2006/relationships/package" Target="../embeddings/Microsoft_Excel_Worksheet561.xlsx"/></Relationships>
</file>

<file path=ppt/charts/_rels/chart563.xml.rels><?xml version="1.0" encoding="UTF-8" standalone="yes"?>
<Relationships xmlns="http://schemas.openxmlformats.org/package/2006/relationships"><Relationship Id="rId1" Type="http://schemas.openxmlformats.org/officeDocument/2006/relationships/package" Target="../embeddings/Microsoft_Excel_Worksheet562.xlsx"/></Relationships>
</file>

<file path=ppt/charts/_rels/chart564.xml.rels><?xml version="1.0" encoding="UTF-8" standalone="yes"?>
<Relationships xmlns="http://schemas.openxmlformats.org/package/2006/relationships"><Relationship Id="rId1" Type="http://schemas.openxmlformats.org/officeDocument/2006/relationships/package" Target="../embeddings/Microsoft_Excel_Worksheet563.xlsx"/></Relationships>
</file>

<file path=ppt/charts/_rels/chart565.xml.rels><?xml version="1.0" encoding="UTF-8" standalone="yes"?>
<Relationships xmlns="http://schemas.openxmlformats.org/package/2006/relationships"><Relationship Id="rId1" Type="http://schemas.openxmlformats.org/officeDocument/2006/relationships/package" Target="../embeddings/Microsoft_Excel_Worksheet564.xlsx"/></Relationships>
</file>

<file path=ppt/charts/_rels/chart566.xml.rels><?xml version="1.0" encoding="UTF-8" standalone="yes"?>
<Relationships xmlns="http://schemas.openxmlformats.org/package/2006/relationships"><Relationship Id="rId1" Type="http://schemas.openxmlformats.org/officeDocument/2006/relationships/package" Target="../embeddings/Microsoft_Excel_Worksheet565.xlsx"/></Relationships>
</file>

<file path=ppt/charts/_rels/chart567.xml.rels><?xml version="1.0" encoding="UTF-8" standalone="yes"?>
<Relationships xmlns="http://schemas.openxmlformats.org/package/2006/relationships"><Relationship Id="rId1" Type="http://schemas.openxmlformats.org/officeDocument/2006/relationships/package" Target="../embeddings/Microsoft_Excel_Worksheet566.xlsx"/></Relationships>
</file>

<file path=ppt/charts/_rels/chart568.xml.rels><?xml version="1.0" encoding="UTF-8" standalone="yes"?>
<Relationships xmlns="http://schemas.openxmlformats.org/package/2006/relationships"><Relationship Id="rId1" Type="http://schemas.openxmlformats.org/officeDocument/2006/relationships/package" Target="../embeddings/Microsoft_Excel_Worksheet567.xlsx"/></Relationships>
</file>

<file path=ppt/charts/_rels/chart569.xml.rels><?xml version="1.0" encoding="UTF-8" standalone="yes"?>
<Relationships xmlns="http://schemas.openxmlformats.org/package/2006/relationships"><Relationship Id="rId1" Type="http://schemas.openxmlformats.org/officeDocument/2006/relationships/package" Target="../embeddings/Microsoft_Excel_Worksheet568.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70.xml.rels><?xml version="1.0" encoding="UTF-8" standalone="yes"?>
<Relationships xmlns="http://schemas.openxmlformats.org/package/2006/relationships"><Relationship Id="rId1" Type="http://schemas.openxmlformats.org/officeDocument/2006/relationships/package" Target="../embeddings/Microsoft_Excel_Worksheet569.xlsx"/></Relationships>
</file>

<file path=ppt/charts/_rels/chart571.xml.rels><?xml version="1.0" encoding="UTF-8" standalone="yes"?>
<Relationships xmlns="http://schemas.openxmlformats.org/package/2006/relationships"><Relationship Id="rId1" Type="http://schemas.openxmlformats.org/officeDocument/2006/relationships/package" Target="../embeddings/Microsoft_Excel_Worksheet570.xlsx"/></Relationships>
</file>

<file path=ppt/charts/_rels/chart572.xml.rels><?xml version="1.0" encoding="UTF-8" standalone="yes"?>
<Relationships xmlns="http://schemas.openxmlformats.org/package/2006/relationships"><Relationship Id="rId1" Type="http://schemas.openxmlformats.org/officeDocument/2006/relationships/package" Target="../embeddings/Microsoft_Excel_Worksheet571.xlsx"/></Relationships>
</file>

<file path=ppt/charts/_rels/chart573.xml.rels><?xml version="1.0" encoding="UTF-8" standalone="yes"?>
<Relationships xmlns="http://schemas.openxmlformats.org/package/2006/relationships"><Relationship Id="rId1" Type="http://schemas.openxmlformats.org/officeDocument/2006/relationships/package" Target="../embeddings/Microsoft_Excel_Worksheet572.xlsx"/></Relationships>
</file>

<file path=ppt/charts/_rels/chart574.xml.rels><?xml version="1.0" encoding="UTF-8" standalone="yes"?>
<Relationships xmlns="http://schemas.openxmlformats.org/package/2006/relationships"><Relationship Id="rId1" Type="http://schemas.openxmlformats.org/officeDocument/2006/relationships/package" Target="../embeddings/Microsoft_Excel_Worksheet573.xlsx"/></Relationships>
</file>

<file path=ppt/charts/_rels/chart575.xml.rels><?xml version="1.0" encoding="UTF-8" standalone="yes"?>
<Relationships xmlns="http://schemas.openxmlformats.org/package/2006/relationships"><Relationship Id="rId1" Type="http://schemas.openxmlformats.org/officeDocument/2006/relationships/package" Target="../embeddings/Microsoft_Excel_Worksheet574.xlsx"/></Relationships>
</file>

<file path=ppt/charts/_rels/chart576.xml.rels><?xml version="1.0" encoding="UTF-8" standalone="yes"?>
<Relationships xmlns="http://schemas.openxmlformats.org/package/2006/relationships"><Relationship Id="rId1" Type="http://schemas.openxmlformats.org/officeDocument/2006/relationships/package" Target="../embeddings/Microsoft_Excel_Worksheet575.xlsx"/></Relationships>
</file>

<file path=ppt/charts/_rels/chart577.xml.rels><?xml version="1.0" encoding="UTF-8" standalone="yes"?>
<Relationships xmlns="http://schemas.openxmlformats.org/package/2006/relationships"><Relationship Id="rId1" Type="http://schemas.openxmlformats.org/officeDocument/2006/relationships/package" Target="../embeddings/Microsoft_Excel_Worksheet576.xlsx"/></Relationships>
</file>

<file path=ppt/charts/_rels/chart578.xml.rels><?xml version="1.0" encoding="UTF-8" standalone="yes"?>
<Relationships xmlns="http://schemas.openxmlformats.org/package/2006/relationships"><Relationship Id="rId1" Type="http://schemas.openxmlformats.org/officeDocument/2006/relationships/package" Target="../embeddings/Microsoft_Excel_Worksheet577.xlsx"/></Relationships>
</file>

<file path=ppt/charts/_rels/chart579.xml.rels><?xml version="1.0" encoding="UTF-8" standalone="yes"?>
<Relationships xmlns="http://schemas.openxmlformats.org/package/2006/relationships"><Relationship Id="rId1" Type="http://schemas.openxmlformats.org/officeDocument/2006/relationships/package" Target="../embeddings/Microsoft_Excel_Worksheet578.xlsx"/></Relationships>
</file>

<file path=ppt/charts/_rels/chart58.xml.rels><?xml version="1.0" encoding="UTF-8" standalone="yes"?>
<Relationships xmlns="http://schemas.openxmlformats.org/package/2006/relationships"><Relationship Id="rId1" Type="http://schemas.openxmlformats.org/officeDocument/2006/relationships/package" Target="../embeddings/Microsoft_Excel_Worksheet57.xlsx"/></Relationships>
</file>

<file path=ppt/charts/_rels/chart580.xml.rels><?xml version="1.0" encoding="UTF-8" standalone="yes"?>
<Relationships xmlns="http://schemas.openxmlformats.org/package/2006/relationships"><Relationship Id="rId1" Type="http://schemas.openxmlformats.org/officeDocument/2006/relationships/package" Target="../embeddings/Microsoft_Excel_Worksheet579.xlsx"/></Relationships>
</file>

<file path=ppt/charts/_rels/chart581.xml.rels><?xml version="1.0" encoding="UTF-8" standalone="yes"?>
<Relationships xmlns="http://schemas.openxmlformats.org/package/2006/relationships"><Relationship Id="rId1" Type="http://schemas.openxmlformats.org/officeDocument/2006/relationships/package" Target="../embeddings/Microsoft_Excel_Worksheet580.xlsx"/></Relationships>
</file>

<file path=ppt/charts/_rels/chart582.xml.rels><?xml version="1.0" encoding="UTF-8" standalone="yes"?>
<Relationships xmlns="http://schemas.openxmlformats.org/package/2006/relationships"><Relationship Id="rId1" Type="http://schemas.openxmlformats.org/officeDocument/2006/relationships/package" Target="../embeddings/Microsoft_Excel_Worksheet581.xlsx"/></Relationships>
</file>

<file path=ppt/charts/_rels/chart583.xml.rels><?xml version="1.0" encoding="UTF-8" standalone="yes"?>
<Relationships xmlns="http://schemas.openxmlformats.org/package/2006/relationships"><Relationship Id="rId1" Type="http://schemas.openxmlformats.org/officeDocument/2006/relationships/package" Target="../embeddings/Microsoft_Excel_Worksheet582.xlsx"/></Relationships>
</file>

<file path=ppt/charts/_rels/chart584.xml.rels><?xml version="1.0" encoding="UTF-8" standalone="yes"?>
<Relationships xmlns="http://schemas.openxmlformats.org/package/2006/relationships"><Relationship Id="rId1" Type="http://schemas.openxmlformats.org/officeDocument/2006/relationships/package" Target="../embeddings/Microsoft_Excel_Worksheet583.xlsx"/></Relationships>
</file>

<file path=ppt/charts/_rels/chart585.xml.rels><?xml version="1.0" encoding="UTF-8" standalone="yes"?>
<Relationships xmlns="http://schemas.openxmlformats.org/package/2006/relationships"><Relationship Id="rId1" Type="http://schemas.openxmlformats.org/officeDocument/2006/relationships/package" Target="../embeddings/Microsoft_Excel_Worksheet584.xlsx"/></Relationships>
</file>

<file path=ppt/charts/_rels/chart586.xml.rels><?xml version="1.0" encoding="UTF-8" standalone="yes"?>
<Relationships xmlns="http://schemas.openxmlformats.org/package/2006/relationships"><Relationship Id="rId1" Type="http://schemas.openxmlformats.org/officeDocument/2006/relationships/package" Target="../embeddings/Microsoft_Excel_Worksheet585.xlsx"/></Relationships>
</file>

<file path=ppt/charts/_rels/chart587.xml.rels><?xml version="1.0" encoding="UTF-8" standalone="yes"?>
<Relationships xmlns="http://schemas.openxmlformats.org/package/2006/relationships"><Relationship Id="rId1" Type="http://schemas.openxmlformats.org/officeDocument/2006/relationships/package" Target="../embeddings/Microsoft_Excel_Worksheet586.xlsx"/></Relationships>
</file>

<file path=ppt/charts/_rels/chart588.xml.rels><?xml version="1.0" encoding="UTF-8" standalone="yes"?>
<Relationships xmlns="http://schemas.openxmlformats.org/package/2006/relationships"><Relationship Id="rId1" Type="http://schemas.openxmlformats.org/officeDocument/2006/relationships/package" Target="../embeddings/Microsoft_Excel_Worksheet587.xlsx"/></Relationships>
</file>

<file path=ppt/charts/_rels/chart589.xml.rels><?xml version="1.0" encoding="UTF-8" standalone="yes"?>
<Relationships xmlns="http://schemas.openxmlformats.org/package/2006/relationships"><Relationship Id="rId1" Type="http://schemas.openxmlformats.org/officeDocument/2006/relationships/package" Target="../embeddings/Microsoft_Excel_Worksheet588.xlsx"/></Relationships>
</file>

<file path=ppt/charts/_rels/chart59.xml.rels><?xml version="1.0" encoding="UTF-8" standalone="yes"?>
<Relationships xmlns="http://schemas.openxmlformats.org/package/2006/relationships"><Relationship Id="rId1" Type="http://schemas.openxmlformats.org/officeDocument/2006/relationships/package" Target="../embeddings/Microsoft_Excel_Worksheet58.xlsx"/></Relationships>
</file>

<file path=ppt/charts/_rels/chart590.xml.rels><?xml version="1.0" encoding="UTF-8" standalone="yes"?>
<Relationships xmlns="http://schemas.openxmlformats.org/package/2006/relationships"><Relationship Id="rId1" Type="http://schemas.openxmlformats.org/officeDocument/2006/relationships/package" Target="../embeddings/Microsoft_Excel_Worksheet589.xlsx"/></Relationships>
</file>

<file path=ppt/charts/_rels/chart591.xml.rels><?xml version="1.0" encoding="UTF-8" standalone="yes"?>
<Relationships xmlns="http://schemas.openxmlformats.org/package/2006/relationships"><Relationship Id="rId1" Type="http://schemas.openxmlformats.org/officeDocument/2006/relationships/package" Target="../embeddings/Microsoft_Excel_Worksheet590.xlsx"/></Relationships>
</file>

<file path=ppt/charts/_rels/chart592.xml.rels><?xml version="1.0" encoding="UTF-8" standalone="yes"?>
<Relationships xmlns="http://schemas.openxmlformats.org/package/2006/relationships"><Relationship Id="rId1" Type="http://schemas.openxmlformats.org/officeDocument/2006/relationships/package" Target="../embeddings/Microsoft_Excel_Worksheet591.xlsx"/></Relationships>
</file>

<file path=ppt/charts/_rels/chart593.xml.rels><?xml version="1.0" encoding="UTF-8" standalone="yes"?>
<Relationships xmlns="http://schemas.openxmlformats.org/package/2006/relationships"><Relationship Id="rId1" Type="http://schemas.openxmlformats.org/officeDocument/2006/relationships/package" Target="../embeddings/Microsoft_Excel_Worksheet592.xlsx"/></Relationships>
</file>

<file path=ppt/charts/_rels/chart594.xml.rels><?xml version="1.0" encoding="UTF-8" standalone="yes"?>
<Relationships xmlns="http://schemas.openxmlformats.org/package/2006/relationships"><Relationship Id="rId1" Type="http://schemas.openxmlformats.org/officeDocument/2006/relationships/package" Target="../embeddings/Microsoft_Excel_Worksheet593.xlsx"/></Relationships>
</file>

<file path=ppt/charts/_rels/chart595.xml.rels><?xml version="1.0" encoding="UTF-8" standalone="yes"?>
<Relationships xmlns="http://schemas.openxmlformats.org/package/2006/relationships"><Relationship Id="rId1" Type="http://schemas.openxmlformats.org/officeDocument/2006/relationships/package" Target="../embeddings/Microsoft_Excel_Worksheet594.xlsx"/></Relationships>
</file>

<file path=ppt/charts/_rels/chart596.xml.rels><?xml version="1.0" encoding="UTF-8" standalone="yes"?>
<Relationships xmlns="http://schemas.openxmlformats.org/package/2006/relationships"><Relationship Id="rId1" Type="http://schemas.openxmlformats.org/officeDocument/2006/relationships/package" Target="../embeddings/Microsoft_Excel_Worksheet595.xlsx"/></Relationships>
</file>

<file path=ppt/charts/_rels/chart597.xml.rels><?xml version="1.0" encoding="UTF-8" standalone="yes"?>
<Relationships xmlns="http://schemas.openxmlformats.org/package/2006/relationships"><Relationship Id="rId1" Type="http://schemas.openxmlformats.org/officeDocument/2006/relationships/package" Target="../embeddings/Microsoft_Excel_Worksheet596.xlsx"/></Relationships>
</file>

<file path=ppt/charts/_rels/chart598.xml.rels><?xml version="1.0" encoding="UTF-8" standalone="yes"?>
<Relationships xmlns="http://schemas.openxmlformats.org/package/2006/relationships"><Relationship Id="rId1" Type="http://schemas.openxmlformats.org/officeDocument/2006/relationships/package" Target="../embeddings/Microsoft_Excel_Worksheet597.xlsx"/></Relationships>
</file>

<file path=ppt/charts/_rels/chart599.xml.rels><?xml version="1.0" encoding="UTF-8" standalone="yes"?>
<Relationships xmlns="http://schemas.openxmlformats.org/package/2006/relationships"><Relationship Id="rId1" Type="http://schemas.openxmlformats.org/officeDocument/2006/relationships/package" Target="../embeddings/Microsoft_Excel_Worksheet598.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00.xml.rels><?xml version="1.0" encoding="UTF-8" standalone="yes"?>
<Relationships xmlns="http://schemas.openxmlformats.org/package/2006/relationships"><Relationship Id="rId1" Type="http://schemas.openxmlformats.org/officeDocument/2006/relationships/package" Target="../embeddings/Microsoft_Excel_Worksheet599.xlsx"/></Relationships>
</file>

<file path=ppt/charts/_rels/chart601.xml.rels><?xml version="1.0" encoding="UTF-8" standalone="yes"?>
<Relationships xmlns="http://schemas.openxmlformats.org/package/2006/relationships"><Relationship Id="rId1" Type="http://schemas.openxmlformats.org/officeDocument/2006/relationships/package" Target="../embeddings/Microsoft_Excel_Worksheet600.xlsx"/></Relationships>
</file>

<file path=ppt/charts/_rels/chart602.xml.rels><?xml version="1.0" encoding="UTF-8" standalone="yes"?>
<Relationships xmlns="http://schemas.openxmlformats.org/package/2006/relationships"><Relationship Id="rId1" Type="http://schemas.openxmlformats.org/officeDocument/2006/relationships/package" Target="../embeddings/Microsoft_Excel_Worksheet601.xlsx"/></Relationships>
</file>

<file path=ppt/charts/_rels/chart603.xml.rels><?xml version="1.0" encoding="UTF-8" standalone="yes"?>
<Relationships xmlns="http://schemas.openxmlformats.org/package/2006/relationships"><Relationship Id="rId1" Type="http://schemas.openxmlformats.org/officeDocument/2006/relationships/package" Target="../embeddings/Microsoft_Excel_Worksheet602.xlsx"/></Relationships>
</file>

<file path=ppt/charts/_rels/chart604.xml.rels><?xml version="1.0" encoding="UTF-8" standalone="yes"?>
<Relationships xmlns="http://schemas.openxmlformats.org/package/2006/relationships"><Relationship Id="rId1" Type="http://schemas.openxmlformats.org/officeDocument/2006/relationships/package" Target="../embeddings/Microsoft_Excel_Worksheet603.xlsx"/></Relationships>
</file>

<file path=ppt/charts/_rels/chart605.xml.rels><?xml version="1.0" encoding="UTF-8" standalone="yes"?>
<Relationships xmlns="http://schemas.openxmlformats.org/package/2006/relationships"><Relationship Id="rId1" Type="http://schemas.openxmlformats.org/officeDocument/2006/relationships/package" Target="../embeddings/Microsoft_Excel_Worksheet604.xlsx"/></Relationships>
</file>

<file path=ppt/charts/_rels/chart606.xml.rels><?xml version="1.0" encoding="UTF-8" standalone="yes"?>
<Relationships xmlns="http://schemas.openxmlformats.org/package/2006/relationships"><Relationship Id="rId1" Type="http://schemas.openxmlformats.org/officeDocument/2006/relationships/package" Target="../embeddings/Microsoft_Excel_Worksheet605.xlsx"/></Relationships>
</file>

<file path=ppt/charts/_rels/chart607.xml.rels><?xml version="1.0" encoding="UTF-8" standalone="yes"?>
<Relationships xmlns="http://schemas.openxmlformats.org/package/2006/relationships"><Relationship Id="rId1" Type="http://schemas.openxmlformats.org/officeDocument/2006/relationships/package" Target="../embeddings/Microsoft_Excel_Worksheet606.xlsx"/></Relationships>
</file>

<file path=ppt/charts/_rels/chart608.xml.rels><?xml version="1.0" encoding="UTF-8" standalone="yes"?>
<Relationships xmlns="http://schemas.openxmlformats.org/package/2006/relationships"><Relationship Id="rId1" Type="http://schemas.openxmlformats.org/officeDocument/2006/relationships/package" Target="../embeddings/Microsoft_Excel_Worksheet607.xlsx"/></Relationships>
</file>

<file path=ppt/charts/_rels/chart609.xml.rels><?xml version="1.0" encoding="UTF-8" standalone="yes"?>
<Relationships xmlns="http://schemas.openxmlformats.org/package/2006/relationships"><Relationship Id="rId1" Type="http://schemas.openxmlformats.org/officeDocument/2006/relationships/package" Target="../embeddings/Microsoft_Excel_Worksheet608.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10.xml.rels><?xml version="1.0" encoding="UTF-8" standalone="yes"?>
<Relationships xmlns="http://schemas.openxmlformats.org/package/2006/relationships"><Relationship Id="rId1" Type="http://schemas.openxmlformats.org/officeDocument/2006/relationships/package" Target="../embeddings/Microsoft_Excel_Worksheet609.xlsx"/></Relationships>
</file>

<file path=ppt/charts/_rels/chart611.xml.rels><?xml version="1.0" encoding="UTF-8" standalone="yes"?>
<Relationships xmlns="http://schemas.openxmlformats.org/package/2006/relationships"><Relationship Id="rId1" Type="http://schemas.openxmlformats.org/officeDocument/2006/relationships/package" Target="../embeddings/Microsoft_Excel_Worksheet610.xlsx"/></Relationships>
</file>

<file path=ppt/charts/_rels/chart612.xml.rels><?xml version="1.0" encoding="UTF-8" standalone="yes"?>
<Relationships xmlns="http://schemas.openxmlformats.org/package/2006/relationships"><Relationship Id="rId1" Type="http://schemas.openxmlformats.org/officeDocument/2006/relationships/package" Target="../embeddings/Microsoft_Excel_Worksheet611.xlsx"/></Relationships>
</file>

<file path=ppt/charts/_rels/chart613.xml.rels><?xml version="1.0" encoding="UTF-8" standalone="yes"?>
<Relationships xmlns="http://schemas.openxmlformats.org/package/2006/relationships"><Relationship Id="rId1" Type="http://schemas.openxmlformats.org/officeDocument/2006/relationships/package" Target="../embeddings/Microsoft_Excel_Worksheet612.xlsx"/></Relationships>
</file>

<file path=ppt/charts/_rels/chart614.xml.rels><?xml version="1.0" encoding="UTF-8" standalone="yes"?>
<Relationships xmlns="http://schemas.openxmlformats.org/package/2006/relationships"><Relationship Id="rId1" Type="http://schemas.openxmlformats.org/officeDocument/2006/relationships/package" Target="../embeddings/Microsoft_Excel_Worksheet613.xlsx"/></Relationships>
</file>

<file path=ppt/charts/_rels/chart615.xml.rels><?xml version="1.0" encoding="UTF-8" standalone="yes"?>
<Relationships xmlns="http://schemas.openxmlformats.org/package/2006/relationships"><Relationship Id="rId1" Type="http://schemas.openxmlformats.org/officeDocument/2006/relationships/package" Target="../embeddings/Microsoft_Excel_Worksheet614.xlsx"/></Relationships>
</file>

<file path=ppt/charts/_rels/chart616.xml.rels><?xml version="1.0" encoding="UTF-8" standalone="yes"?>
<Relationships xmlns="http://schemas.openxmlformats.org/package/2006/relationships"><Relationship Id="rId1" Type="http://schemas.openxmlformats.org/officeDocument/2006/relationships/package" Target="../embeddings/Microsoft_Excel_Worksheet615.xlsx"/></Relationships>
</file>

<file path=ppt/charts/_rels/chart617.xml.rels><?xml version="1.0" encoding="UTF-8" standalone="yes"?>
<Relationships xmlns="http://schemas.openxmlformats.org/package/2006/relationships"><Relationship Id="rId1" Type="http://schemas.openxmlformats.org/officeDocument/2006/relationships/package" Target="../embeddings/Microsoft_Excel_Worksheet616.xlsx"/></Relationships>
</file>

<file path=ppt/charts/_rels/chart618.xml.rels><?xml version="1.0" encoding="UTF-8" standalone="yes"?>
<Relationships xmlns="http://schemas.openxmlformats.org/package/2006/relationships"><Relationship Id="rId1" Type="http://schemas.openxmlformats.org/officeDocument/2006/relationships/package" Target="../embeddings/Microsoft_Excel_Worksheet617.xlsx"/></Relationships>
</file>

<file path=ppt/charts/_rels/chart619.xml.rels><?xml version="1.0" encoding="UTF-8" standalone="yes"?>
<Relationships xmlns="http://schemas.openxmlformats.org/package/2006/relationships"><Relationship Id="rId1" Type="http://schemas.openxmlformats.org/officeDocument/2006/relationships/package" Target="../embeddings/Microsoft_Excel_Worksheet618.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20.xml.rels><?xml version="1.0" encoding="UTF-8" standalone="yes"?>
<Relationships xmlns="http://schemas.openxmlformats.org/package/2006/relationships"><Relationship Id="rId1" Type="http://schemas.openxmlformats.org/officeDocument/2006/relationships/package" Target="../embeddings/Microsoft_Excel_Worksheet619.xlsx"/></Relationships>
</file>

<file path=ppt/charts/_rels/chart621.xml.rels><?xml version="1.0" encoding="UTF-8" standalone="yes"?>
<Relationships xmlns="http://schemas.openxmlformats.org/package/2006/relationships"><Relationship Id="rId1" Type="http://schemas.openxmlformats.org/officeDocument/2006/relationships/package" Target="../embeddings/Microsoft_Excel_Worksheet620.xlsx"/></Relationships>
</file>

<file path=ppt/charts/_rels/chart622.xml.rels><?xml version="1.0" encoding="UTF-8" standalone="yes"?>
<Relationships xmlns="http://schemas.openxmlformats.org/package/2006/relationships"><Relationship Id="rId1" Type="http://schemas.openxmlformats.org/officeDocument/2006/relationships/package" Target="../embeddings/Microsoft_Excel_Worksheet621.xlsx"/></Relationships>
</file>

<file path=ppt/charts/_rels/chart623.xml.rels><?xml version="1.0" encoding="UTF-8" standalone="yes"?>
<Relationships xmlns="http://schemas.openxmlformats.org/package/2006/relationships"><Relationship Id="rId1" Type="http://schemas.openxmlformats.org/officeDocument/2006/relationships/package" Target="../embeddings/Microsoft_Excel_Worksheet622.xlsx"/></Relationships>
</file>

<file path=ppt/charts/_rels/chart624.xml.rels><?xml version="1.0" encoding="UTF-8" standalone="yes"?>
<Relationships xmlns="http://schemas.openxmlformats.org/package/2006/relationships"><Relationship Id="rId1" Type="http://schemas.openxmlformats.org/officeDocument/2006/relationships/package" Target="../embeddings/Microsoft_Excel_Worksheet623.xlsx"/></Relationships>
</file>

<file path=ppt/charts/_rels/chart625.xml.rels><?xml version="1.0" encoding="UTF-8" standalone="yes"?>
<Relationships xmlns="http://schemas.openxmlformats.org/package/2006/relationships"><Relationship Id="rId1" Type="http://schemas.openxmlformats.org/officeDocument/2006/relationships/package" Target="../embeddings/Microsoft_Excel_Worksheet624.xlsx"/></Relationships>
</file>

<file path=ppt/charts/_rels/chart626.xml.rels><?xml version="1.0" encoding="UTF-8" standalone="yes"?>
<Relationships xmlns="http://schemas.openxmlformats.org/package/2006/relationships"><Relationship Id="rId1" Type="http://schemas.openxmlformats.org/officeDocument/2006/relationships/package" Target="../embeddings/Microsoft_Excel_Worksheet625.xlsx"/></Relationships>
</file>

<file path=ppt/charts/_rels/chart627.xml.rels><?xml version="1.0" encoding="UTF-8" standalone="yes"?>
<Relationships xmlns="http://schemas.openxmlformats.org/package/2006/relationships"><Relationship Id="rId1" Type="http://schemas.openxmlformats.org/officeDocument/2006/relationships/package" Target="../embeddings/Microsoft_Excel_Worksheet626.xlsx"/></Relationships>
</file>

<file path=ppt/charts/_rels/chart628.xml.rels><?xml version="1.0" encoding="UTF-8" standalone="yes"?>
<Relationships xmlns="http://schemas.openxmlformats.org/package/2006/relationships"><Relationship Id="rId1" Type="http://schemas.openxmlformats.org/officeDocument/2006/relationships/package" Target="../embeddings/Microsoft_Excel_Worksheet627.xlsx"/></Relationships>
</file>

<file path=ppt/charts/_rels/chart629.xml.rels><?xml version="1.0" encoding="UTF-8" standalone="yes"?>
<Relationships xmlns="http://schemas.openxmlformats.org/package/2006/relationships"><Relationship Id="rId1" Type="http://schemas.openxmlformats.org/officeDocument/2006/relationships/package" Target="../embeddings/Microsoft_Excel_Worksheet628.xlsx"/></Relationships>
</file>

<file path=ppt/charts/_rels/chart63.xml.rels><?xml version="1.0" encoding="UTF-8" standalone="yes"?>
<Relationships xmlns="http://schemas.openxmlformats.org/package/2006/relationships"><Relationship Id="rId1" Type="http://schemas.openxmlformats.org/officeDocument/2006/relationships/package" Target="../embeddings/Microsoft_Excel_Worksheet62.xlsx"/></Relationships>
</file>

<file path=ppt/charts/_rels/chart630.xml.rels><?xml version="1.0" encoding="UTF-8" standalone="yes"?>
<Relationships xmlns="http://schemas.openxmlformats.org/package/2006/relationships"><Relationship Id="rId1" Type="http://schemas.openxmlformats.org/officeDocument/2006/relationships/package" Target="../embeddings/Microsoft_Excel_Worksheet629.xlsx"/></Relationships>
</file>

<file path=ppt/charts/_rels/chart631.xml.rels><?xml version="1.0" encoding="UTF-8" standalone="yes"?>
<Relationships xmlns="http://schemas.openxmlformats.org/package/2006/relationships"><Relationship Id="rId1" Type="http://schemas.openxmlformats.org/officeDocument/2006/relationships/package" Target="../embeddings/Microsoft_Excel_Worksheet630.xlsx"/></Relationships>
</file>

<file path=ppt/charts/_rels/chart632.xml.rels><?xml version="1.0" encoding="UTF-8" standalone="yes"?>
<Relationships xmlns="http://schemas.openxmlformats.org/package/2006/relationships"><Relationship Id="rId1" Type="http://schemas.openxmlformats.org/officeDocument/2006/relationships/package" Target="../embeddings/Microsoft_Excel_Worksheet631.xlsx"/></Relationships>
</file>

<file path=ppt/charts/_rels/chart633.xml.rels><?xml version="1.0" encoding="UTF-8" standalone="yes"?>
<Relationships xmlns="http://schemas.openxmlformats.org/package/2006/relationships"><Relationship Id="rId1" Type="http://schemas.openxmlformats.org/officeDocument/2006/relationships/package" Target="../embeddings/Microsoft_Excel_Worksheet632.xlsx"/></Relationships>
</file>

<file path=ppt/charts/_rels/chart634.xml.rels><?xml version="1.0" encoding="UTF-8" standalone="yes"?>
<Relationships xmlns="http://schemas.openxmlformats.org/package/2006/relationships"><Relationship Id="rId1" Type="http://schemas.openxmlformats.org/officeDocument/2006/relationships/package" Target="../embeddings/Microsoft_Excel_Worksheet633.xlsx"/></Relationships>
</file>

<file path=ppt/charts/_rels/chart635.xml.rels><?xml version="1.0" encoding="UTF-8" standalone="yes"?>
<Relationships xmlns="http://schemas.openxmlformats.org/package/2006/relationships"><Relationship Id="rId1" Type="http://schemas.openxmlformats.org/officeDocument/2006/relationships/package" Target="../embeddings/Microsoft_Excel_Worksheet634.xlsx"/></Relationships>
</file>

<file path=ppt/charts/_rels/chart636.xml.rels><?xml version="1.0" encoding="UTF-8" standalone="yes"?>
<Relationships xmlns="http://schemas.openxmlformats.org/package/2006/relationships"><Relationship Id="rId1" Type="http://schemas.openxmlformats.org/officeDocument/2006/relationships/package" Target="../embeddings/Microsoft_Excel_Worksheet635.xlsx"/></Relationships>
</file>

<file path=ppt/charts/_rels/chart637.xml.rels><?xml version="1.0" encoding="UTF-8" standalone="yes"?>
<Relationships xmlns="http://schemas.openxmlformats.org/package/2006/relationships"><Relationship Id="rId1" Type="http://schemas.openxmlformats.org/officeDocument/2006/relationships/package" Target="../embeddings/Microsoft_Excel_Worksheet636.xlsx"/></Relationships>
</file>

<file path=ppt/charts/_rels/chart638.xml.rels><?xml version="1.0" encoding="UTF-8" standalone="yes"?>
<Relationships xmlns="http://schemas.openxmlformats.org/package/2006/relationships"><Relationship Id="rId1" Type="http://schemas.openxmlformats.org/officeDocument/2006/relationships/package" Target="../embeddings/Microsoft_Excel_Worksheet637.xlsx"/></Relationships>
</file>

<file path=ppt/charts/_rels/chart639.xml.rels><?xml version="1.0" encoding="UTF-8" standalone="yes"?>
<Relationships xmlns="http://schemas.openxmlformats.org/package/2006/relationships"><Relationship Id="rId1" Type="http://schemas.openxmlformats.org/officeDocument/2006/relationships/package" Target="../embeddings/Microsoft_Excel_Worksheet638.xlsx"/></Relationships>
</file>

<file path=ppt/charts/_rels/chart64.xml.rels><?xml version="1.0" encoding="UTF-8" standalone="yes"?>
<Relationships xmlns="http://schemas.openxmlformats.org/package/2006/relationships"><Relationship Id="rId1" Type="http://schemas.openxmlformats.org/officeDocument/2006/relationships/package" Target="../embeddings/Microsoft_Excel_Worksheet63.xlsx"/></Relationships>
</file>

<file path=ppt/charts/_rels/chart640.xml.rels><?xml version="1.0" encoding="UTF-8" standalone="yes"?>
<Relationships xmlns="http://schemas.openxmlformats.org/package/2006/relationships"><Relationship Id="rId1" Type="http://schemas.openxmlformats.org/officeDocument/2006/relationships/package" Target="../embeddings/Microsoft_Excel_Worksheet639.xlsx"/></Relationships>
</file>

<file path=ppt/charts/_rels/chart641.xml.rels><?xml version="1.0" encoding="UTF-8" standalone="yes"?>
<Relationships xmlns="http://schemas.openxmlformats.org/package/2006/relationships"><Relationship Id="rId1" Type="http://schemas.openxmlformats.org/officeDocument/2006/relationships/package" Target="../embeddings/Microsoft_Excel_Worksheet640.xlsx"/></Relationships>
</file>

<file path=ppt/charts/_rels/chart642.xml.rels><?xml version="1.0" encoding="UTF-8" standalone="yes"?>
<Relationships xmlns="http://schemas.openxmlformats.org/package/2006/relationships"><Relationship Id="rId1" Type="http://schemas.openxmlformats.org/officeDocument/2006/relationships/package" Target="../embeddings/Microsoft_Excel_Worksheet641.xlsx"/></Relationships>
</file>

<file path=ppt/charts/_rels/chart643.xml.rels><?xml version="1.0" encoding="UTF-8" standalone="yes"?>
<Relationships xmlns="http://schemas.openxmlformats.org/package/2006/relationships"><Relationship Id="rId1" Type="http://schemas.openxmlformats.org/officeDocument/2006/relationships/package" Target="../embeddings/Microsoft_Excel_Worksheet642.xlsx"/></Relationships>
</file>

<file path=ppt/charts/_rels/chart644.xml.rels><?xml version="1.0" encoding="UTF-8" standalone="yes"?>
<Relationships xmlns="http://schemas.openxmlformats.org/package/2006/relationships"><Relationship Id="rId1" Type="http://schemas.openxmlformats.org/officeDocument/2006/relationships/package" Target="../embeddings/Microsoft_Excel_Worksheet643.xlsx"/></Relationships>
</file>

<file path=ppt/charts/_rels/chart645.xml.rels><?xml version="1.0" encoding="UTF-8" standalone="yes"?>
<Relationships xmlns="http://schemas.openxmlformats.org/package/2006/relationships"><Relationship Id="rId1" Type="http://schemas.openxmlformats.org/officeDocument/2006/relationships/package" Target="../embeddings/Microsoft_Excel_Worksheet644.xlsx"/></Relationships>
</file>

<file path=ppt/charts/_rels/chart646.xml.rels><?xml version="1.0" encoding="UTF-8" standalone="yes"?>
<Relationships xmlns="http://schemas.openxmlformats.org/package/2006/relationships"><Relationship Id="rId1" Type="http://schemas.openxmlformats.org/officeDocument/2006/relationships/package" Target="../embeddings/Microsoft_Excel_Worksheet645.xlsx"/></Relationships>
</file>

<file path=ppt/charts/_rels/chart647.xml.rels><?xml version="1.0" encoding="UTF-8" standalone="yes"?>
<Relationships xmlns="http://schemas.openxmlformats.org/package/2006/relationships"><Relationship Id="rId1" Type="http://schemas.openxmlformats.org/officeDocument/2006/relationships/package" Target="../embeddings/Microsoft_Excel_Worksheet646.xlsx"/></Relationships>
</file>

<file path=ppt/charts/_rels/chart648.xml.rels><?xml version="1.0" encoding="UTF-8" standalone="yes"?>
<Relationships xmlns="http://schemas.openxmlformats.org/package/2006/relationships"><Relationship Id="rId1" Type="http://schemas.openxmlformats.org/officeDocument/2006/relationships/package" Target="../embeddings/Microsoft_Excel_Worksheet647.xlsx"/></Relationships>
</file>

<file path=ppt/charts/_rels/chart649.xml.rels><?xml version="1.0" encoding="UTF-8" standalone="yes"?>
<Relationships xmlns="http://schemas.openxmlformats.org/package/2006/relationships"><Relationship Id="rId1" Type="http://schemas.openxmlformats.org/officeDocument/2006/relationships/package" Target="../embeddings/Microsoft_Excel_Worksheet648.xlsx"/></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Worksheet64.xlsx"/></Relationships>
</file>

<file path=ppt/charts/_rels/chart650.xml.rels><?xml version="1.0" encoding="UTF-8" standalone="yes"?>
<Relationships xmlns="http://schemas.openxmlformats.org/package/2006/relationships"><Relationship Id="rId1" Type="http://schemas.openxmlformats.org/officeDocument/2006/relationships/package" Target="../embeddings/Microsoft_Excel_Worksheet649.xlsx"/></Relationships>
</file>

<file path=ppt/charts/_rels/chart651.xml.rels><?xml version="1.0" encoding="UTF-8" standalone="yes"?>
<Relationships xmlns="http://schemas.openxmlformats.org/package/2006/relationships"><Relationship Id="rId1" Type="http://schemas.openxmlformats.org/officeDocument/2006/relationships/package" Target="../embeddings/Microsoft_Excel_Worksheet650.xlsx"/></Relationships>
</file>

<file path=ppt/charts/_rels/chart652.xml.rels><?xml version="1.0" encoding="UTF-8" standalone="yes"?>
<Relationships xmlns="http://schemas.openxmlformats.org/package/2006/relationships"><Relationship Id="rId1" Type="http://schemas.openxmlformats.org/officeDocument/2006/relationships/package" Target="../embeddings/Microsoft_Excel_Worksheet651.xlsx"/></Relationships>
</file>

<file path=ppt/charts/_rels/chart653.xml.rels><?xml version="1.0" encoding="UTF-8" standalone="yes"?>
<Relationships xmlns="http://schemas.openxmlformats.org/package/2006/relationships"><Relationship Id="rId1" Type="http://schemas.openxmlformats.org/officeDocument/2006/relationships/package" Target="../embeddings/Microsoft_Excel_Worksheet652.xlsx"/></Relationships>
</file>

<file path=ppt/charts/_rels/chart654.xml.rels><?xml version="1.0" encoding="UTF-8" standalone="yes"?>
<Relationships xmlns="http://schemas.openxmlformats.org/package/2006/relationships"><Relationship Id="rId1" Type="http://schemas.openxmlformats.org/officeDocument/2006/relationships/package" Target="../embeddings/Microsoft_Excel_Worksheet653.xlsx"/></Relationships>
</file>

<file path=ppt/charts/_rels/chart655.xml.rels><?xml version="1.0" encoding="UTF-8" standalone="yes"?>
<Relationships xmlns="http://schemas.openxmlformats.org/package/2006/relationships"><Relationship Id="rId1" Type="http://schemas.openxmlformats.org/officeDocument/2006/relationships/package" Target="../embeddings/Microsoft_Excel_Worksheet654.xlsx"/></Relationships>
</file>

<file path=ppt/charts/_rels/chart656.xml.rels><?xml version="1.0" encoding="UTF-8" standalone="yes"?>
<Relationships xmlns="http://schemas.openxmlformats.org/package/2006/relationships"><Relationship Id="rId1" Type="http://schemas.openxmlformats.org/officeDocument/2006/relationships/package" Target="../embeddings/Microsoft_Excel_Worksheet655.xlsx"/></Relationships>
</file>

<file path=ppt/charts/_rels/chart657.xml.rels><?xml version="1.0" encoding="UTF-8" standalone="yes"?>
<Relationships xmlns="http://schemas.openxmlformats.org/package/2006/relationships"><Relationship Id="rId1" Type="http://schemas.openxmlformats.org/officeDocument/2006/relationships/package" Target="../embeddings/Microsoft_Excel_Worksheet656.xlsx"/></Relationships>
</file>

<file path=ppt/charts/_rels/chart658.xml.rels><?xml version="1.0" encoding="UTF-8" standalone="yes"?>
<Relationships xmlns="http://schemas.openxmlformats.org/package/2006/relationships"><Relationship Id="rId1" Type="http://schemas.openxmlformats.org/officeDocument/2006/relationships/package" Target="../embeddings/Microsoft_Excel_Worksheet657.xlsx"/></Relationships>
</file>

<file path=ppt/charts/_rels/chart659.xml.rels><?xml version="1.0" encoding="UTF-8" standalone="yes"?>
<Relationships xmlns="http://schemas.openxmlformats.org/package/2006/relationships"><Relationship Id="rId1" Type="http://schemas.openxmlformats.org/officeDocument/2006/relationships/package" Target="../embeddings/Microsoft_Excel_Worksheet658.xlsx"/></Relationships>
</file>

<file path=ppt/charts/_rels/chart66.xml.rels><?xml version="1.0" encoding="UTF-8" standalone="yes"?>
<Relationships xmlns="http://schemas.openxmlformats.org/package/2006/relationships"><Relationship Id="rId1" Type="http://schemas.openxmlformats.org/officeDocument/2006/relationships/package" Target="../embeddings/Microsoft_Excel_Worksheet65.xlsx"/></Relationships>
</file>

<file path=ppt/charts/_rels/chart660.xml.rels><?xml version="1.0" encoding="UTF-8" standalone="yes"?>
<Relationships xmlns="http://schemas.openxmlformats.org/package/2006/relationships"><Relationship Id="rId1" Type="http://schemas.openxmlformats.org/officeDocument/2006/relationships/package" Target="../embeddings/Microsoft_Excel_Worksheet659.xlsx"/></Relationships>
</file>

<file path=ppt/charts/_rels/chart661.xml.rels><?xml version="1.0" encoding="UTF-8" standalone="yes"?>
<Relationships xmlns="http://schemas.openxmlformats.org/package/2006/relationships"><Relationship Id="rId1" Type="http://schemas.openxmlformats.org/officeDocument/2006/relationships/package" Target="../embeddings/Microsoft_Excel_Worksheet660.xlsx"/></Relationships>
</file>

<file path=ppt/charts/_rels/chart662.xml.rels><?xml version="1.0" encoding="UTF-8" standalone="yes"?>
<Relationships xmlns="http://schemas.openxmlformats.org/package/2006/relationships"><Relationship Id="rId1" Type="http://schemas.openxmlformats.org/officeDocument/2006/relationships/package" Target="../embeddings/Microsoft_Excel_Worksheet661.xlsx"/></Relationships>
</file>

<file path=ppt/charts/_rels/chart663.xml.rels><?xml version="1.0" encoding="UTF-8" standalone="yes"?>
<Relationships xmlns="http://schemas.openxmlformats.org/package/2006/relationships"><Relationship Id="rId1" Type="http://schemas.openxmlformats.org/officeDocument/2006/relationships/package" Target="../embeddings/Microsoft_Excel_Worksheet662.xlsx"/></Relationships>
</file>

<file path=ppt/charts/_rels/chart664.xml.rels><?xml version="1.0" encoding="UTF-8" standalone="yes"?>
<Relationships xmlns="http://schemas.openxmlformats.org/package/2006/relationships"><Relationship Id="rId1" Type="http://schemas.openxmlformats.org/officeDocument/2006/relationships/package" Target="../embeddings/Microsoft_Excel_Worksheet663.xlsx"/></Relationships>
</file>

<file path=ppt/charts/_rels/chart665.xml.rels><?xml version="1.0" encoding="UTF-8" standalone="yes"?>
<Relationships xmlns="http://schemas.openxmlformats.org/package/2006/relationships"><Relationship Id="rId1" Type="http://schemas.openxmlformats.org/officeDocument/2006/relationships/package" Target="../embeddings/Microsoft_Excel_Worksheet664.xlsx"/></Relationships>
</file>

<file path=ppt/charts/_rels/chart666.xml.rels><?xml version="1.0" encoding="UTF-8" standalone="yes"?>
<Relationships xmlns="http://schemas.openxmlformats.org/package/2006/relationships"><Relationship Id="rId1" Type="http://schemas.openxmlformats.org/officeDocument/2006/relationships/package" Target="../embeddings/Microsoft_Excel_Worksheet665.xlsx"/></Relationships>
</file>

<file path=ppt/charts/_rels/chart667.xml.rels><?xml version="1.0" encoding="UTF-8" standalone="yes"?>
<Relationships xmlns="http://schemas.openxmlformats.org/package/2006/relationships"><Relationship Id="rId1" Type="http://schemas.openxmlformats.org/officeDocument/2006/relationships/package" Target="../embeddings/Microsoft_Excel_Worksheet666.xlsx"/></Relationships>
</file>

<file path=ppt/charts/_rels/chart668.xml.rels><?xml version="1.0" encoding="UTF-8" standalone="yes"?>
<Relationships xmlns="http://schemas.openxmlformats.org/package/2006/relationships"><Relationship Id="rId1" Type="http://schemas.openxmlformats.org/officeDocument/2006/relationships/package" Target="../embeddings/Microsoft_Excel_Worksheet667.xlsx"/></Relationships>
</file>

<file path=ppt/charts/_rels/chart669.xml.rels><?xml version="1.0" encoding="UTF-8" standalone="yes"?>
<Relationships xmlns="http://schemas.openxmlformats.org/package/2006/relationships"><Relationship Id="rId1" Type="http://schemas.openxmlformats.org/officeDocument/2006/relationships/package" Target="../embeddings/Microsoft_Excel_Worksheet668.xlsx"/></Relationships>
</file>

<file path=ppt/charts/_rels/chart67.xml.rels><?xml version="1.0" encoding="UTF-8" standalone="yes"?>
<Relationships xmlns="http://schemas.openxmlformats.org/package/2006/relationships"><Relationship Id="rId1" Type="http://schemas.openxmlformats.org/officeDocument/2006/relationships/package" Target="../embeddings/Microsoft_Excel_Worksheet66.xlsx"/></Relationships>
</file>

<file path=ppt/charts/_rels/chart670.xml.rels><?xml version="1.0" encoding="UTF-8" standalone="yes"?>
<Relationships xmlns="http://schemas.openxmlformats.org/package/2006/relationships"><Relationship Id="rId1" Type="http://schemas.openxmlformats.org/officeDocument/2006/relationships/package" Target="../embeddings/Microsoft_Excel_Worksheet669.xlsx"/></Relationships>
</file>

<file path=ppt/charts/_rels/chart671.xml.rels><?xml version="1.0" encoding="UTF-8" standalone="yes"?>
<Relationships xmlns="http://schemas.openxmlformats.org/package/2006/relationships"><Relationship Id="rId1" Type="http://schemas.openxmlformats.org/officeDocument/2006/relationships/package" Target="../embeddings/Microsoft_Excel_Worksheet670.xlsx"/></Relationships>
</file>

<file path=ppt/charts/_rels/chart672.xml.rels><?xml version="1.0" encoding="UTF-8" standalone="yes"?>
<Relationships xmlns="http://schemas.openxmlformats.org/package/2006/relationships"><Relationship Id="rId1" Type="http://schemas.openxmlformats.org/officeDocument/2006/relationships/package" Target="../embeddings/Microsoft_Excel_Worksheet671.xlsx"/></Relationships>
</file>

<file path=ppt/charts/_rels/chart673.xml.rels><?xml version="1.0" encoding="UTF-8" standalone="yes"?>
<Relationships xmlns="http://schemas.openxmlformats.org/package/2006/relationships"><Relationship Id="rId1" Type="http://schemas.openxmlformats.org/officeDocument/2006/relationships/package" Target="../embeddings/Microsoft_Excel_Worksheet672.xlsx"/></Relationships>
</file>

<file path=ppt/charts/_rels/chart674.xml.rels><?xml version="1.0" encoding="UTF-8" standalone="yes"?>
<Relationships xmlns="http://schemas.openxmlformats.org/package/2006/relationships"><Relationship Id="rId1" Type="http://schemas.openxmlformats.org/officeDocument/2006/relationships/package" Target="../embeddings/Microsoft_Excel_Worksheet673.xlsx"/></Relationships>
</file>

<file path=ppt/charts/_rels/chart675.xml.rels><?xml version="1.0" encoding="UTF-8" standalone="yes"?>
<Relationships xmlns="http://schemas.openxmlformats.org/package/2006/relationships"><Relationship Id="rId1" Type="http://schemas.openxmlformats.org/officeDocument/2006/relationships/package" Target="../embeddings/Microsoft_Excel_Worksheet674.xlsx"/></Relationships>
</file>

<file path=ppt/charts/_rels/chart676.xml.rels><?xml version="1.0" encoding="UTF-8" standalone="yes"?>
<Relationships xmlns="http://schemas.openxmlformats.org/package/2006/relationships"><Relationship Id="rId1" Type="http://schemas.openxmlformats.org/officeDocument/2006/relationships/package" Target="../embeddings/Microsoft_Excel_Worksheet675.xlsx"/></Relationships>
</file>

<file path=ppt/charts/_rels/chart677.xml.rels><?xml version="1.0" encoding="UTF-8" standalone="yes"?>
<Relationships xmlns="http://schemas.openxmlformats.org/package/2006/relationships"><Relationship Id="rId1" Type="http://schemas.openxmlformats.org/officeDocument/2006/relationships/package" Target="../embeddings/Microsoft_Excel_Worksheet676.xlsx"/></Relationships>
</file>

<file path=ppt/charts/_rels/chart678.xml.rels><?xml version="1.0" encoding="UTF-8" standalone="yes"?>
<Relationships xmlns="http://schemas.openxmlformats.org/package/2006/relationships"><Relationship Id="rId1" Type="http://schemas.openxmlformats.org/officeDocument/2006/relationships/package" Target="../embeddings/Microsoft_Excel_Worksheet677.xlsx"/></Relationships>
</file>

<file path=ppt/charts/_rels/chart679.xml.rels><?xml version="1.0" encoding="UTF-8" standalone="yes"?>
<Relationships xmlns="http://schemas.openxmlformats.org/package/2006/relationships"><Relationship Id="rId1" Type="http://schemas.openxmlformats.org/officeDocument/2006/relationships/package" Target="../embeddings/Microsoft_Excel_Worksheet678.xlsx"/></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Worksheet67.xlsx"/></Relationships>
</file>

<file path=ppt/charts/_rels/chart680.xml.rels><?xml version="1.0" encoding="UTF-8" standalone="yes"?>
<Relationships xmlns="http://schemas.openxmlformats.org/package/2006/relationships"><Relationship Id="rId1" Type="http://schemas.openxmlformats.org/officeDocument/2006/relationships/package" Target="../embeddings/Microsoft_Excel_Worksheet679.xlsx"/></Relationships>
</file>

<file path=ppt/charts/_rels/chart681.xml.rels><?xml version="1.0" encoding="UTF-8" standalone="yes"?>
<Relationships xmlns="http://schemas.openxmlformats.org/package/2006/relationships"><Relationship Id="rId1" Type="http://schemas.openxmlformats.org/officeDocument/2006/relationships/package" Target="../embeddings/Microsoft_Excel_Worksheet680.xlsx"/></Relationships>
</file>

<file path=ppt/charts/_rels/chart682.xml.rels><?xml version="1.0" encoding="UTF-8" standalone="yes"?>
<Relationships xmlns="http://schemas.openxmlformats.org/package/2006/relationships"><Relationship Id="rId1" Type="http://schemas.openxmlformats.org/officeDocument/2006/relationships/package" Target="../embeddings/Microsoft_Excel_Worksheet681.xlsx"/></Relationships>
</file>

<file path=ppt/charts/_rels/chart683.xml.rels><?xml version="1.0" encoding="UTF-8" standalone="yes"?>
<Relationships xmlns="http://schemas.openxmlformats.org/package/2006/relationships"><Relationship Id="rId1" Type="http://schemas.openxmlformats.org/officeDocument/2006/relationships/package" Target="../embeddings/Microsoft_Excel_Worksheet682.xlsx"/></Relationships>
</file>

<file path=ppt/charts/_rels/chart684.xml.rels><?xml version="1.0" encoding="UTF-8" standalone="yes"?>
<Relationships xmlns="http://schemas.openxmlformats.org/package/2006/relationships"><Relationship Id="rId1" Type="http://schemas.openxmlformats.org/officeDocument/2006/relationships/package" Target="../embeddings/Microsoft_Excel_Worksheet683.xlsx"/></Relationships>
</file>

<file path=ppt/charts/_rels/chart685.xml.rels><?xml version="1.0" encoding="UTF-8" standalone="yes"?>
<Relationships xmlns="http://schemas.openxmlformats.org/package/2006/relationships"><Relationship Id="rId1" Type="http://schemas.openxmlformats.org/officeDocument/2006/relationships/package" Target="../embeddings/Microsoft_Excel_Worksheet684.xlsx"/></Relationships>
</file>

<file path=ppt/charts/_rels/chart686.xml.rels><?xml version="1.0" encoding="UTF-8" standalone="yes"?>
<Relationships xmlns="http://schemas.openxmlformats.org/package/2006/relationships"><Relationship Id="rId1" Type="http://schemas.openxmlformats.org/officeDocument/2006/relationships/package" Target="../embeddings/Microsoft_Excel_Worksheet685.xlsx"/></Relationships>
</file>

<file path=ppt/charts/_rels/chart687.xml.rels><?xml version="1.0" encoding="UTF-8" standalone="yes"?>
<Relationships xmlns="http://schemas.openxmlformats.org/package/2006/relationships"><Relationship Id="rId1" Type="http://schemas.openxmlformats.org/officeDocument/2006/relationships/package" Target="../embeddings/Microsoft_Excel_Worksheet686.xlsx"/></Relationships>
</file>

<file path=ppt/charts/_rels/chart688.xml.rels><?xml version="1.0" encoding="UTF-8" standalone="yes"?>
<Relationships xmlns="http://schemas.openxmlformats.org/package/2006/relationships"><Relationship Id="rId1" Type="http://schemas.openxmlformats.org/officeDocument/2006/relationships/package" Target="../embeddings/Microsoft_Excel_Worksheet687.xlsx"/></Relationships>
</file>

<file path=ppt/charts/_rels/chart689.xml.rels><?xml version="1.0" encoding="UTF-8" standalone="yes"?>
<Relationships xmlns="http://schemas.openxmlformats.org/package/2006/relationships"><Relationship Id="rId1" Type="http://schemas.openxmlformats.org/officeDocument/2006/relationships/package" Target="../embeddings/Microsoft_Excel_Worksheet688.xlsx"/></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Worksheet68.xlsx"/></Relationships>
</file>

<file path=ppt/charts/_rels/chart690.xml.rels><?xml version="1.0" encoding="UTF-8" standalone="yes"?>
<Relationships xmlns="http://schemas.openxmlformats.org/package/2006/relationships"><Relationship Id="rId1" Type="http://schemas.openxmlformats.org/officeDocument/2006/relationships/package" Target="../embeddings/Microsoft_Excel_Worksheet689.xlsx"/></Relationships>
</file>

<file path=ppt/charts/_rels/chart691.xml.rels><?xml version="1.0" encoding="UTF-8" standalone="yes"?>
<Relationships xmlns="http://schemas.openxmlformats.org/package/2006/relationships"><Relationship Id="rId1" Type="http://schemas.openxmlformats.org/officeDocument/2006/relationships/package" Target="../embeddings/Microsoft_Excel_Worksheet690.xlsx"/></Relationships>
</file>

<file path=ppt/charts/_rels/chart692.xml.rels><?xml version="1.0" encoding="UTF-8" standalone="yes"?>
<Relationships xmlns="http://schemas.openxmlformats.org/package/2006/relationships"><Relationship Id="rId1" Type="http://schemas.openxmlformats.org/officeDocument/2006/relationships/package" Target="../embeddings/Microsoft_Excel_Worksheet691.xlsx"/></Relationships>
</file>

<file path=ppt/charts/_rels/chart693.xml.rels><?xml version="1.0" encoding="UTF-8" standalone="yes"?>
<Relationships xmlns="http://schemas.openxmlformats.org/package/2006/relationships"><Relationship Id="rId1" Type="http://schemas.openxmlformats.org/officeDocument/2006/relationships/package" Target="../embeddings/Microsoft_Excel_Worksheet692.xlsx"/></Relationships>
</file>

<file path=ppt/charts/_rels/chart694.xml.rels><?xml version="1.0" encoding="UTF-8" standalone="yes"?>
<Relationships xmlns="http://schemas.openxmlformats.org/package/2006/relationships"><Relationship Id="rId1" Type="http://schemas.openxmlformats.org/officeDocument/2006/relationships/package" Target="../embeddings/Microsoft_Excel_Worksheet693.xlsx"/></Relationships>
</file>

<file path=ppt/charts/_rels/chart695.xml.rels><?xml version="1.0" encoding="UTF-8" standalone="yes"?>
<Relationships xmlns="http://schemas.openxmlformats.org/package/2006/relationships"><Relationship Id="rId1" Type="http://schemas.openxmlformats.org/officeDocument/2006/relationships/package" Target="../embeddings/Microsoft_Excel_Worksheet694.xlsx"/></Relationships>
</file>

<file path=ppt/charts/_rels/chart696.xml.rels><?xml version="1.0" encoding="UTF-8" standalone="yes"?>
<Relationships xmlns="http://schemas.openxmlformats.org/package/2006/relationships"><Relationship Id="rId1" Type="http://schemas.openxmlformats.org/officeDocument/2006/relationships/package" Target="../embeddings/Microsoft_Excel_Worksheet695.xlsx"/></Relationships>
</file>

<file path=ppt/charts/_rels/chart697.xml.rels><?xml version="1.0" encoding="UTF-8" standalone="yes"?>
<Relationships xmlns="http://schemas.openxmlformats.org/package/2006/relationships"><Relationship Id="rId1" Type="http://schemas.openxmlformats.org/officeDocument/2006/relationships/package" Target="../embeddings/Microsoft_Excel_Worksheet696.xlsx"/></Relationships>
</file>

<file path=ppt/charts/_rels/chart698.xml.rels><?xml version="1.0" encoding="UTF-8" standalone="yes"?>
<Relationships xmlns="http://schemas.openxmlformats.org/package/2006/relationships"><Relationship Id="rId1" Type="http://schemas.openxmlformats.org/officeDocument/2006/relationships/package" Target="../embeddings/Microsoft_Excel_Worksheet697.xlsx"/></Relationships>
</file>

<file path=ppt/charts/_rels/chart699.xml.rels><?xml version="1.0" encoding="UTF-8" standalone="yes"?>
<Relationships xmlns="http://schemas.openxmlformats.org/package/2006/relationships"><Relationship Id="rId1" Type="http://schemas.openxmlformats.org/officeDocument/2006/relationships/package" Target="../embeddings/Microsoft_Excel_Worksheet698.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Worksheet69.xlsx"/></Relationships>
</file>

<file path=ppt/charts/_rels/chart700.xml.rels><?xml version="1.0" encoding="UTF-8" standalone="yes"?>
<Relationships xmlns="http://schemas.openxmlformats.org/package/2006/relationships"><Relationship Id="rId1" Type="http://schemas.openxmlformats.org/officeDocument/2006/relationships/package" Target="../embeddings/Microsoft_Excel_Worksheet699.xlsx"/></Relationships>
</file>

<file path=ppt/charts/_rels/chart701.xml.rels><?xml version="1.0" encoding="UTF-8" standalone="yes"?>
<Relationships xmlns="http://schemas.openxmlformats.org/package/2006/relationships"><Relationship Id="rId1" Type="http://schemas.openxmlformats.org/officeDocument/2006/relationships/package" Target="../embeddings/Microsoft_Excel_Worksheet700.xlsx"/></Relationships>
</file>

<file path=ppt/charts/_rels/chart702.xml.rels><?xml version="1.0" encoding="UTF-8" standalone="yes"?>
<Relationships xmlns="http://schemas.openxmlformats.org/package/2006/relationships"><Relationship Id="rId1" Type="http://schemas.openxmlformats.org/officeDocument/2006/relationships/package" Target="../embeddings/Microsoft_Excel_Worksheet701.xlsx"/></Relationships>
</file>

<file path=ppt/charts/_rels/chart703.xml.rels><?xml version="1.0" encoding="UTF-8" standalone="yes"?>
<Relationships xmlns="http://schemas.openxmlformats.org/package/2006/relationships"><Relationship Id="rId1" Type="http://schemas.openxmlformats.org/officeDocument/2006/relationships/package" Target="../embeddings/Microsoft_Excel_Worksheet702.xlsx"/></Relationships>
</file>

<file path=ppt/charts/_rels/chart704.xml.rels><?xml version="1.0" encoding="UTF-8" standalone="yes"?>
<Relationships xmlns="http://schemas.openxmlformats.org/package/2006/relationships"><Relationship Id="rId1" Type="http://schemas.openxmlformats.org/officeDocument/2006/relationships/package" Target="../embeddings/Microsoft_Excel_Worksheet703.xlsx"/></Relationships>
</file>

<file path=ppt/charts/_rels/chart705.xml.rels><?xml version="1.0" encoding="UTF-8" standalone="yes"?>
<Relationships xmlns="http://schemas.openxmlformats.org/package/2006/relationships"><Relationship Id="rId1" Type="http://schemas.openxmlformats.org/officeDocument/2006/relationships/package" Target="../embeddings/Microsoft_Excel_Worksheet704.xlsx"/></Relationships>
</file>

<file path=ppt/charts/_rels/chart706.xml.rels><?xml version="1.0" encoding="UTF-8" standalone="yes"?>
<Relationships xmlns="http://schemas.openxmlformats.org/package/2006/relationships"><Relationship Id="rId1" Type="http://schemas.openxmlformats.org/officeDocument/2006/relationships/package" Target="../embeddings/Microsoft_Excel_Worksheet705.xlsx"/></Relationships>
</file>

<file path=ppt/charts/_rels/chart707.xml.rels><?xml version="1.0" encoding="UTF-8" standalone="yes"?>
<Relationships xmlns="http://schemas.openxmlformats.org/package/2006/relationships"><Relationship Id="rId1" Type="http://schemas.openxmlformats.org/officeDocument/2006/relationships/package" Target="../embeddings/Microsoft_Excel_Worksheet706.xlsx"/></Relationships>
</file>

<file path=ppt/charts/_rels/chart708.xml.rels><?xml version="1.0" encoding="UTF-8" standalone="yes"?>
<Relationships xmlns="http://schemas.openxmlformats.org/package/2006/relationships"><Relationship Id="rId1" Type="http://schemas.openxmlformats.org/officeDocument/2006/relationships/package" Target="../embeddings/Microsoft_Excel_Worksheet707.xlsx"/></Relationships>
</file>

<file path=ppt/charts/_rels/chart709.xml.rels><?xml version="1.0" encoding="UTF-8" standalone="yes"?>
<Relationships xmlns="http://schemas.openxmlformats.org/package/2006/relationships"><Relationship Id="rId1" Type="http://schemas.openxmlformats.org/officeDocument/2006/relationships/package" Target="../embeddings/Microsoft_Excel_Worksheet708.xlsx"/></Relationships>
</file>

<file path=ppt/charts/_rels/chart71.xml.rels><?xml version="1.0" encoding="UTF-8" standalone="yes"?>
<Relationships xmlns="http://schemas.openxmlformats.org/package/2006/relationships"><Relationship Id="rId1" Type="http://schemas.openxmlformats.org/officeDocument/2006/relationships/package" Target="../embeddings/Microsoft_Excel_Worksheet70.xlsx"/></Relationships>
</file>

<file path=ppt/charts/_rels/chart710.xml.rels><?xml version="1.0" encoding="UTF-8" standalone="yes"?>
<Relationships xmlns="http://schemas.openxmlformats.org/package/2006/relationships"><Relationship Id="rId1" Type="http://schemas.openxmlformats.org/officeDocument/2006/relationships/package" Target="../embeddings/Microsoft_Excel_Worksheet709.xlsx"/></Relationships>
</file>

<file path=ppt/charts/_rels/chart711.xml.rels><?xml version="1.0" encoding="UTF-8" standalone="yes"?>
<Relationships xmlns="http://schemas.openxmlformats.org/package/2006/relationships"><Relationship Id="rId1" Type="http://schemas.openxmlformats.org/officeDocument/2006/relationships/package" Target="../embeddings/Microsoft_Excel_Worksheet710.xlsx"/></Relationships>
</file>

<file path=ppt/charts/_rels/chart712.xml.rels><?xml version="1.0" encoding="UTF-8" standalone="yes"?>
<Relationships xmlns="http://schemas.openxmlformats.org/package/2006/relationships"><Relationship Id="rId1" Type="http://schemas.openxmlformats.org/officeDocument/2006/relationships/package" Target="../embeddings/Microsoft_Excel_Worksheet711.xlsx"/></Relationships>
</file>

<file path=ppt/charts/_rels/chart713.xml.rels><?xml version="1.0" encoding="UTF-8" standalone="yes"?>
<Relationships xmlns="http://schemas.openxmlformats.org/package/2006/relationships"><Relationship Id="rId1" Type="http://schemas.openxmlformats.org/officeDocument/2006/relationships/package" Target="../embeddings/Microsoft_Excel_Worksheet712.xlsx"/></Relationships>
</file>

<file path=ppt/charts/_rels/chart714.xml.rels><?xml version="1.0" encoding="UTF-8" standalone="yes"?>
<Relationships xmlns="http://schemas.openxmlformats.org/package/2006/relationships"><Relationship Id="rId1" Type="http://schemas.openxmlformats.org/officeDocument/2006/relationships/package" Target="../embeddings/Microsoft_Excel_Worksheet713.xlsx"/></Relationships>
</file>

<file path=ppt/charts/_rels/chart715.xml.rels><?xml version="1.0" encoding="UTF-8" standalone="yes"?>
<Relationships xmlns="http://schemas.openxmlformats.org/package/2006/relationships"><Relationship Id="rId1" Type="http://schemas.openxmlformats.org/officeDocument/2006/relationships/package" Target="../embeddings/Microsoft_Excel_Worksheet714.xlsx"/></Relationships>
</file>

<file path=ppt/charts/_rels/chart716.xml.rels><?xml version="1.0" encoding="UTF-8" standalone="yes"?>
<Relationships xmlns="http://schemas.openxmlformats.org/package/2006/relationships"><Relationship Id="rId1" Type="http://schemas.openxmlformats.org/officeDocument/2006/relationships/package" Target="../embeddings/Microsoft_Excel_Worksheet715.xlsx"/></Relationships>
</file>

<file path=ppt/charts/_rels/chart717.xml.rels><?xml version="1.0" encoding="UTF-8" standalone="yes"?>
<Relationships xmlns="http://schemas.openxmlformats.org/package/2006/relationships"><Relationship Id="rId1" Type="http://schemas.openxmlformats.org/officeDocument/2006/relationships/package" Target="../embeddings/Microsoft_Excel_Worksheet716.xlsx"/></Relationships>
</file>

<file path=ppt/charts/_rels/chart718.xml.rels><?xml version="1.0" encoding="UTF-8" standalone="yes"?>
<Relationships xmlns="http://schemas.openxmlformats.org/package/2006/relationships"><Relationship Id="rId1" Type="http://schemas.openxmlformats.org/officeDocument/2006/relationships/package" Target="../embeddings/Microsoft_Excel_Worksheet717.xlsx"/></Relationships>
</file>

<file path=ppt/charts/_rels/chart719.xml.rels><?xml version="1.0" encoding="UTF-8" standalone="yes"?>
<Relationships xmlns="http://schemas.openxmlformats.org/package/2006/relationships"><Relationship Id="rId1" Type="http://schemas.openxmlformats.org/officeDocument/2006/relationships/package" Target="../embeddings/Microsoft_Excel_Worksheet718.xlsx"/></Relationships>
</file>

<file path=ppt/charts/_rels/chart72.xml.rels><?xml version="1.0" encoding="UTF-8" standalone="yes"?>
<Relationships xmlns="http://schemas.openxmlformats.org/package/2006/relationships"><Relationship Id="rId1" Type="http://schemas.openxmlformats.org/officeDocument/2006/relationships/package" Target="../embeddings/Microsoft_Excel_Worksheet71.xlsx"/></Relationships>
</file>

<file path=ppt/charts/_rels/chart720.xml.rels><?xml version="1.0" encoding="UTF-8" standalone="yes"?>
<Relationships xmlns="http://schemas.openxmlformats.org/package/2006/relationships"><Relationship Id="rId1" Type="http://schemas.openxmlformats.org/officeDocument/2006/relationships/package" Target="../embeddings/Microsoft_Excel_Worksheet719.xlsx"/></Relationships>
</file>

<file path=ppt/charts/_rels/chart721.xml.rels><?xml version="1.0" encoding="UTF-8" standalone="yes"?>
<Relationships xmlns="http://schemas.openxmlformats.org/package/2006/relationships"><Relationship Id="rId1" Type="http://schemas.openxmlformats.org/officeDocument/2006/relationships/package" Target="../embeddings/Microsoft_Excel_Worksheet720.xlsx"/></Relationships>
</file>

<file path=ppt/charts/_rels/chart722.xml.rels><?xml version="1.0" encoding="UTF-8" standalone="yes"?>
<Relationships xmlns="http://schemas.openxmlformats.org/package/2006/relationships"><Relationship Id="rId1" Type="http://schemas.openxmlformats.org/officeDocument/2006/relationships/package" Target="../embeddings/Microsoft_Excel_Worksheet721.xlsx"/></Relationships>
</file>

<file path=ppt/charts/_rels/chart723.xml.rels><?xml version="1.0" encoding="UTF-8" standalone="yes"?>
<Relationships xmlns="http://schemas.openxmlformats.org/package/2006/relationships"><Relationship Id="rId1" Type="http://schemas.openxmlformats.org/officeDocument/2006/relationships/package" Target="../embeddings/Microsoft_Excel_Worksheet722.xlsx"/></Relationships>
</file>

<file path=ppt/charts/_rels/chart724.xml.rels><?xml version="1.0" encoding="UTF-8" standalone="yes"?>
<Relationships xmlns="http://schemas.openxmlformats.org/package/2006/relationships"><Relationship Id="rId1" Type="http://schemas.openxmlformats.org/officeDocument/2006/relationships/package" Target="../embeddings/Microsoft_Excel_Worksheet723.xlsx"/></Relationships>
</file>

<file path=ppt/charts/_rels/chart725.xml.rels><?xml version="1.0" encoding="UTF-8" standalone="yes"?>
<Relationships xmlns="http://schemas.openxmlformats.org/package/2006/relationships"><Relationship Id="rId1" Type="http://schemas.openxmlformats.org/officeDocument/2006/relationships/package" Target="../embeddings/Microsoft_Excel_Worksheet724.xlsx"/></Relationships>
</file>

<file path=ppt/charts/_rels/chart726.xml.rels><?xml version="1.0" encoding="UTF-8" standalone="yes"?>
<Relationships xmlns="http://schemas.openxmlformats.org/package/2006/relationships"><Relationship Id="rId1" Type="http://schemas.openxmlformats.org/officeDocument/2006/relationships/package" Target="../embeddings/Microsoft_Excel_Worksheet725.xlsx"/></Relationships>
</file>

<file path=ppt/charts/_rels/chart727.xml.rels><?xml version="1.0" encoding="UTF-8" standalone="yes"?>
<Relationships xmlns="http://schemas.openxmlformats.org/package/2006/relationships"><Relationship Id="rId1" Type="http://schemas.openxmlformats.org/officeDocument/2006/relationships/package" Target="../embeddings/Microsoft_Excel_Worksheet726.xlsx"/></Relationships>
</file>

<file path=ppt/charts/_rels/chart728.xml.rels><?xml version="1.0" encoding="UTF-8" standalone="yes"?>
<Relationships xmlns="http://schemas.openxmlformats.org/package/2006/relationships"><Relationship Id="rId1" Type="http://schemas.openxmlformats.org/officeDocument/2006/relationships/package" Target="../embeddings/Microsoft_Excel_Worksheet727.xlsx"/></Relationships>
</file>

<file path=ppt/charts/_rels/chart729.xml.rels><?xml version="1.0" encoding="UTF-8" standalone="yes"?>
<Relationships xmlns="http://schemas.openxmlformats.org/package/2006/relationships"><Relationship Id="rId1" Type="http://schemas.openxmlformats.org/officeDocument/2006/relationships/package" Target="../embeddings/Microsoft_Excel_Worksheet728.xlsx"/></Relationships>
</file>

<file path=ppt/charts/_rels/chart73.xml.rels><?xml version="1.0" encoding="UTF-8" standalone="yes"?>
<Relationships xmlns="http://schemas.openxmlformats.org/package/2006/relationships"><Relationship Id="rId1" Type="http://schemas.openxmlformats.org/officeDocument/2006/relationships/package" Target="../embeddings/Microsoft_Excel_Worksheet72.xlsx"/></Relationships>
</file>

<file path=ppt/charts/_rels/chart730.xml.rels><?xml version="1.0" encoding="UTF-8" standalone="yes"?>
<Relationships xmlns="http://schemas.openxmlformats.org/package/2006/relationships"><Relationship Id="rId1" Type="http://schemas.openxmlformats.org/officeDocument/2006/relationships/package" Target="../embeddings/Microsoft_Excel_Worksheet729.xlsx"/></Relationships>
</file>

<file path=ppt/charts/_rels/chart731.xml.rels><?xml version="1.0" encoding="UTF-8" standalone="yes"?>
<Relationships xmlns="http://schemas.openxmlformats.org/package/2006/relationships"><Relationship Id="rId1" Type="http://schemas.openxmlformats.org/officeDocument/2006/relationships/package" Target="../embeddings/Microsoft_Excel_Worksheet730.xlsx"/></Relationships>
</file>

<file path=ppt/charts/_rels/chart732.xml.rels><?xml version="1.0" encoding="UTF-8" standalone="yes"?>
<Relationships xmlns="http://schemas.openxmlformats.org/package/2006/relationships"><Relationship Id="rId1" Type="http://schemas.openxmlformats.org/officeDocument/2006/relationships/package" Target="../embeddings/Microsoft_Excel_Worksheet731.xlsx"/></Relationships>
</file>

<file path=ppt/charts/_rels/chart733.xml.rels><?xml version="1.0" encoding="UTF-8" standalone="yes"?>
<Relationships xmlns="http://schemas.openxmlformats.org/package/2006/relationships"><Relationship Id="rId1" Type="http://schemas.openxmlformats.org/officeDocument/2006/relationships/package" Target="../embeddings/Microsoft_Excel_Worksheet732.xlsx"/></Relationships>
</file>

<file path=ppt/charts/_rels/chart734.xml.rels><?xml version="1.0" encoding="UTF-8" standalone="yes"?>
<Relationships xmlns="http://schemas.openxmlformats.org/package/2006/relationships"><Relationship Id="rId1" Type="http://schemas.openxmlformats.org/officeDocument/2006/relationships/package" Target="../embeddings/Microsoft_Excel_Worksheet733.xlsx"/></Relationships>
</file>

<file path=ppt/charts/_rels/chart735.xml.rels><?xml version="1.0" encoding="UTF-8" standalone="yes"?>
<Relationships xmlns="http://schemas.openxmlformats.org/package/2006/relationships"><Relationship Id="rId1" Type="http://schemas.openxmlformats.org/officeDocument/2006/relationships/package" Target="../embeddings/Microsoft_Excel_Worksheet734.xlsx"/></Relationships>
</file>

<file path=ppt/charts/_rels/chart736.xml.rels><?xml version="1.0" encoding="UTF-8" standalone="yes"?>
<Relationships xmlns="http://schemas.openxmlformats.org/package/2006/relationships"><Relationship Id="rId1" Type="http://schemas.openxmlformats.org/officeDocument/2006/relationships/package" Target="../embeddings/Microsoft_Excel_Worksheet735.xlsx"/></Relationships>
</file>

<file path=ppt/charts/_rels/chart737.xml.rels><?xml version="1.0" encoding="UTF-8" standalone="yes"?>
<Relationships xmlns="http://schemas.openxmlformats.org/package/2006/relationships"><Relationship Id="rId1" Type="http://schemas.openxmlformats.org/officeDocument/2006/relationships/package" Target="../embeddings/Microsoft_Excel_Worksheet736.xlsx"/></Relationships>
</file>

<file path=ppt/charts/_rels/chart738.xml.rels><?xml version="1.0" encoding="UTF-8" standalone="yes"?>
<Relationships xmlns="http://schemas.openxmlformats.org/package/2006/relationships"><Relationship Id="rId1" Type="http://schemas.openxmlformats.org/officeDocument/2006/relationships/package" Target="../embeddings/Microsoft_Excel_Worksheet737.xlsx"/></Relationships>
</file>

<file path=ppt/charts/_rels/chart739.xml.rels><?xml version="1.0" encoding="UTF-8" standalone="yes"?>
<Relationships xmlns="http://schemas.openxmlformats.org/package/2006/relationships"><Relationship Id="rId1" Type="http://schemas.openxmlformats.org/officeDocument/2006/relationships/package" Target="../embeddings/Microsoft_Excel_Worksheet738.xlsx"/></Relationships>
</file>

<file path=ppt/charts/_rels/chart74.xml.rels><?xml version="1.0" encoding="UTF-8" standalone="yes"?>
<Relationships xmlns="http://schemas.openxmlformats.org/package/2006/relationships"><Relationship Id="rId1" Type="http://schemas.openxmlformats.org/officeDocument/2006/relationships/package" Target="../embeddings/Microsoft_Excel_Worksheet73.xlsx"/></Relationships>
</file>

<file path=ppt/charts/_rels/chart740.xml.rels><?xml version="1.0" encoding="UTF-8" standalone="yes"?>
<Relationships xmlns="http://schemas.openxmlformats.org/package/2006/relationships"><Relationship Id="rId1" Type="http://schemas.openxmlformats.org/officeDocument/2006/relationships/package" Target="../embeddings/Microsoft_Excel_Worksheet739.xlsx"/></Relationships>
</file>

<file path=ppt/charts/_rels/chart741.xml.rels><?xml version="1.0" encoding="UTF-8" standalone="yes"?>
<Relationships xmlns="http://schemas.openxmlformats.org/package/2006/relationships"><Relationship Id="rId1" Type="http://schemas.openxmlformats.org/officeDocument/2006/relationships/package" Target="../embeddings/Microsoft_Excel_Worksheet740.xlsx"/></Relationships>
</file>

<file path=ppt/charts/_rels/chart742.xml.rels><?xml version="1.0" encoding="UTF-8" standalone="yes"?>
<Relationships xmlns="http://schemas.openxmlformats.org/package/2006/relationships"><Relationship Id="rId1" Type="http://schemas.openxmlformats.org/officeDocument/2006/relationships/package" Target="../embeddings/Microsoft_Excel_Worksheet741.xlsx"/></Relationships>
</file>

<file path=ppt/charts/_rels/chart743.xml.rels><?xml version="1.0" encoding="UTF-8" standalone="yes"?>
<Relationships xmlns="http://schemas.openxmlformats.org/package/2006/relationships"><Relationship Id="rId1" Type="http://schemas.openxmlformats.org/officeDocument/2006/relationships/package" Target="../embeddings/Microsoft_Excel_Worksheet742.xlsx"/></Relationships>
</file>

<file path=ppt/charts/_rels/chart744.xml.rels><?xml version="1.0" encoding="UTF-8" standalone="yes"?>
<Relationships xmlns="http://schemas.openxmlformats.org/package/2006/relationships"><Relationship Id="rId1" Type="http://schemas.openxmlformats.org/officeDocument/2006/relationships/package" Target="../embeddings/Microsoft_Excel_Worksheet743.xlsx"/></Relationships>
</file>

<file path=ppt/charts/_rels/chart745.xml.rels><?xml version="1.0" encoding="UTF-8" standalone="yes"?>
<Relationships xmlns="http://schemas.openxmlformats.org/package/2006/relationships"><Relationship Id="rId1" Type="http://schemas.openxmlformats.org/officeDocument/2006/relationships/package" Target="../embeddings/Microsoft_Excel_Worksheet744.xlsx"/></Relationships>
</file>

<file path=ppt/charts/_rels/chart746.xml.rels><?xml version="1.0" encoding="UTF-8" standalone="yes"?>
<Relationships xmlns="http://schemas.openxmlformats.org/package/2006/relationships"><Relationship Id="rId1" Type="http://schemas.openxmlformats.org/officeDocument/2006/relationships/package" Target="../embeddings/Microsoft_Excel_Worksheet745.xlsx"/></Relationships>
</file>

<file path=ppt/charts/_rels/chart747.xml.rels><?xml version="1.0" encoding="UTF-8" standalone="yes"?>
<Relationships xmlns="http://schemas.openxmlformats.org/package/2006/relationships"><Relationship Id="rId1" Type="http://schemas.openxmlformats.org/officeDocument/2006/relationships/package" Target="../embeddings/Microsoft_Excel_Worksheet746.xlsx"/></Relationships>
</file>

<file path=ppt/charts/_rels/chart748.xml.rels><?xml version="1.0" encoding="UTF-8" standalone="yes"?>
<Relationships xmlns="http://schemas.openxmlformats.org/package/2006/relationships"><Relationship Id="rId1" Type="http://schemas.openxmlformats.org/officeDocument/2006/relationships/package" Target="../embeddings/Microsoft_Excel_Worksheet747.xlsx"/></Relationships>
</file>

<file path=ppt/charts/_rels/chart749.xml.rels><?xml version="1.0" encoding="UTF-8" standalone="yes"?>
<Relationships xmlns="http://schemas.openxmlformats.org/package/2006/relationships"><Relationship Id="rId1" Type="http://schemas.openxmlformats.org/officeDocument/2006/relationships/package" Target="../embeddings/Microsoft_Excel_Worksheet748.xlsx"/></Relationships>
</file>

<file path=ppt/charts/_rels/chart75.xml.rels><?xml version="1.0" encoding="UTF-8" standalone="yes"?>
<Relationships xmlns="http://schemas.openxmlformats.org/package/2006/relationships"><Relationship Id="rId1" Type="http://schemas.openxmlformats.org/officeDocument/2006/relationships/package" Target="../embeddings/Microsoft_Excel_Worksheet74.xlsx"/></Relationships>
</file>

<file path=ppt/charts/_rels/chart750.xml.rels><?xml version="1.0" encoding="UTF-8" standalone="yes"?>
<Relationships xmlns="http://schemas.openxmlformats.org/package/2006/relationships"><Relationship Id="rId1" Type="http://schemas.openxmlformats.org/officeDocument/2006/relationships/package" Target="../embeddings/Microsoft_Excel_Worksheet749.xlsx"/></Relationships>
</file>

<file path=ppt/charts/_rels/chart751.xml.rels><?xml version="1.0" encoding="UTF-8" standalone="yes"?>
<Relationships xmlns="http://schemas.openxmlformats.org/package/2006/relationships"><Relationship Id="rId1" Type="http://schemas.openxmlformats.org/officeDocument/2006/relationships/package" Target="../embeddings/Microsoft_Excel_Worksheet750.xlsx"/></Relationships>
</file>

<file path=ppt/charts/_rels/chart752.xml.rels><?xml version="1.0" encoding="UTF-8" standalone="yes"?>
<Relationships xmlns="http://schemas.openxmlformats.org/package/2006/relationships"><Relationship Id="rId1" Type="http://schemas.openxmlformats.org/officeDocument/2006/relationships/package" Target="../embeddings/Microsoft_Excel_Worksheet751.xlsx"/></Relationships>
</file>

<file path=ppt/charts/_rels/chart753.xml.rels><?xml version="1.0" encoding="UTF-8" standalone="yes"?>
<Relationships xmlns="http://schemas.openxmlformats.org/package/2006/relationships"><Relationship Id="rId1" Type="http://schemas.openxmlformats.org/officeDocument/2006/relationships/package" Target="../embeddings/Microsoft_Excel_Worksheet752.xlsx"/></Relationships>
</file>

<file path=ppt/charts/_rels/chart754.xml.rels><?xml version="1.0" encoding="UTF-8" standalone="yes"?>
<Relationships xmlns="http://schemas.openxmlformats.org/package/2006/relationships"><Relationship Id="rId1" Type="http://schemas.openxmlformats.org/officeDocument/2006/relationships/package" Target="../embeddings/Microsoft_Excel_Worksheet753.xlsx"/></Relationships>
</file>

<file path=ppt/charts/_rels/chart755.xml.rels><?xml version="1.0" encoding="UTF-8" standalone="yes"?>
<Relationships xmlns="http://schemas.openxmlformats.org/package/2006/relationships"><Relationship Id="rId1" Type="http://schemas.openxmlformats.org/officeDocument/2006/relationships/package" Target="../embeddings/Microsoft_Excel_Worksheet754.xlsx"/></Relationships>
</file>

<file path=ppt/charts/_rels/chart756.xml.rels><?xml version="1.0" encoding="UTF-8" standalone="yes"?>
<Relationships xmlns="http://schemas.openxmlformats.org/package/2006/relationships"><Relationship Id="rId1" Type="http://schemas.openxmlformats.org/officeDocument/2006/relationships/package" Target="../embeddings/Microsoft_Excel_Worksheet755.xlsx"/></Relationships>
</file>

<file path=ppt/charts/_rels/chart757.xml.rels><?xml version="1.0" encoding="UTF-8" standalone="yes"?>
<Relationships xmlns="http://schemas.openxmlformats.org/package/2006/relationships"><Relationship Id="rId1" Type="http://schemas.openxmlformats.org/officeDocument/2006/relationships/package" Target="../embeddings/Microsoft_Excel_Worksheet756.xlsx"/></Relationships>
</file>

<file path=ppt/charts/_rels/chart758.xml.rels><?xml version="1.0" encoding="UTF-8" standalone="yes"?>
<Relationships xmlns="http://schemas.openxmlformats.org/package/2006/relationships"><Relationship Id="rId1" Type="http://schemas.openxmlformats.org/officeDocument/2006/relationships/package" Target="../embeddings/Microsoft_Excel_Worksheet757.xlsx"/></Relationships>
</file>

<file path=ppt/charts/_rels/chart759.xml.rels><?xml version="1.0" encoding="UTF-8" standalone="yes"?>
<Relationships xmlns="http://schemas.openxmlformats.org/package/2006/relationships"><Relationship Id="rId1" Type="http://schemas.openxmlformats.org/officeDocument/2006/relationships/package" Target="../embeddings/Microsoft_Excel_Worksheet758.xlsx"/></Relationships>
</file>

<file path=ppt/charts/_rels/chart76.xml.rels><?xml version="1.0" encoding="UTF-8" standalone="yes"?>
<Relationships xmlns="http://schemas.openxmlformats.org/package/2006/relationships"><Relationship Id="rId1" Type="http://schemas.openxmlformats.org/officeDocument/2006/relationships/package" Target="../embeddings/Microsoft_Excel_Worksheet75.xlsx"/></Relationships>
</file>

<file path=ppt/charts/_rels/chart760.xml.rels><?xml version="1.0" encoding="UTF-8" standalone="yes"?>
<Relationships xmlns="http://schemas.openxmlformats.org/package/2006/relationships"><Relationship Id="rId1" Type="http://schemas.openxmlformats.org/officeDocument/2006/relationships/package" Target="../embeddings/Microsoft_Excel_Worksheet759.xlsx"/></Relationships>
</file>

<file path=ppt/charts/_rels/chart761.xml.rels><?xml version="1.0" encoding="UTF-8" standalone="yes"?>
<Relationships xmlns="http://schemas.openxmlformats.org/package/2006/relationships"><Relationship Id="rId1" Type="http://schemas.openxmlformats.org/officeDocument/2006/relationships/package" Target="../embeddings/Microsoft_Excel_Worksheet760.xlsx"/></Relationships>
</file>

<file path=ppt/charts/_rels/chart762.xml.rels><?xml version="1.0" encoding="UTF-8" standalone="yes"?>
<Relationships xmlns="http://schemas.openxmlformats.org/package/2006/relationships"><Relationship Id="rId1" Type="http://schemas.openxmlformats.org/officeDocument/2006/relationships/package" Target="../embeddings/Microsoft_Excel_Worksheet761.xlsx"/></Relationships>
</file>

<file path=ppt/charts/_rels/chart763.xml.rels><?xml version="1.0" encoding="UTF-8" standalone="yes"?>
<Relationships xmlns="http://schemas.openxmlformats.org/package/2006/relationships"><Relationship Id="rId1" Type="http://schemas.openxmlformats.org/officeDocument/2006/relationships/package" Target="../embeddings/Microsoft_Excel_Worksheet762.xlsx"/></Relationships>
</file>

<file path=ppt/charts/_rels/chart764.xml.rels><?xml version="1.0" encoding="UTF-8" standalone="yes"?>
<Relationships xmlns="http://schemas.openxmlformats.org/package/2006/relationships"><Relationship Id="rId1" Type="http://schemas.openxmlformats.org/officeDocument/2006/relationships/package" Target="../embeddings/Microsoft_Excel_Worksheet763.xlsx"/></Relationships>
</file>

<file path=ppt/charts/_rels/chart765.xml.rels><?xml version="1.0" encoding="UTF-8" standalone="yes"?>
<Relationships xmlns="http://schemas.openxmlformats.org/package/2006/relationships"><Relationship Id="rId1" Type="http://schemas.openxmlformats.org/officeDocument/2006/relationships/package" Target="../embeddings/Microsoft_Excel_Worksheet764.xlsx"/></Relationships>
</file>

<file path=ppt/charts/_rels/chart766.xml.rels><?xml version="1.0" encoding="UTF-8" standalone="yes"?>
<Relationships xmlns="http://schemas.openxmlformats.org/package/2006/relationships"><Relationship Id="rId1" Type="http://schemas.openxmlformats.org/officeDocument/2006/relationships/package" Target="../embeddings/Microsoft_Excel_Worksheet765.xlsx"/></Relationships>
</file>

<file path=ppt/charts/_rels/chart767.xml.rels><?xml version="1.0" encoding="UTF-8" standalone="yes"?>
<Relationships xmlns="http://schemas.openxmlformats.org/package/2006/relationships"><Relationship Id="rId1" Type="http://schemas.openxmlformats.org/officeDocument/2006/relationships/package" Target="../embeddings/Microsoft_Excel_Worksheet766.xlsx"/></Relationships>
</file>

<file path=ppt/charts/_rels/chart768.xml.rels><?xml version="1.0" encoding="UTF-8" standalone="yes"?>
<Relationships xmlns="http://schemas.openxmlformats.org/package/2006/relationships"><Relationship Id="rId1" Type="http://schemas.openxmlformats.org/officeDocument/2006/relationships/package" Target="../embeddings/Microsoft_Excel_Worksheet767.xlsx"/></Relationships>
</file>

<file path=ppt/charts/_rels/chart769.xml.rels><?xml version="1.0" encoding="UTF-8" standalone="yes"?>
<Relationships xmlns="http://schemas.openxmlformats.org/package/2006/relationships"><Relationship Id="rId1" Type="http://schemas.openxmlformats.org/officeDocument/2006/relationships/package" Target="../embeddings/Microsoft_Excel_Worksheet768.xlsx"/></Relationships>
</file>

<file path=ppt/charts/_rels/chart77.xml.rels><?xml version="1.0" encoding="UTF-8" standalone="yes"?>
<Relationships xmlns="http://schemas.openxmlformats.org/package/2006/relationships"><Relationship Id="rId1" Type="http://schemas.openxmlformats.org/officeDocument/2006/relationships/package" Target="../embeddings/Microsoft_Excel_Worksheet76.xlsx"/></Relationships>
</file>

<file path=ppt/charts/_rels/chart770.xml.rels><?xml version="1.0" encoding="UTF-8" standalone="yes"?>
<Relationships xmlns="http://schemas.openxmlformats.org/package/2006/relationships"><Relationship Id="rId1" Type="http://schemas.openxmlformats.org/officeDocument/2006/relationships/package" Target="../embeddings/Microsoft_Excel_Worksheet769.xlsx"/></Relationships>
</file>

<file path=ppt/charts/_rels/chart771.xml.rels><?xml version="1.0" encoding="UTF-8" standalone="yes"?>
<Relationships xmlns="http://schemas.openxmlformats.org/package/2006/relationships"><Relationship Id="rId1" Type="http://schemas.openxmlformats.org/officeDocument/2006/relationships/package" Target="../embeddings/Microsoft_Excel_Worksheet770.xlsx"/></Relationships>
</file>

<file path=ppt/charts/_rels/chart772.xml.rels><?xml version="1.0" encoding="UTF-8" standalone="yes"?>
<Relationships xmlns="http://schemas.openxmlformats.org/package/2006/relationships"><Relationship Id="rId1" Type="http://schemas.openxmlformats.org/officeDocument/2006/relationships/package" Target="../embeddings/Microsoft_Excel_Worksheet771.xlsx"/></Relationships>
</file>

<file path=ppt/charts/_rels/chart773.xml.rels><?xml version="1.0" encoding="UTF-8" standalone="yes"?>
<Relationships xmlns="http://schemas.openxmlformats.org/package/2006/relationships"><Relationship Id="rId1" Type="http://schemas.openxmlformats.org/officeDocument/2006/relationships/package" Target="../embeddings/Microsoft_Excel_Worksheet772.xlsx"/></Relationships>
</file>

<file path=ppt/charts/_rels/chart774.xml.rels><?xml version="1.0" encoding="UTF-8" standalone="yes"?>
<Relationships xmlns="http://schemas.openxmlformats.org/package/2006/relationships"><Relationship Id="rId1" Type="http://schemas.openxmlformats.org/officeDocument/2006/relationships/package" Target="../embeddings/Microsoft_Excel_Worksheet773.xlsx"/></Relationships>
</file>

<file path=ppt/charts/_rels/chart775.xml.rels><?xml version="1.0" encoding="UTF-8" standalone="yes"?>
<Relationships xmlns="http://schemas.openxmlformats.org/package/2006/relationships"><Relationship Id="rId1" Type="http://schemas.openxmlformats.org/officeDocument/2006/relationships/package" Target="../embeddings/Microsoft_Excel_Worksheet774.xlsx"/></Relationships>
</file>

<file path=ppt/charts/_rels/chart776.xml.rels><?xml version="1.0" encoding="UTF-8" standalone="yes"?>
<Relationships xmlns="http://schemas.openxmlformats.org/package/2006/relationships"><Relationship Id="rId1" Type="http://schemas.openxmlformats.org/officeDocument/2006/relationships/package" Target="../embeddings/Microsoft_Excel_Worksheet775.xlsx"/></Relationships>
</file>

<file path=ppt/charts/_rels/chart777.xml.rels><?xml version="1.0" encoding="UTF-8" standalone="yes"?>
<Relationships xmlns="http://schemas.openxmlformats.org/package/2006/relationships"><Relationship Id="rId1" Type="http://schemas.openxmlformats.org/officeDocument/2006/relationships/package" Target="../embeddings/Microsoft_Excel_Worksheet776.xlsx"/></Relationships>
</file>

<file path=ppt/charts/_rels/chart778.xml.rels><?xml version="1.0" encoding="UTF-8" standalone="yes"?>
<Relationships xmlns="http://schemas.openxmlformats.org/package/2006/relationships"><Relationship Id="rId1" Type="http://schemas.openxmlformats.org/officeDocument/2006/relationships/package" Target="../embeddings/Microsoft_Excel_Worksheet777.xlsx"/></Relationships>
</file>

<file path=ppt/charts/_rels/chart779.xml.rels><?xml version="1.0" encoding="UTF-8" standalone="yes"?>
<Relationships xmlns="http://schemas.openxmlformats.org/package/2006/relationships"><Relationship Id="rId1" Type="http://schemas.openxmlformats.org/officeDocument/2006/relationships/package" Target="../embeddings/Microsoft_Excel_Worksheet778.xlsx"/></Relationships>
</file>

<file path=ppt/charts/_rels/chart78.xml.rels><?xml version="1.0" encoding="UTF-8" standalone="yes"?>
<Relationships xmlns="http://schemas.openxmlformats.org/package/2006/relationships"><Relationship Id="rId1" Type="http://schemas.openxmlformats.org/officeDocument/2006/relationships/package" Target="../embeddings/Microsoft_Excel_Worksheet77.xlsx"/></Relationships>
</file>

<file path=ppt/charts/_rels/chart780.xml.rels><?xml version="1.0" encoding="UTF-8" standalone="yes"?>
<Relationships xmlns="http://schemas.openxmlformats.org/package/2006/relationships"><Relationship Id="rId1" Type="http://schemas.openxmlformats.org/officeDocument/2006/relationships/package" Target="../embeddings/Microsoft_Excel_Worksheet779.xlsx"/></Relationships>
</file>

<file path=ppt/charts/_rels/chart781.xml.rels><?xml version="1.0" encoding="UTF-8" standalone="yes"?>
<Relationships xmlns="http://schemas.openxmlformats.org/package/2006/relationships"><Relationship Id="rId1" Type="http://schemas.openxmlformats.org/officeDocument/2006/relationships/package" Target="../embeddings/Microsoft_Excel_Worksheet780.xlsx"/></Relationships>
</file>

<file path=ppt/charts/_rels/chart782.xml.rels><?xml version="1.0" encoding="UTF-8" standalone="yes"?>
<Relationships xmlns="http://schemas.openxmlformats.org/package/2006/relationships"><Relationship Id="rId1" Type="http://schemas.openxmlformats.org/officeDocument/2006/relationships/package" Target="../embeddings/Microsoft_Excel_Worksheet781.xlsx"/></Relationships>
</file>

<file path=ppt/charts/_rels/chart783.xml.rels><?xml version="1.0" encoding="UTF-8" standalone="yes"?>
<Relationships xmlns="http://schemas.openxmlformats.org/package/2006/relationships"><Relationship Id="rId1" Type="http://schemas.openxmlformats.org/officeDocument/2006/relationships/package" Target="../embeddings/Microsoft_Excel_Worksheet782.xlsx"/></Relationships>
</file>

<file path=ppt/charts/_rels/chart784.xml.rels><?xml version="1.0" encoding="UTF-8" standalone="yes"?>
<Relationships xmlns="http://schemas.openxmlformats.org/package/2006/relationships"><Relationship Id="rId1" Type="http://schemas.openxmlformats.org/officeDocument/2006/relationships/package" Target="../embeddings/Microsoft_Excel_Worksheet783.xlsx"/></Relationships>
</file>

<file path=ppt/charts/_rels/chart785.xml.rels><?xml version="1.0" encoding="UTF-8" standalone="yes"?>
<Relationships xmlns="http://schemas.openxmlformats.org/package/2006/relationships"><Relationship Id="rId1" Type="http://schemas.openxmlformats.org/officeDocument/2006/relationships/package" Target="../embeddings/Microsoft_Excel_Worksheet784.xlsx"/></Relationships>
</file>

<file path=ppt/charts/_rels/chart786.xml.rels><?xml version="1.0" encoding="UTF-8" standalone="yes"?>
<Relationships xmlns="http://schemas.openxmlformats.org/package/2006/relationships"><Relationship Id="rId1" Type="http://schemas.openxmlformats.org/officeDocument/2006/relationships/package" Target="../embeddings/Microsoft_Excel_Worksheet785.xlsx"/></Relationships>
</file>

<file path=ppt/charts/_rels/chart787.xml.rels><?xml version="1.0" encoding="UTF-8" standalone="yes"?>
<Relationships xmlns="http://schemas.openxmlformats.org/package/2006/relationships"><Relationship Id="rId1" Type="http://schemas.openxmlformats.org/officeDocument/2006/relationships/package" Target="../embeddings/Microsoft_Excel_Worksheet786.xlsx"/></Relationships>
</file>

<file path=ppt/charts/_rels/chart788.xml.rels><?xml version="1.0" encoding="UTF-8" standalone="yes"?>
<Relationships xmlns="http://schemas.openxmlformats.org/package/2006/relationships"><Relationship Id="rId1" Type="http://schemas.openxmlformats.org/officeDocument/2006/relationships/package" Target="../embeddings/Microsoft_Excel_Worksheet787.xlsx"/></Relationships>
</file>

<file path=ppt/charts/_rels/chart789.xml.rels><?xml version="1.0" encoding="UTF-8" standalone="yes"?>
<Relationships xmlns="http://schemas.openxmlformats.org/package/2006/relationships"><Relationship Id="rId1" Type="http://schemas.openxmlformats.org/officeDocument/2006/relationships/package" Target="../embeddings/Microsoft_Excel_Worksheet788.xlsx"/></Relationships>
</file>

<file path=ppt/charts/_rels/chart79.xml.rels><?xml version="1.0" encoding="UTF-8" standalone="yes"?>
<Relationships xmlns="http://schemas.openxmlformats.org/package/2006/relationships"><Relationship Id="rId1" Type="http://schemas.openxmlformats.org/officeDocument/2006/relationships/package" Target="../embeddings/Microsoft_Excel_Worksheet78.xlsx"/></Relationships>
</file>

<file path=ppt/charts/_rels/chart790.xml.rels><?xml version="1.0" encoding="UTF-8" standalone="yes"?>
<Relationships xmlns="http://schemas.openxmlformats.org/package/2006/relationships"><Relationship Id="rId1" Type="http://schemas.openxmlformats.org/officeDocument/2006/relationships/package" Target="../embeddings/Microsoft_Excel_Worksheet789.xlsx"/></Relationships>
</file>

<file path=ppt/charts/_rels/chart791.xml.rels><?xml version="1.0" encoding="UTF-8" standalone="yes"?>
<Relationships xmlns="http://schemas.openxmlformats.org/package/2006/relationships"><Relationship Id="rId1" Type="http://schemas.openxmlformats.org/officeDocument/2006/relationships/package" Target="../embeddings/Microsoft_Excel_Worksheet790.xlsx"/></Relationships>
</file>

<file path=ppt/charts/_rels/chart792.xml.rels><?xml version="1.0" encoding="UTF-8" standalone="yes"?>
<Relationships xmlns="http://schemas.openxmlformats.org/package/2006/relationships"><Relationship Id="rId1" Type="http://schemas.openxmlformats.org/officeDocument/2006/relationships/package" Target="../embeddings/Microsoft_Excel_Worksheet791.xlsx"/></Relationships>
</file>

<file path=ppt/charts/_rels/chart793.xml.rels><?xml version="1.0" encoding="UTF-8" standalone="yes"?>
<Relationships xmlns="http://schemas.openxmlformats.org/package/2006/relationships"><Relationship Id="rId1" Type="http://schemas.openxmlformats.org/officeDocument/2006/relationships/package" Target="../embeddings/Microsoft_Excel_Worksheet792.xlsx"/></Relationships>
</file>

<file path=ppt/charts/_rels/chart794.xml.rels><?xml version="1.0" encoding="UTF-8" standalone="yes"?>
<Relationships xmlns="http://schemas.openxmlformats.org/package/2006/relationships"><Relationship Id="rId1" Type="http://schemas.openxmlformats.org/officeDocument/2006/relationships/package" Target="../embeddings/Microsoft_Excel_Worksheet793.xlsx"/></Relationships>
</file>

<file path=ppt/charts/_rels/chart795.xml.rels><?xml version="1.0" encoding="UTF-8" standalone="yes"?>
<Relationships xmlns="http://schemas.openxmlformats.org/package/2006/relationships"><Relationship Id="rId1" Type="http://schemas.openxmlformats.org/officeDocument/2006/relationships/package" Target="../embeddings/Microsoft_Excel_Worksheet794.xlsx"/></Relationships>
</file>

<file path=ppt/charts/_rels/chart796.xml.rels><?xml version="1.0" encoding="UTF-8" standalone="yes"?>
<Relationships xmlns="http://schemas.openxmlformats.org/package/2006/relationships"><Relationship Id="rId1" Type="http://schemas.openxmlformats.org/officeDocument/2006/relationships/package" Target="../embeddings/Microsoft_Excel_Worksheet795.xlsx"/></Relationships>
</file>

<file path=ppt/charts/_rels/chart797.xml.rels><?xml version="1.0" encoding="UTF-8" standalone="yes"?>
<Relationships xmlns="http://schemas.openxmlformats.org/package/2006/relationships"><Relationship Id="rId1" Type="http://schemas.openxmlformats.org/officeDocument/2006/relationships/package" Target="../embeddings/Microsoft_Excel_Worksheet796.xlsx"/></Relationships>
</file>

<file path=ppt/charts/_rels/chart798.xml.rels><?xml version="1.0" encoding="UTF-8" standalone="yes"?>
<Relationships xmlns="http://schemas.openxmlformats.org/package/2006/relationships"><Relationship Id="rId1" Type="http://schemas.openxmlformats.org/officeDocument/2006/relationships/package" Target="../embeddings/Microsoft_Excel_Worksheet797.xlsx"/></Relationships>
</file>

<file path=ppt/charts/_rels/chart799.xml.rels><?xml version="1.0" encoding="UTF-8" standalone="yes"?>
<Relationships xmlns="http://schemas.openxmlformats.org/package/2006/relationships"><Relationship Id="rId1" Type="http://schemas.openxmlformats.org/officeDocument/2006/relationships/package" Target="../embeddings/Microsoft_Excel_Worksheet798.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1" Type="http://schemas.openxmlformats.org/officeDocument/2006/relationships/package" Target="../embeddings/Microsoft_Excel_Worksheet79.xlsx"/></Relationships>
</file>

<file path=ppt/charts/_rels/chart800.xml.rels><?xml version="1.0" encoding="UTF-8" standalone="yes"?>
<Relationships xmlns="http://schemas.openxmlformats.org/package/2006/relationships"><Relationship Id="rId1" Type="http://schemas.openxmlformats.org/officeDocument/2006/relationships/package" Target="../embeddings/Microsoft_Excel_Worksheet799.xlsx"/></Relationships>
</file>

<file path=ppt/charts/_rels/chart801.xml.rels><?xml version="1.0" encoding="UTF-8" standalone="yes"?>
<Relationships xmlns="http://schemas.openxmlformats.org/package/2006/relationships"><Relationship Id="rId1" Type="http://schemas.openxmlformats.org/officeDocument/2006/relationships/package" Target="../embeddings/Microsoft_Excel_Worksheet800.xlsx"/></Relationships>
</file>

<file path=ppt/charts/_rels/chart802.xml.rels><?xml version="1.0" encoding="UTF-8" standalone="yes"?>
<Relationships xmlns="http://schemas.openxmlformats.org/package/2006/relationships"><Relationship Id="rId1" Type="http://schemas.openxmlformats.org/officeDocument/2006/relationships/package" Target="../embeddings/Microsoft_Excel_Worksheet801.xlsx"/></Relationships>
</file>

<file path=ppt/charts/_rels/chart803.xml.rels><?xml version="1.0" encoding="UTF-8" standalone="yes"?>
<Relationships xmlns="http://schemas.openxmlformats.org/package/2006/relationships"><Relationship Id="rId1" Type="http://schemas.openxmlformats.org/officeDocument/2006/relationships/package" Target="../embeddings/Microsoft_Excel_Worksheet802.xlsx"/></Relationships>
</file>

<file path=ppt/charts/_rels/chart804.xml.rels><?xml version="1.0" encoding="UTF-8" standalone="yes"?>
<Relationships xmlns="http://schemas.openxmlformats.org/package/2006/relationships"><Relationship Id="rId1" Type="http://schemas.openxmlformats.org/officeDocument/2006/relationships/package" Target="../embeddings/Microsoft_Excel_Worksheet803.xlsx"/></Relationships>
</file>

<file path=ppt/charts/_rels/chart805.xml.rels><?xml version="1.0" encoding="UTF-8" standalone="yes"?>
<Relationships xmlns="http://schemas.openxmlformats.org/package/2006/relationships"><Relationship Id="rId1" Type="http://schemas.openxmlformats.org/officeDocument/2006/relationships/package" Target="../embeddings/Microsoft_Excel_Worksheet804.xlsx"/></Relationships>
</file>

<file path=ppt/charts/_rels/chart806.xml.rels><?xml version="1.0" encoding="UTF-8" standalone="yes"?>
<Relationships xmlns="http://schemas.openxmlformats.org/package/2006/relationships"><Relationship Id="rId1" Type="http://schemas.openxmlformats.org/officeDocument/2006/relationships/package" Target="../embeddings/Microsoft_Excel_Worksheet805.xlsx"/></Relationships>
</file>

<file path=ppt/charts/_rels/chart807.xml.rels><?xml version="1.0" encoding="UTF-8" standalone="yes"?>
<Relationships xmlns="http://schemas.openxmlformats.org/package/2006/relationships"><Relationship Id="rId1" Type="http://schemas.openxmlformats.org/officeDocument/2006/relationships/package" Target="../embeddings/Microsoft_Excel_Worksheet806.xlsx"/></Relationships>
</file>

<file path=ppt/charts/_rels/chart808.xml.rels><?xml version="1.0" encoding="UTF-8" standalone="yes"?>
<Relationships xmlns="http://schemas.openxmlformats.org/package/2006/relationships"><Relationship Id="rId3" Type="http://schemas.openxmlformats.org/officeDocument/2006/relationships/package" Target="../embeddings/Microsoft_Excel_Worksheet807.xlsx"/><Relationship Id="rId2" Type="http://schemas.microsoft.com/office/2011/relationships/chartColorStyle" Target="colors1.xml"/><Relationship Id="rId1" Type="http://schemas.microsoft.com/office/2011/relationships/chartStyle" Target="style1.xml"/></Relationships>
</file>

<file path=ppt/charts/_rels/chart809.xml.rels><?xml version="1.0" encoding="UTF-8" standalone="yes"?>
<Relationships xmlns="http://schemas.openxmlformats.org/package/2006/relationships"><Relationship Id="rId3" Type="http://schemas.openxmlformats.org/officeDocument/2006/relationships/package" Target="../embeddings/Microsoft_Excel_Worksheet808.xlsx"/><Relationship Id="rId2" Type="http://schemas.microsoft.com/office/2011/relationships/chartColorStyle" Target="colors2.xml"/><Relationship Id="rId1" Type="http://schemas.microsoft.com/office/2011/relationships/chartStyle" Target="style2.xml"/></Relationships>
</file>

<file path=ppt/charts/_rels/chart81.xml.rels><?xml version="1.0" encoding="UTF-8" standalone="yes"?>
<Relationships xmlns="http://schemas.openxmlformats.org/package/2006/relationships"><Relationship Id="rId1" Type="http://schemas.openxmlformats.org/officeDocument/2006/relationships/package" Target="../embeddings/Microsoft_Excel_Worksheet80.xlsx"/></Relationships>
</file>

<file path=ppt/charts/_rels/chart810.xml.rels><?xml version="1.0" encoding="UTF-8" standalone="yes"?>
<Relationships xmlns="http://schemas.openxmlformats.org/package/2006/relationships"><Relationship Id="rId3" Type="http://schemas.openxmlformats.org/officeDocument/2006/relationships/package" Target="../embeddings/Microsoft_Excel_Worksheet809.xlsx"/><Relationship Id="rId2" Type="http://schemas.microsoft.com/office/2011/relationships/chartColorStyle" Target="colors3.xml"/><Relationship Id="rId1" Type="http://schemas.microsoft.com/office/2011/relationships/chartStyle" Target="style3.xml"/></Relationships>
</file>

<file path=ppt/charts/_rels/chart811.xml.rels><?xml version="1.0" encoding="UTF-8" standalone="yes"?>
<Relationships xmlns="http://schemas.openxmlformats.org/package/2006/relationships"><Relationship Id="rId3" Type="http://schemas.openxmlformats.org/officeDocument/2006/relationships/package" Target="../embeddings/Microsoft_Excel_Worksheet810.xlsx"/><Relationship Id="rId2" Type="http://schemas.microsoft.com/office/2011/relationships/chartColorStyle" Target="colors4.xml"/><Relationship Id="rId1" Type="http://schemas.microsoft.com/office/2011/relationships/chartStyle" Target="style4.xml"/></Relationships>
</file>

<file path=ppt/charts/_rels/chart812.xml.rels><?xml version="1.0" encoding="UTF-8" standalone="yes"?>
<Relationships xmlns="http://schemas.openxmlformats.org/package/2006/relationships"><Relationship Id="rId3" Type="http://schemas.openxmlformats.org/officeDocument/2006/relationships/package" Target="../embeddings/Microsoft_Excel_Worksheet811.xlsx"/><Relationship Id="rId2" Type="http://schemas.microsoft.com/office/2011/relationships/chartColorStyle" Target="colors5.xml"/><Relationship Id="rId1" Type="http://schemas.microsoft.com/office/2011/relationships/chartStyle" Target="style5.xml"/></Relationships>
</file>

<file path=ppt/charts/_rels/chart813.xml.rels><?xml version="1.0" encoding="UTF-8" standalone="yes"?>
<Relationships xmlns="http://schemas.openxmlformats.org/package/2006/relationships"><Relationship Id="rId3" Type="http://schemas.openxmlformats.org/officeDocument/2006/relationships/package" Target="../embeddings/Microsoft_Excel_Worksheet812.xlsx"/><Relationship Id="rId2" Type="http://schemas.microsoft.com/office/2011/relationships/chartColorStyle" Target="colors6.xml"/><Relationship Id="rId1" Type="http://schemas.microsoft.com/office/2011/relationships/chartStyle" Target="style6.xml"/></Relationships>
</file>

<file path=ppt/charts/_rels/chart814.xml.rels><?xml version="1.0" encoding="UTF-8" standalone="yes"?>
<Relationships xmlns="http://schemas.openxmlformats.org/package/2006/relationships"><Relationship Id="rId3" Type="http://schemas.openxmlformats.org/officeDocument/2006/relationships/package" Target="../embeddings/Microsoft_Excel_Worksheet813.xlsx"/><Relationship Id="rId2" Type="http://schemas.microsoft.com/office/2011/relationships/chartColorStyle" Target="colors7.xml"/><Relationship Id="rId1" Type="http://schemas.microsoft.com/office/2011/relationships/chartStyle" Target="style7.xml"/></Relationships>
</file>

<file path=ppt/charts/_rels/chart815.xml.rels><?xml version="1.0" encoding="UTF-8" standalone="yes"?>
<Relationships xmlns="http://schemas.openxmlformats.org/package/2006/relationships"><Relationship Id="rId3" Type="http://schemas.openxmlformats.org/officeDocument/2006/relationships/package" Target="../embeddings/Microsoft_Excel_Worksheet814.xlsx"/><Relationship Id="rId2" Type="http://schemas.microsoft.com/office/2011/relationships/chartColorStyle" Target="colors8.xml"/><Relationship Id="rId1" Type="http://schemas.microsoft.com/office/2011/relationships/chartStyle" Target="style8.xml"/></Relationships>
</file>

<file path=ppt/charts/_rels/chart816.xml.rels><?xml version="1.0" encoding="UTF-8" standalone="yes"?>
<Relationships xmlns="http://schemas.openxmlformats.org/package/2006/relationships"><Relationship Id="rId3" Type="http://schemas.openxmlformats.org/officeDocument/2006/relationships/package" Target="../embeddings/Microsoft_Excel_Worksheet815.xlsx"/><Relationship Id="rId2" Type="http://schemas.microsoft.com/office/2011/relationships/chartColorStyle" Target="colors9.xml"/><Relationship Id="rId1" Type="http://schemas.microsoft.com/office/2011/relationships/chartStyle" Target="style9.xml"/></Relationships>
</file>

<file path=ppt/charts/_rels/chart817.xml.rels><?xml version="1.0" encoding="UTF-8" standalone="yes"?>
<Relationships xmlns="http://schemas.openxmlformats.org/package/2006/relationships"><Relationship Id="rId3" Type="http://schemas.openxmlformats.org/officeDocument/2006/relationships/package" Target="../embeddings/Microsoft_Excel_Worksheet816.xlsx"/><Relationship Id="rId2" Type="http://schemas.microsoft.com/office/2011/relationships/chartColorStyle" Target="colors10.xml"/><Relationship Id="rId1" Type="http://schemas.microsoft.com/office/2011/relationships/chartStyle" Target="style10.xml"/></Relationships>
</file>

<file path=ppt/charts/_rels/chart818.xml.rels><?xml version="1.0" encoding="UTF-8" standalone="yes"?>
<Relationships xmlns="http://schemas.openxmlformats.org/package/2006/relationships"><Relationship Id="rId3" Type="http://schemas.openxmlformats.org/officeDocument/2006/relationships/package" Target="../embeddings/Microsoft_Excel_Worksheet817.xlsx"/><Relationship Id="rId2" Type="http://schemas.microsoft.com/office/2011/relationships/chartColorStyle" Target="colors11.xml"/><Relationship Id="rId1" Type="http://schemas.microsoft.com/office/2011/relationships/chartStyle" Target="style11.xml"/></Relationships>
</file>

<file path=ppt/charts/_rels/chart819.xml.rels><?xml version="1.0" encoding="UTF-8" standalone="yes"?>
<Relationships xmlns="http://schemas.openxmlformats.org/package/2006/relationships"><Relationship Id="rId3" Type="http://schemas.openxmlformats.org/officeDocument/2006/relationships/package" Target="../embeddings/Microsoft_Excel_Worksheet818.xlsx"/><Relationship Id="rId2" Type="http://schemas.microsoft.com/office/2011/relationships/chartColorStyle" Target="colors12.xml"/><Relationship Id="rId1" Type="http://schemas.microsoft.com/office/2011/relationships/chartStyle" Target="style12.xml"/></Relationships>
</file>

<file path=ppt/charts/_rels/chart82.xml.rels><?xml version="1.0" encoding="UTF-8" standalone="yes"?>
<Relationships xmlns="http://schemas.openxmlformats.org/package/2006/relationships"><Relationship Id="rId1" Type="http://schemas.openxmlformats.org/officeDocument/2006/relationships/package" Target="../embeddings/Microsoft_Excel_Worksheet81.xlsx"/></Relationships>
</file>

<file path=ppt/charts/_rels/chart820.xml.rels><?xml version="1.0" encoding="UTF-8" standalone="yes"?>
<Relationships xmlns="http://schemas.openxmlformats.org/package/2006/relationships"><Relationship Id="rId3" Type="http://schemas.openxmlformats.org/officeDocument/2006/relationships/package" Target="../embeddings/Microsoft_Excel_Worksheet819.xlsx"/><Relationship Id="rId2" Type="http://schemas.microsoft.com/office/2011/relationships/chartColorStyle" Target="colors13.xml"/><Relationship Id="rId1" Type="http://schemas.microsoft.com/office/2011/relationships/chartStyle" Target="style13.xml"/></Relationships>
</file>

<file path=ppt/charts/_rels/chart821.xml.rels><?xml version="1.0" encoding="UTF-8" standalone="yes"?>
<Relationships xmlns="http://schemas.openxmlformats.org/package/2006/relationships"><Relationship Id="rId3" Type="http://schemas.openxmlformats.org/officeDocument/2006/relationships/package" Target="../embeddings/Microsoft_Excel_Worksheet820.xlsx"/><Relationship Id="rId2" Type="http://schemas.microsoft.com/office/2011/relationships/chartColorStyle" Target="colors14.xml"/><Relationship Id="rId1" Type="http://schemas.microsoft.com/office/2011/relationships/chartStyle" Target="style14.xml"/></Relationships>
</file>

<file path=ppt/charts/_rels/chart822.xml.rels><?xml version="1.0" encoding="UTF-8" standalone="yes"?>
<Relationships xmlns="http://schemas.openxmlformats.org/package/2006/relationships"><Relationship Id="rId3" Type="http://schemas.openxmlformats.org/officeDocument/2006/relationships/package" Target="../embeddings/Microsoft_Excel_Worksheet821.xlsx"/><Relationship Id="rId2" Type="http://schemas.microsoft.com/office/2011/relationships/chartColorStyle" Target="colors15.xml"/><Relationship Id="rId1" Type="http://schemas.microsoft.com/office/2011/relationships/chartStyle" Target="style15.xml"/></Relationships>
</file>

<file path=ppt/charts/_rels/chart823.xml.rels><?xml version="1.0" encoding="UTF-8" standalone="yes"?>
<Relationships xmlns="http://schemas.openxmlformats.org/package/2006/relationships"><Relationship Id="rId3" Type="http://schemas.openxmlformats.org/officeDocument/2006/relationships/package" Target="../embeddings/Microsoft_Excel_Worksheet822.xlsx"/><Relationship Id="rId2" Type="http://schemas.microsoft.com/office/2011/relationships/chartColorStyle" Target="colors16.xml"/><Relationship Id="rId1" Type="http://schemas.microsoft.com/office/2011/relationships/chartStyle" Target="style16.xml"/></Relationships>
</file>

<file path=ppt/charts/_rels/chart824.xml.rels><?xml version="1.0" encoding="UTF-8" standalone="yes"?>
<Relationships xmlns="http://schemas.openxmlformats.org/package/2006/relationships"><Relationship Id="rId3" Type="http://schemas.openxmlformats.org/officeDocument/2006/relationships/package" Target="../embeddings/Microsoft_Excel_Worksheet823.xlsx"/><Relationship Id="rId2" Type="http://schemas.microsoft.com/office/2011/relationships/chartColorStyle" Target="colors17.xml"/><Relationship Id="rId1" Type="http://schemas.microsoft.com/office/2011/relationships/chartStyle" Target="style17.xml"/></Relationships>
</file>

<file path=ppt/charts/_rels/chart825.xml.rels><?xml version="1.0" encoding="UTF-8" standalone="yes"?>
<Relationships xmlns="http://schemas.openxmlformats.org/package/2006/relationships"><Relationship Id="rId3" Type="http://schemas.openxmlformats.org/officeDocument/2006/relationships/package" Target="../embeddings/Microsoft_Excel_Worksheet824.xlsx"/><Relationship Id="rId2" Type="http://schemas.microsoft.com/office/2011/relationships/chartColorStyle" Target="colors18.xml"/><Relationship Id="rId1" Type="http://schemas.microsoft.com/office/2011/relationships/chartStyle" Target="style18.xml"/></Relationships>
</file>

<file path=ppt/charts/_rels/chart826.xml.rels><?xml version="1.0" encoding="UTF-8" standalone="yes"?>
<Relationships xmlns="http://schemas.openxmlformats.org/package/2006/relationships"><Relationship Id="rId3" Type="http://schemas.openxmlformats.org/officeDocument/2006/relationships/package" Target="../embeddings/Microsoft_Excel_Worksheet825.xlsx"/><Relationship Id="rId2" Type="http://schemas.microsoft.com/office/2011/relationships/chartColorStyle" Target="colors19.xml"/><Relationship Id="rId1" Type="http://schemas.microsoft.com/office/2011/relationships/chartStyle" Target="style19.xml"/></Relationships>
</file>

<file path=ppt/charts/_rels/chart827.xml.rels><?xml version="1.0" encoding="UTF-8" standalone="yes"?>
<Relationships xmlns="http://schemas.openxmlformats.org/package/2006/relationships"><Relationship Id="rId3" Type="http://schemas.openxmlformats.org/officeDocument/2006/relationships/package" Target="../embeddings/Microsoft_Excel_Worksheet826.xlsx"/><Relationship Id="rId2" Type="http://schemas.microsoft.com/office/2011/relationships/chartColorStyle" Target="colors20.xml"/><Relationship Id="rId1" Type="http://schemas.microsoft.com/office/2011/relationships/chartStyle" Target="style20.xml"/></Relationships>
</file>

<file path=ppt/charts/_rels/chart828.xml.rels><?xml version="1.0" encoding="UTF-8" standalone="yes"?>
<Relationships xmlns="http://schemas.openxmlformats.org/package/2006/relationships"><Relationship Id="rId3" Type="http://schemas.openxmlformats.org/officeDocument/2006/relationships/package" Target="../embeddings/Microsoft_Excel_Worksheet827.xlsx"/><Relationship Id="rId2" Type="http://schemas.microsoft.com/office/2011/relationships/chartColorStyle" Target="colors21.xml"/><Relationship Id="rId1" Type="http://schemas.microsoft.com/office/2011/relationships/chartStyle" Target="style21.xml"/></Relationships>
</file>

<file path=ppt/charts/_rels/chart829.xml.rels><?xml version="1.0" encoding="UTF-8" standalone="yes"?>
<Relationships xmlns="http://schemas.openxmlformats.org/package/2006/relationships"><Relationship Id="rId3" Type="http://schemas.openxmlformats.org/officeDocument/2006/relationships/package" Target="../embeddings/Microsoft_Excel_Worksheet828.xlsx"/><Relationship Id="rId2" Type="http://schemas.microsoft.com/office/2011/relationships/chartColorStyle" Target="colors22.xml"/><Relationship Id="rId1" Type="http://schemas.microsoft.com/office/2011/relationships/chartStyle" Target="style22.xml"/></Relationships>
</file>

<file path=ppt/charts/_rels/chart83.xml.rels><?xml version="1.0" encoding="UTF-8" standalone="yes"?>
<Relationships xmlns="http://schemas.openxmlformats.org/package/2006/relationships"><Relationship Id="rId1" Type="http://schemas.openxmlformats.org/officeDocument/2006/relationships/package" Target="../embeddings/Microsoft_Excel_Worksheet82.xlsx"/></Relationships>
</file>

<file path=ppt/charts/_rels/chart830.xml.rels><?xml version="1.0" encoding="UTF-8" standalone="yes"?>
<Relationships xmlns="http://schemas.openxmlformats.org/package/2006/relationships"><Relationship Id="rId3" Type="http://schemas.openxmlformats.org/officeDocument/2006/relationships/package" Target="../embeddings/Microsoft_Excel_Worksheet829.xlsx"/><Relationship Id="rId2" Type="http://schemas.microsoft.com/office/2011/relationships/chartColorStyle" Target="colors23.xml"/><Relationship Id="rId1" Type="http://schemas.microsoft.com/office/2011/relationships/chartStyle" Target="style23.xml"/></Relationships>
</file>

<file path=ppt/charts/_rels/chart831.xml.rels><?xml version="1.0" encoding="UTF-8" standalone="yes"?>
<Relationships xmlns="http://schemas.openxmlformats.org/package/2006/relationships"><Relationship Id="rId3" Type="http://schemas.openxmlformats.org/officeDocument/2006/relationships/package" Target="../embeddings/Microsoft_Excel_Worksheet830.xlsx"/><Relationship Id="rId2" Type="http://schemas.microsoft.com/office/2011/relationships/chartColorStyle" Target="colors24.xml"/><Relationship Id="rId1" Type="http://schemas.microsoft.com/office/2011/relationships/chartStyle" Target="style24.xml"/></Relationships>
</file>

<file path=ppt/charts/_rels/chart832.xml.rels><?xml version="1.0" encoding="UTF-8" standalone="yes"?>
<Relationships xmlns="http://schemas.openxmlformats.org/package/2006/relationships"><Relationship Id="rId3" Type="http://schemas.openxmlformats.org/officeDocument/2006/relationships/package" Target="../embeddings/Microsoft_Excel_Worksheet831.xlsx"/><Relationship Id="rId2" Type="http://schemas.microsoft.com/office/2011/relationships/chartColorStyle" Target="colors25.xml"/><Relationship Id="rId1" Type="http://schemas.microsoft.com/office/2011/relationships/chartStyle" Target="style25.xml"/></Relationships>
</file>

<file path=ppt/charts/_rels/chart833.xml.rels><?xml version="1.0" encoding="UTF-8" standalone="yes"?>
<Relationships xmlns="http://schemas.openxmlformats.org/package/2006/relationships"><Relationship Id="rId3" Type="http://schemas.openxmlformats.org/officeDocument/2006/relationships/package" Target="../embeddings/Microsoft_Excel_Worksheet832.xlsx"/><Relationship Id="rId2" Type="http://schemas.microsoft.com/office/2011/relationships/chartColorStyle" Target="colors26.xml"/><Relationship Id="rId1" Type="http://schemas.microsoft.com/office/2011/relationships/chartStyle" Target="style26.xml"/></Relationships>
</file>

<file path=ppt/charts/_rels/chart834.xml.rels><?xml version="1.0" encoding="UTF-8" standalone="yes"?>
<Relationships xmlns="http://schemas.openxmlformats.org/package/2006/relationships"><Relationship Id="rId3" Type="http://schemas.openxmlformats.org/officeDocument/2006/relationships/package" Target="../embeddings/Microsoft_Excel_Worksheet833.xlsx"/><Relationship Id="rId2" Type="http://schemas.microsoft.com/office/2011/relationships/chartColorStyle" Target="colors27.xml"/><Relationship Id="rId1" Type="http://schemas.microsoft.com/office/2011/relationships/chartStyle" Target="style27.xml"/></Relationships>
</file>

<file path=ppt/charts/_rels/chart835.xml.rels><?xml version="1.0" encoding="UTF-8" standalone="yes"?>
<Relationships xmlns="http://schemas.openxmlformats.org/package/2006/relationships"><Relationship Id="rId3" Type="http://schemas.openxmlformats.org/officeDocument/2006/relationships/package" Target="../embeddings/Microsoft_Excel_Worksheet834.xlsx"/><Relationship Id="rId2" Type="http://schemas.microsoft.com/office/2011/relationships/chartColorStyle" Target="colors28.xml"/><Relationship Id="rId1" Type="http://schemas.microsoft.com/office/2011/relationships/chartStyle" Target="style28.xml"/></Relationships>
</file>

<file path=ppt/charts/_rels/chart836.xml.rels><?xml version="1.0" encoding="UTF-8" standalone="yes"?>
<Relationships xmlns="http://schemas.openxmlformats.org/package/2006/relationships"><Relationship Id="rId3" Type="http://schemas.openxmlformats.org/officeDocument/2006/relationships/package" Target="../embeddings/Microsoft_Excel_Worksheet835.xlsx"/><Relationship Id="rId2" Type="http://schemas.microsoft.com/office/2011/relationships/chartColorStyle" Target="colors29.xml"/><Relationship Id="rId1" Type="http://schemas.microsoft.com/office/2011/relationships/chartStyle" Target="style29.xml"/></Relationships>
</file>

<file path=ppt/charts/_rels/chart837.xml.rels><?xml version="1.0" encoding="UTF-8" standalone="yes"?>
<Relationships xmlns="http://schemas.openxmlformats.org/package/2006/relationships"><Relationship Id="rId3" Type="http://schemas.openxmlformats.org/officeDocument/2006/relationships/package" Target="../embeddings/Microsoft_Excel_Worksheet836.xlsx"/><Relationship Id="rId2" Type="http://schemas.microsoft.com/office/2011/relationships/chartColorStyle" Target="colors30.xml"/><Relationship Id="rId1" Type="http://schemas.microsoft.com/office/2011/relationships/chartStyle" Target="style30.xml"/></Relationships>
</file>

<file path=ppt/charts/_rels/chart838.xml.rels><?xml version="1.0" encoding="UTF-8" standalone="yes"?>
<Relationships xmlns="http://schemas.openxmlformats.org/package/2006/relationships"><Relationship Id="rId3" Type="http://schemas.openxmlformats.org/officeDocument/2006/relationships/package" Target="../embeddings/Microsoft_Excel_Worksheet837.xlsx"/><Relationship Id="rId2" Type="http://schemas.microsoft.com/office/2011/relationships/chartColorStyle" Target="colors31.xml"/><Relationship Id="rId1" Type="http://schemas.microsoft.com/office/2011/relationships/chartStyle" Target="style31.xml"/></Relationships>
</file>

<file path=ppt/charts/_rels/chart839.xml.rels><?xml version="1.0" encoding="UTF-8" standalone="yes"?>
<Relationships xmlns="http://schemas.openxmlformats.org/package/2006/relationships"><Relationship Id="rId3" Type="http://schemas.openxmlformats.org/officeDocument/2006/relationships/package" Target="../embeddings/Microsoft_Excel_Worksheet838.xlsx"/><Relationship Id="rId2" Type="http://schemas.microsoft.com/office/2011/relationships/chartColorStyle" Target="colors32.xml"/><Relationship Id="rId1" Type="http://schemas.microsoft.com/office/2011/relationships/chartStyle" Target="style32.xml"/></Relationships>
</file>

<file path=ppt/charts/_rels/chart84.xml.rels><?xml version="1.0" encoding="UTF-8" standalone="yes"?>
<Relationships xmlns="http://schemas.openxmlformats.org/package/2006/relationships"><Relationship Id="rId1" Type="http://schemas.openxmlformats.org/officeDocument/2006/relationships/package" Target="../embeddings/Microsoft_Excel_Worksheet83.xlsx"/></Relationships>
</file>

<file path=ppt/charts/_rels/chart840.xml.rels><?xml version="1.0" encoding="UTF-8" standalone="yes"?>
<Relationships xmlns="http://schemas.openxmlformats.org/package/2006/relationships"><Relationship Id="rId3" Type="http://schemas.openxmlformats.org/officeDocument/2006/relationships/package" Target="../embeddings/Microsoft_Excel_Worksheet839.xlsx"/><Relationship Id="rId2" Type="http://schemas.microsoft.com/office/2011/relationships/chartColorStyle" Target="colors33.xml"/><Relationship Id="rId1" Type="http://schemas.microsoft.com/office/2011/relationships/chartStyle" Target="style33.xml"/></Relationships>
</file>

<file path=ppt/charts/_rels/chart841.xml.rels><?xml version="1.0" encoding="UTF-8" standalone="yes"?>
<Relationships xmlns="http://schemas.openxmlformats.org/package/2006/relationships"><Relationship Id="rId3" Type="http://schemas.openxmlformats.org/officeDocument/2006/relationships/package" Target="../embeddings/Microsoft_Excel_Worksheet840.xlsx"/><Relationship Id="rId2" Type="http://schemas.microsoft.com/office/2011/relationships/chartColorStyle" Target="colors34.xml"/><Relationship Id="rId1" Type="http://schemas.microsoft.com/office/2011/relationships/chartStyle" Target="style34.xml"/></Relationships>
</file>

<file path=ppt/charts/_rels/chart842.xml.rels><?xml version="1.0" encoding="UTF-8" standalone="yes"?>
<Relationships xmlns="http://schemas.openxmlformats.org/package/2006/relationships"><Relationship Id="rId3" Type="http://schemas.openxmlformats.org/officeDocument/2006/relationships/package" Target="../embeddings/Microsoft_Excel_Worksheet841.xlsx"/><Relationship Id="rId2" Type="http://schemas.microsoft.com/office/2011/relationships/chartColorStyle" Target="colors35.xml"/><Relationship Id="rId1" Type="http://schemas.microsoft.com/office/2011/relationships/chartStyle" Target="style35.xml"/></Relationships>
</file>

<file path=ppt/charts/_rels/chart843.xml.rels><?xml version="1.0" encoding="UTF-8" standalone="yes"?>
<Relationships xmlns="http://schemas.openxmlformats.org/package/2006/relationships"><Relationship Id="rId3" Type="http://schemas.openxmlformats.org/officeDocument/2006/relationships/package" Target="../embeddings/Microsoft_Excel_Worksheet842.xlsx"/><Relationship Id="rId2" Type="http://schemas.microsoft.com/office/2011/relationships/chartColorStyle" Target="colors36.xml"/><Relationship Id="rId1" Type="http://schemas.microsoft.com/office/2011/relationships/chartStyle" Target="style36.xml"/></Relationships>
</file>

<file path=ppt/charts/_rels/chart844.xml.rels><?xml version="1.0" encoding="UTF-8" standalone="yes"?>
<Relationships xmlns="http://schemas.openxmlformats.org/package/2006/relationships"><Relationship Id="rId3" Type="http://schemas.openxmlformats.org/officeDocument/2006/relationships/package" Target="../embeddings/Microsoft_Excel_Worksheet843.xlsx"/><Relationship Id="rId2" Type="http://schemas.microsoft.com/office/2011/relationships/chartColorStyle" Target="colors37.xml"/><Relationship Id="rId1" Type="http://schemas.microsoft.com/office/2011/relationships/chartStyle" Target="style37.xml"/></Relationships>
</file>

<file path=ppt/charts/_rels/chart845.xml.rels><?xml version="1.0" encoding="UTF-8" standalone="yes"?>
<Relationships xmlns="http://schemas.openxmlformats.org/package/2006/relationships"><Relationship Id="rId3" Type="http://schemas.openxmlformats.org/officeDocument/2006/relationships/package" Target="../embeddings/Microsoft_Excel_Worksheet844.xlsx"/><Relationship Id="rId2" Type="http://schemas.microsoft.com/office/2011/relationships/chartColorStyle" Target="colors38.xml"/><Relationship Id="rId1" Type="http://schemas.microsoft.com/office/2011/relationships/chartStyle" Target="style38.xml"/></Relationships>
</file>

<file path=ppt/charts/_rels/chart846.xml.rels><?xml version="1.0" encoding="UTF-8" standalone="yes"?>
<Relationships xmlns="http://schemas.openxmlformats.org/package/2006/relationships"><Relationship Id="rId3" Type="http://schemas.openxmlformats.org/officeDocument/2006/relationships/package" Target="../embeddings/Microsoft_Excel_Worksheet845.xlsx"/><Relationship Id="rId2" Type="http://schemas.microsoft.com/office/2011/relationships/chartColorStyle" Target="colors39.xml"/><Relationship Id="rId1" Type="http://schemas.microsoft.com/office/2011/relationships/chartStyle" Target="style39.xml"/></Relationships>
</file>

<file path=ppt/charts/_rels/chart847.xml.rels><?xml version="1.0" encoding="UTF-8" standalone="yes"?>
<Relationships xmlns="http://schemas.openxmlformats.org/package/2006/relationships"><Relationship Id="rId3" Type="http://schemas.openxmlformats.org/officeDocument/2006/relationships/package" Target="../embeddings/Microsoft_Excel_Worksheet846.xlsx"/><Relationship Id="rId2" Type="http://schemas.microsoft.com/office/2011/relationships/chartColorStyle" Target="colors40.xml"/><Relationship Id="rId1" Type="http://schemas.microsoft.com/office/2011/relationships/chartStyle" Target="style40.xml"/></Relationships>
</file>

<file path=ppt/charts/_rels/chart848.xml.rels><?xml version="1.0" encoding="UTF-8" standalone="yes"?>
<Relationships xmlns="http://schemas.openxmlformats.org/package/2006/relationships"><Relationship Id="rId3" Type="http://schemas.openxmlformats.org/officeDocument/2006/relationships/package" Target="../embeddings/Microsoft_Excel_Worksheet847.xlsx"/><Relationship Id="rId2" Type="http://schemas.microsoft.com/office/2011/relationships/chartColorStyle" Target="colors41.xml"/><Relationship Id="rId1" Type="http://schemas.microsoft.com/office/2011/relationships/chartStyle" Target="style41.xml"/></Relationships>
</file>

<file path=ppt/charts/_rels/chart849.xml.rels><?xml version="1.0" encoding="UTF-8" standalone="yes"?>
<Relationships xmlns="http://schemas.openxmlformats.org/package/2006/relationships"><Relationship Id="rId3" Type="http://schemas.openxmlformats.org/officeDocument/2006/relationships/package" Target="../embeddings/Microsoft_Excel_Worksheet848.xlsx"/><Relationship Id="rId2" Type="http://schemas.microsoft.com/office/2011/relationships/chartColorStyle" Target="colors42.xml"/><Relationship Id="rId1" Type="http://schemas.microsoft.com/office/2011/relationships/chartStyle" Target="style42.xml"/></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Worksheet84.xlsx"/></Relationships>
</file>

<file path=ppt/charts/_rels/chart850.xml.rels><?xml version="1.0" encoding="UTF-8" standalone="yes"?>
<Relationships xmlns="http://schemas.openxmlformats.org/package/2006/relationships"><Relationship Id="rId3" Type="http://schemas.openxmlformats.org/officeDocument/2006/relationships/package" Target="../embeddings/Microsoft_Excel_Worksheet849.xlsx"/><Relationship Id="rId2" Type="http://schemas.microsoft.com/office/2011/relationships/chartColorStyle" Target="colors43.xml"/><Relationship Id="rId1" Type="http://schemas.microsoft.com/office/2011/relationships/chartStyle" Target="style43.xml"/></Relationships>
</file>

<file path=ppt/charts/_rels/chart851.xml.rels><?xml version="1.0" encoding="UTF-8" standalone="yes"?>
<Relationships xmlns="http://schemas.openxmlformats.org/package/2006/relationships"><Relationship Id="rId3" Type="http://schemas.openxmlformats.org/officeDocument/2006/relationships/package" Target="../embeddings/Microsoft_Excel_Worksheet850.xlsx"/><Relationship Id="rId2" Type="http://schemas.microsoft.com/office/2011/relationships/chartColorStyle" Target="colors44.xml"/><Relationship Id="rId1" Type="http://schemas.microsoft.com/office/2011/relationships/chartStyle" Target="style44.xml"/></Relationships>
</file>

<file path=ppt/charts/_rels/chart852.xml.rels><?xml version="1.0" encoding="UTF-8" standalone="yes"?>
<Relationships xmlns="http://schemas.openxmlformats.org/package/2006/relationships"><Relationship Id="rId3" Type="http://schemas.openxmlformats.org/officeDocument/2006/relationships/package" Target="../embeddings/Microsoft_Excel_Worksheet851.xlsx"/><Relationship Id="rId2" Type="http://schemas.microsoft.com/office/2011/relationships/chartColorStyle" Target="colors45.xml"/><Relationship Id="rId1" Type="http://schemas.microsoft.com/office/2011/relationships/chartStyle" Target="style45.xml"/></Relationships>
</file>

<file path=ppt/charts/_rels/chart853.xml.rels><?xml version="1.0" encoding="UTF-8" standalone="yes"?>
<Relationships xmlns="http://schemas.openxmlformats.org/package/2006/relationships"><Relationship Id="rId3" Type="http://schemas.openxmlformats.org/officeDocument/2006/relationships/package" Target="../embeddings/Microsoft_Excel_Worksheet852.xlsx"/><Relationship Id="rId2" Type="http://schemas.microsoft.com/office/2011/relationships/chartColorStyle" Target="colors46.xml"/><Relationship Id="rId1" Type="http://schemas.microsoft.com/office/2011/relationships/chartStyle" Target="style46.xml"/></Relationships>
</file>

<file path=ppt/charts/_rels/chart854.xml.rels><?xml version="1.0" encoding="UTF-8" standalone="yes"?>
<Relationships xmlns="http://schemas.openxmlformats.org/package/2006/relationships"><Relationship Id="rId3" Type="http://schemas.openxmlformats.org/officeDocument/2006/relationships/package" Target="../embeddings/Microsoft_Excel_Worksheet853.xlsx"/><Relationship Id="rId2" Type="http://schemas.microsoft.com/office/2011/relationships/chartColorStyle" Target="colors47.xml"/><Relationship Id="rId1" Type="http://schemas.microsoft.com/office/2011/relationships/chartStyle" Target="style47.xml"/></Relationships>
</file>

<file path=ppt/charts/_rels/chart855.xml.rels><?xml version="1.0" encoding="UTF-8" standalone="yes"?>
<Relationships xmlns="http://schemas.openxmlformats.org/package/2006/relationships"><Relationship Id="rId3" Type="http://schemas.openxmlformats.org/officeDocument/2006/relationships/package" Target="../embeddings/Microsoft_Excel_Worksheet854.xlsx"/><Relationship Id="rId2" Type="http://schemas.microsoft.com/office/2011/relationships/chartColorStyle" Target="colors48.xml"/><Relationship Id="rId1" Type="http://schemas.microsoft.com/office/2011/relationships/chartStyle" Target="style48.xml"/></Relationships>
</file>

<file path=ppt/charts/_rels/chart856.xml.rels><?xml version="1.0" encoding="UTF-8" standalone="yes"?>
<Relationships xmlns="http://schemas.openxmlformats.org/package/2006/relationships"><Relationship Id="rId3" Type="http://schemas.openxmlformats.org/officeDocument/2006/relationships/package" Target="../embeddings/Microsoft_Excel_Worksheet855.xlsx"/><Relationship Id="rId2" Type="http://schemas.microsoft.com/office/2011/relationships/chartColorStyle" Target="colors49.xml"/><Relationship Id="rId1" Type="http://schemas.microsoft.com/office/2011/relationships/chartStyle" Target="style49.xml"/></Relationships>
</file>

<file path=ppt/charts/_rels/chart857.xml.rels><?xml version="1.0" encoding="UTF-8" standalone="yes"?>
<Relationships xmlns="http://schemas.openxmlformats.org/package/2006/relationships"><Relationship Id="rId3" Type="http://schemas.openxmlformats.org/officeDocument/2006/relationships/package" Target="../embeddings/Microsoft_Excel_Worksheet856.xlsx"/><Relationship Id="rId2" Type="http://schemas.microsoft.com/office/2011/relationships/chartColorStyle" Target="colors50.xml"/><Relationship Id="rId1" Type="http://schemas.microsoft.com/office/2011/relationships/chartStyle" Target="style50.xml"/></Relationships>
</file>

<file path=ppt/charts/_rels/chart858.xml.rels><?xml version="1.0" encoding="UTF-8" standalone="yes"?>
<Relationships xmlns="http://schemas.openxmlformats.org/package/2006/relationships"><Relationship Id="rId3" Type="http://schemas.openxmlformats.org/officeDocument/2006/relationships/package" Target="../embeddings/Microsoft_Excel_Worksheet857.xlsx"/><Relationship Id="rId2" Type="http://schemas.microsoft.com/office/2011/relationships/chartColorStyle" Target="colors51.xml"/><Relationship Id="rId1" Type="http://schemas.microsoft.com/office/2011/relationships/chartStyle" Target="style51.xml"/></Relationships>
</file>

<file path=ppt/charts/_rels/chart859.xml.rels><?xml version="1.0" encoding="UTF-8" standalone="yes"?>
<Relationships xmlns="http://schemas.openxmlformats.org/package/2006/relationships"><Relationship Id="rId3" Type="http://schemas.openxmlformats.org/officeDocument/2006/relationships/package" Target="../embeddings/Microsoft_Excel_Worksheet858.xlsx"/><Relationship Id="rId2" Type="http://schemas.microsoft.com/office/2011/relationships/chartColorStyle" Target="colors52.xml"/><Relationship Id="rId1" Type="http://schemas.microsoft.com/office/2011/relationships/chartStyle" Target="style52.xml"/></Relationships>
</file>

<file path=ppt/charts/_rels/chart86.xml.rels><?xml version="1.0" encoding="UTF-8" standalone="yes"?>
<Relationships xmlns="http://schemas.openxmlformats.org/package/2006/relationships"><Relationship Id="rId1" Type="http://schemas.openxmlformats.org/officeDocument/2006/relationships/package" Target="../embeddings/Microsoft_Excel_Worksheet85.xlsx"/></Relationships>
</file>

<file path=ppt/charts/_rels/chart860.xml.rels><?xml version="1.0" encoding="UTF-8" standalone="yes"?>
<Relationships xmlns="http://schemas.openxmlformats.org/package/2006/relationships"><Relationship Id="rId3" Type="http://schemas.openxmlformats.org/officeDocument/2006/relationships/package" Target="../embeddings/Microsoft_Excel_Worksheet859.xlsx"/><Relationship Id="rId2" Type="http://schemas.microsoft.com/office/2011/relationships/chartColorStyle" Target="colors53.xml"/><Relationship Id="rId1" Type="http://schemas.microsoft.com/office/2011/relationships/chartStyle" Target="style53.xml"/></Relationships>
</file>

<file path=ppt/charts/_rels/chart861.xml.rels><?xml version="1.0" encoding="UTF-8" standalone="yes"?>
<Relationships xmlns="http://schemas.openxmlformats.org/package/2006/relationships"><Relationship Id="rId3" Type="http://schemas.openxmlformats.org/officeDocument/2006/relationships/package" Target="../embeddings/Microsoft_Excel_Worksheet860.xlsx"/><Relationship Id="rId2" Type="http://schemas.microsoft.com/office/2011/relationships/chartColorStyle" Target="colors54.xml"/><Relationship Id="rId1" Type="http://schemas.microsoft.com/office/2011/relationships/chartStyle" Target="style54.xml"/></Relationships>
</file>

<file path=ppt/charts/_rels/chart862.xml.rels><?xml version="1.0" encoding="UTF-8" standalone="yes"?>
<Relationships xmlns="http://schemas.openxmlformats.org/package/2006/relationships"><Relationship Id="rId3" Type="http://schemas.openxmlformats.org/officeDocument/2006/relationships/package" Target="../embeddings/Microsoft_Excel_Worksheet861.xlsx"/><Relationship Id="rId2" Type="http://schemas.microsoft.com/office/2011/relationships/chartColorStyle" Target="colors55.xml"/><Relationship Id="rId1" Type="http://schemas.microsoft.com/office/2011/relationships/chartStyle" Target="style55.xml"/></Relationships>
</file>

<file path=ppt/charts/_rels/chart863.xml.rels><?xml version="1.0" encoding="UTF-8" standalone="yes"?>
<Relationships xmlns="http://schemas.openxmlformats.org/package/2006/relationships"><Relationship Id="rId3" Type="http://schemas.openxmlformats.org/officeDocument/2006/relationships/package" Target="../embeddings/Microsoft_Excel_Worksheet862.xlsx"/><Relationship Id="rId2" Type="http://schemas.microsoft.com/office/2011/relationships/chartColorStyle" Target="colors56.xml"/><Relationship Id="rId1" Type="http://schemas.microsoft.com/office/2011/relationships/chartStyle" Target="style56.xml"/></Relationships>
</file>

<file path=ppt/charts/_rels/chart864.xml.rels><?xml version="1.0" encoding="UTF-8" standalone="yes"?>
<Relationships xmlns="http://schemas.openxmlformats.org/package/2006/relationships"><Relationship Id="rId3" Type="http://schemas.openxmlformats.org/officeDocument/2006/relationships/package" Target="../embeddings/Microsoft_Excel_Worksheet863.xlsx"/><Relationship Id="rId2" Type="http://schemas.microsoft.com/office/2011/relationships/chartColorStyle" Target="colors57.xml"/><Relationship Id="rId1" Type="http://schemas.microsoft.com/office/2011/relationships/chartStyle" Target="style57.xml"/></Relationships>
</file>

<file path=ppt/charts/_rels/chart865.xml.rels><?xml version="1.0" encoding="UTF-8" standalone="yes"?>
<Relationships xmlns="http://schemas.openxmlformats.org/package/2006/relationships"><Relationship Id="rId3" Type="http://schemas.openxmlformats.org/officeDocument/2006/relationships/package" Target="../embeddings/Microsoft_Excel_Worksheet864.xlsx"/><Relationship Id="rId2" Type="http://schemas.microsoft.com/office/2011/relationships/chartColorStyle" Target="colors58.xml"/><Relationship Id="rId1" Type="http://schemas.microsoft.com/office/2011/relationships/chartStyle" Target="style58.xml"/></Relationships>
</file>

<file path=ppt/charts/_rels/chart866.xml.rels><?xml version="1.0" encoding="UTF-8" standalone="yes"?>
<Relationships xmlns="http://schemas.openxmlformats.org/package/2006/relationships"><Relationship Id="rId3" Type="http://schemas.openxmlformats.org/officeDocument/2006/relationships/package" Target="../embeddings/Microsoft_Excel_Worksheet865.xlsx"/><Relationship Id="rId2" Type="http://schemas.microsoft.com/office/2011/relationships/chartColorStyle" Target="colors59.xml"/><Relationship Id="rId1" Type="http://schemas.microsoft.com/office/2011/relationships/chartStyle" Target="style59.xml"/></Relationships>
</file>

<file path=ppt/charts/_rels/chart867.xml.rels><?xml version="1.0" encoding="UTF-8" standalone="yes"?>
<Relationships xmlns="http://schemas.openxmlformats.org/package/2006/relationships"><Relationship Id="rId3" Type="http://schemas.openxmlformats.org/officeDocument/2006/relationships/package" Target="../embeddings/Microsoft_Excel_Worksheet866.xlsx"/><Relationship Id="rId2" Type="http://schemas.microsoft.com/office/2011/relationships/chartColorStyle" Target="colors60.xml"/><Relationship Id="rId1" Type="http://schemas.microsoft.com/office/2011/relationships/chartStyle" Target="style60.xml"/></Relationships>
</file>

<file path=ppt/charts/_rels/chart868.xml.rels><?xml version="1.0" encoding="UTF-8" standalone="yes"?>
<Relationships xmlns="http://schemas.openxmlformats.org/package/2006/relationships"><Relationship Id="rId3" Type="http://schemas.openxmlformats.org/officeDocument/2006/relationships/package" Target="../embeddings/Microsoft_Excel_Worksheet867.xlsx"/><Relationship Id="rId2" Type="http://schemas.microsoft.com/office/2011/relationships/chartColorStyle" Target="colors61.xml"/><Relationship Id="rId1" Type="http://schemas.microsoft.com/office/2011/relationships/chartStyle" Target="style61.xml"/></Relationships>
</file>

<file path=ppt/charts/_rels/chart869.xml.rels><?xml version="1.0" encoding="UTF-8" standalone="yes"?>
<Relationships xmlns="http://schemas.openxmlformats.org/package/2006/relationships"><Relationship Id="rId3" Type="http://schemas.openxmlformats.org/officeDocument/2006/relationships/package" Target="../embeddings/Microsoft_Excel_Worksheet868.xlsx"/><Relationship Id="rId2" Type="http://schemas.microsoft.com/office/2011/relationships/chartColorStyle" Target="colors62.xml"/><Relationship Id="rId1" Type="http://schemas.microsoft.com/office/2011/relationships/chartStyle" Target="style62.xml"/></Relationships>
</file>

<file path=ppt/charts/_rels/chart87.xml.rels><?xml version="1.0" encoding="UTF-8" standalone="yes"?>
<Relationships xmlns="http://schemas.openxmlformats.org/package/2006/relationships"><Relationship Id="rId1" Type="http://schemas.openxmlformats.org/officeDocument/2006/relationships/package" Target="../embeddings/Microsoft_Excel_Worksheet86.xlsx"/></Relationships>
</file>

<file path=ppt/charts/_rels/chart870.xml.rels><?xml version="1.0" encoding="UTF-8" standalone="yes"?>
<Relationships xmlns="http://schemas.openxmlformats.org/package/2006/relationships"><Relationship Id="rId3" Type="http://schemas.openxmlformats.org/officeDocument/2006/relationships/package" Target="../embeddings/Microsoft_Excel_Worksheet869.xlsx"/><Relationship Id="rId2" Type="http://schemas.microsoft.com/office/2011/relationships/chartColorStyle" Target="colors63.xml"/><Relationship Id="rId1" Type="http://schemas.microsoft.com/office/2011/relationships/chartStyle" Target="style63.xml"/></Relationships>
</file>

<file path=ppt/charts/_rels/chart871.xml.rels><?xml version="1.0" encoding="UTF-8" standalone="yes"?>
<Relationships xmlns="http://schemas.openxmlformats.org/package/2006/relationships"><Relationship Id="rId3" Type="http://schemas.openxmlformats.org/officeDocument/2006/relationships/package" Target="../embeddings/Microsoft_Excel_Worksheet870.xlsx"/><Relationship Id="rId2" Type="http://schemas.microsoft.com/office/2011/relationships/chartColorStyle" Target="colors64.xml"/><Relationship Id="rId1" Type="http://schemas.microsoft.com/office/2011/relationships/chartStyle" Target="style64.xml"/></Relationships>
</file>

<file path=ppt/charts/_rels/chart872.xml.rels><?xml version="1.0" encoding="UTF-8" standalone="yes"?>
<Relationships xmlns="http://schemas.openxmlformats.org/package/2006/relationships"><Relationship Id="rId3" Type="http://schemas.openxmlformats.org/officeDocument/2006/relationships/package" Target="../embeddings/Microsoft_Excel_Worksheet871.xlsx"/><Relationship Id="rId2" Type="http://schemas.microsoft.com/office/2011/relationships/chartColorStyle" Target="colors65.xml"/><Relationship Id="rId1" Type="http://schemas.microsoft.com/office/2011/relationships/chartStyle" Target="style65.xml"/></Relationships>
</file>

<file path=ppt/charts/_rels/chart873.xml.rels><?xml version="1.0" encoding="UTF-8" standalone="yes"?>
<Relationships xmlns="http://schemas.openxmlformats.org/package/2006/relationships"><Relationship Id="rId3" Type="http://schemas.openxmlformats.org/officeDocument/2006/relationships/package" Target="../embeddings/Microsoft_Excel_Worksheet872.xlsx"/><Relationship Id="rId2" Type="http://schemas.microsoft.com/office/2011/relationships/chartColorStyle" Target="colors66.xml"/><Relationship Id="rId1" Type="http://schemas.microsoft.com/office/2011/relationships/chartStyle" Target="style66.xml"/></Relationships>
</file>

<file path=ppt/charts/_rels/chart874.xml.rels><?xml version="1.0" encoding="UTF-8" standalone="yes"?>
<Relationships xmlns="http://schemas.openxmlformats.org/package/2006/relationships"><Relationship Id="rId3" Type="http://schemas.openxmlformats.org/officeDocument/2006/relationships/package" Target="../embeddings/Microsoft_Excel_Worksheet873.xlsx"/><Relationship Id="rId2" Type="http://schemas.microsoft.com/office/2011/relationships/chartColorStyle" Target="colors67.xml"/><Relationship Id="rId1" Type="http://schemas.microsoft.com/office/2011/relationships/chartStyle" Target="style67.xml"/></Relationships>
</file>

<file path=ppt/charts/_rels/chart875.xml.rels><?xml version="1.0" encoding="UTF-8" standalone="yes"?>
<Relationships xmlns="http://schemas.openxmlformats.org/package/2006/relationships"><Relationship Id="rId3" Type="http://schemas.openxmlformats.org/officeDocument/2006/relationships/package" Target="../embeddings/Microsoft_Excel_Worksheet874.xlsx"/><Relationship Id="rId2" Type="http://schemas.microsoft.com/office/2011/relationships/chartColorStyle" Target="colors68.xml"/><Relationship Id="rId1" Type="http://schemas.microsoft.com/office/2011/relationships/chartStyle" Target="style68.xml"/></Relationships>
</file>

<file path=ppt/charts/_rels/chart88.xml.rels><?xml version="1.0" encoding="UTF-8" standalone="yes"?>
<Relationships xmlns="http://schemas.openxmlformats.org/package/2006/relationships"><Relationship Id="rId1" Type="http://schemas.openxmlformats.org/officeDocument/2006/relationships/package" Target="../embeddings/Microsoft_Excel_Worksheet87.xlsx"/></Relationships>
</file>

<file path=ppt/charts/_rels/chart89.xml.rels><?xml version="1.0" encoding="UTF-8" standalone="yes"?>
<Relationships xmlns="http://schemas.openxmlformats.org/package/2006/relationships"><Relationship Id="rId1"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1" Type="http://schemas.openxmlformats.org/officeDocument/2006/relationships/package" Target="../embeddings/Microsoft_Excel_Worksheet89.xlsx"/></Relationships>
</file>

<file path=ppt/charts/_rels/chart91.xml.rels><?xml version="1.0" encoding="UTF-8" standalone="yes"?>
<Relationships xmlns="http://schemas.openxmlformats.org/package/2006/relationships"><Relationship Id="rId1" Type="http://schemas.openxmlformats.org/officeDocument/2006/relationships/package" Target="../embeddings/Microsoft_Excel_Worksheet90.xlsx"/></Relationships>
</file>

<file path=ppt/charts/_rels/chart92.xml.rels><?xml version="1.0" encoding="UTF-8" standalone="yes"?>
<Relationships xmlns="http://schemas.openxmlformats.org/package/2006/relationships"><Relationship Id="rId1" Type="http://schemas.openxmlformats.org/officeDocument/2006/relationships/package" Target="../embeddings/Microsoft_Excel_Worksheet91.xlsx"/></Relationships>
</file>

<file path=ppt/charts/_rels/chart93.xml.rels><?xml version="1.0" encoding="UTF-8" standalone="yes"?>
<Relationships xmlns="http://schemas.openxmlformats.org/package/2006/relationships"><Relationship Id="rId1"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openxmlformats.org/officeDocument/2006/relationships/package" Target="../embeddings/Microsoft_Excel_Worksheet93.xlsx"/></Relationships>
</file>

<file path=ppt/charts/_rels/chart95.xml.rels><?xml version="1.0" encoding="UTF-8" standalone="yes"?>
<Relationships xmlns="http://schemas.openxmlformats.org/package/2006/relationships"><Relationship Id="rId1" Type="http://schemas.openxmlformats.org/officeDocument/2006/relationships/package" Target="../embeddings/Microsoft_Excel_Worksheet94.xlsx"/></Relationships>
</file>

<file path=ppt/charts/_rels/chart96.xml.rels><?xml version="1.0" encoding="UTF-8" standalone="yes"?>
<Relationships xmlns="http://schemas.openxmlformats.org/package/2006/relationships"><Relationship Id="rId1" Type="http://schemas.openxmlformats.org/officeDocument/2006/relationships/package" Target="../embeddings/Microsoft_Excel_Worksheet95.xlsx"/></Relationships>
</file>

<file path=ppt/charts/_rels/chart97.xml.rels><?xml version="1.0" encoding="UTF-8" standalone="yes"?>
<Relationships xmlns="http://schemas.openxmlformats.org/package/2006/relationships"><Relationship Id="rId1" Type="http://schemas.openxmlformats.org/officeDocument/2006/relationships/package" Target="../embeddings/Microsoft_Excel_Worksheet96.xlsx"/></Relationships>
</file>

<file path=ppt/charts/_rels/chart98.xml.rels><?xml version="1.0" encoding="UTF-8" standalone="yes"?>
<Relationships xmlns="http://schemas.openxmlformats.org/package/2006/relationships"><Relationship Id="rId1" Type="http://schemas.openxmlformats.org/officeDocument/2006/relationships/package" Target="../embeddings/Microsoft_Excel_Worksheet97.xlsx"/></Relationships>
</file>

<file path=ppt/charts/_rels/chart99.xml.rels><?xml version="1.0" encoding="UTF-8" standalone="yes"?>
<Relationships xmlns="http://schemas.openxmlformats.org/package/2006/relationships"><Relationship Id="rId1" Type="http://schemas.openxmlformats.org/officeDocument/2006/relationships/package" Target="../embeddings/Microsoft_Excel_Worksheet9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DFA2E1D-9401-49D1-BFD8-A0F6A16B5DD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D8F3FC9-C3FE-4AAF-B393-C8DF3D6FD2C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05A4343-DC4C-4B2A-968E-F1549410474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4493EAF-6044-47C4-8B62-12D90E740C8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56C244D9-E86D-47C5-AAEF-D93CB3E0161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A30C75F-8D7A-46EB-A145-70AF589517D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35D98951-9454-4F9B-848A-58E9676E525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293474B-2CC4-4271-8049-C47A7B15F92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4.4177999999999997</c:v>
                </c:pt>
                <c:pt idx="1">
                  <c:v>25.1111</c:v>
                </c:pt>
                <c:pt idx="2">
                  <c:v>31.078399999999998</c:v>
                </c:pt>
                <c:pt idx="3">
                  <c:v>4.2683</c:v>
                </c:pt>
                <c:pt idx="4">
                  <c:v>26.736799999999999</c:v>
                </c:pt>
                <c:pt idx="5">
                  <c:v>5.8342000000000001</c:v>
                </c:pt>
                <c:pt idx="6">
                  <c:v>7.1054000000000004</c:v>
                </c:pt>
                <c:pt idx="7">
                  <c:v>23.585599999999999</c:v>
                </c:pt>
              </c:numCache>
            </c:numRef>
          </c:xVal>
          <c:yVal>
            <c:numRef>
              <c:f>Sheet1!$B$2:$B$9</c:f>
              <c:numCache>
                <c:formatCode>General</c:formatCode>
                <c:ptCount val="8"/>
                <c:pt idx="0">
                  <c:v>0.67100000000000004</c:v>
                </c:pt>
                <c:pt idx="1">
                  <c:v>3.4510000000000001</c:v>
                </c:pt>
                <c:pt idx="2">
                  <c:v>4.673</c:v>
                </c:pt>
                <c:pt idx="3">
                  <c:v>0.23100000000000001</c:v>
                </c:pt>
                <c:pt idx="4">
                  <c:v>4.0090000000000003</c:v>
                </c:pt>
                <c:pt idx="5">
                  <c:v>0.77700000000000002</c:v>
                </c:pt>
                <c:pt idx="6">
                  <c:v>0.78900000000000003</c:v>
                </c:pt>
                <c:pt idx="7">
                  <c:v>3.7269999999999999</c:v>
                </c:pt>
              </c:numCache>
            </c:numRef>
          </c:yVal>
          <c:bubbleSize>
            <c:numRef>
              <c:f>Sheet1!$C$2:$C$9</c:f>
              <c:numCache>
                <c:formatCode>General</c:formatCode>
                <c:ptCount val="8"/>
                <c:pt idx="0">
                  <c:v>135378958</c:v>
                </c:pt>
                <c:pt idx="1">
                  <c:v>83416559</c:v>
                </c:pt>
                <c:pt idx="2">
                  <c:v>40272903</c:v>
                </c:pt>
                <c:pt idx="3">
                  <c:v>39552397</c:v>
                </c:pt>
                <c:pt idx="4">
                  <c:v>38917245</c:v>
                </c:pt>
                <c:pt idx="5">
                  <c:v>35427059</c:v>
                </c:pt>
                <c:pt idx="6">
                  <c:v>32603771</c:v>
                </c:pt>
                <c:pt idx="7">
                  <c:v>5693651</c:v>
                </c:pt>
              </c:numCache>
            </c:numRef>
          </c:bubbleSize>
          <c:bubble3D val="0"/>
          <c:extLst>
            <c:ext xmlns:c15="http://schemas.microsoft.com/office/drawing/2012/chart" uri="{02D57815-91ED-43cb-92C2-25804820EDAC}">
              <c15:datalabelsRange>
                <c15:f>Sheet1!$E$2:$E$10</c15:f>
                <c15:dlblRangeCache>
                  <c:ptCount val="9"/>
                  <c:pt idx="0">
                    <c:v>Mdd</c:v>
                  </c:pt>
                  <c:pt idx="1">
                    <c:v>Nicolas Feuillatte</c:v>
                  </c:pt>
                  <c:pt idx="2">
                    <c:v>Mumm</c:v>
                  </c:pt>
                  <c:pt idx="3">
                    <c:v>Charles Volner</c:v>
                  </c:pt>
                  <c:pt idx="4">
                    <c:v>Canard Duchêne</c:v>
                  </c:pt>
                  <c:pt idx="5">
                    <c:v>Freixenet</c:v>
                  </c:pt>
                  <c:pt idx="6">
                    <c:v>Wolfberger</c:v>
                  </c:pt>
                  <c:pt idx="7">
                    <c:v>Nicola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7"/>
          <c:min val="3"/>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170038C-0F9D-4135-B646-D559115A7CF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D0EB78C-043B-44DF-9109-32C0CBD76EC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47DA52E-E1D6-477A-B436-3B96ACB815D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3007102-A7C7-438B-B95E-FFD248BEB9F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1846D59-D085-4108-B4DC-4E61BD51ACA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5361E17-C2BC-4F13-94D5-5DA0B687FC9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3E899F2-B41D-4B25-8F4E-EDF1837BBD2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6F22C28E-D3A9-4C3C-A3E3-C1E1591382B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72.902299999999997</c:v>
                </c:pt>
                <c:pt idx="1">
                  <c:v>23.632999999999999</c:v>
                </c:pt>
                <c:pt idx="2">
                  <c:v>51.113900000000001</c:v>
                </c:pt>
                <c:pt idx="3">
                  <c:v>54.3947</c:v>
                </c:pt>
                <c:pt idx="4">
                  <c:v>84.752200000000002</c:v>
                </c:pt>
                <c:pt idx="5">
                  <c:v>29.332599999999999</c:v>
                </c:pt>
                <c:pt idx="6">
                  <c:v>31.468499999999999</c:v>
                </c:pt>
                <c:pt idx="7">
                  <c:v>273.90089999999998</c:v>
                </c:pt>
              </c:numCache>
            </c:numRef>
          </c:xVal>
          <c:yVal>
            <c:numRef>
              <c:f>Sheet1!$B$2:$B$9</c:f>
              <c:numCache>
                <c:formatCode>General</c:formatCode>
                <c:ptCount val="8"/>
                <c:pt idx="0">
                  <c:v>1.8560000000000001</c:v>
                </c:pt>
                <c:pt idx="1">
                  <c:v>0.61699999999999999</c:v>
                </c:pt>
                <c:pt idx="2">
                  <c:v>1.2789999999999999</c:v>
                </c:pt>
                <c:pt idx="3">
                  <c:v>1.2789999999999999</c:v>
                </c:pt>
                <c:pt idx="4">
                  <c:v>2.0579999999999998</c:v>
                </c:pt>
                <c:pt idx="5">
                  <c:v>0.76800000000000002</c:v>
                </c:pt>
                <c:pt idx="6">
                  <c:v>0.82399999999999995</c:v>
                </c:pt>
                <c:pt idx="7">
                  <c:v>6.9080000000000004</c:v>
                </c:pt>
              </c:numCache>
            </c:numRef>
          </c:yVal>
          <c:bubbleSize>
            <c:numRef>
              <c:f>Sheet1!$C$2:$C$9</c:f>
              <c:numCache>
                <c:formatCode>General</c:formatCode>
                <c:ptCount val="8"/>
                <c:pt idx="0">
                  <c:v>1905667</c:v>
                </c:pt>
                <c:pt idx="1">
                  <c:v>630859</c:v>
                </c:pt>
                <c:pt idx="2">
                  <c:v>491358</c:v>
                </c:pt>
                <c:pt idx="3">
                  <c:v>344699</c:v>
                </c:pt>
                <c:pt idx="4">
                  <c:v>234933</c:v>
                </c:pt>
                <c:pt idx="5">
                  <c:v>217736</c:v>
                </c:pt>
                <c:pt idx="6">
                  <c:v>211311</c:v>
                </c:pt>
                <c:pt idx="7">
                  <c:v>187896</c:v>
                </c:pt>
              </c:numCache>
            </c:numRef>
          </c:bubbleSize>
          <c:bubble3D val="0"/>
          <c:extLst>
            <c:ext xmlns:c15="http://schemas.microsoft.com/office/drawing/2012/chart" uri="{02D57815-91ED-43cb-92C2-25804820EDAC}">
              <c15:datalabelsRange>
                <c15:f>Sheet1!$E$2:$E$10</c15:f>
                <c15:dlblRangeCache>
                  <c:ptCount val="9"/>
                  <c:pt idx="0">
                    <c:v>Ruinart</c:v>
                  </c:pt>
                  <c:pt idx="1">
                    <c:v>Nicolas</c:v>
                  </c:pt>
                  <c:pt idx="2">
                    <c:v>Deutz</c:v>
                  </c:pt>
                  <c:pt idx="3">
                    <c:v>Laurent Perrier</c:v>
                  </c:pt>
                  <c:pt idx="4">
                    <c:v>Roederer</c:v>
                  </c:pt>
                  <c:pt idx="5">
                    <c:v>Heidsieck &amp; Co Monopole</c:v>
                  </c:pt>
                  <c:pt idx="6">
                    <c:v>Malard</c:v>
                  </c:pt>
                  <c:pt idx="7">
                    <c:v>Dom Perigno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29"/>
          <c:min val="19"/>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D078CAC1-588B-4E6F-848C-DB9E2C0EF60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F1163B50-8ACE-4925-9B90-974D3722DCE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55925C5C-4522-4C59-827C-9B7672507BD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6A2AD1B4-4BAD-4429-AD0D-2ED1AFB7109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75721B2D-8AB5-48D9-9796-1932E539C5D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3D74F379-05E8-4F93-8BB0-14ED6F6176B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71A7E3D9-E2BA-4D06-98EE-4975B9933CF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48EF-49EC-8B4D-EC25A4464CE3}"/>
                </c:ext>
              </c:extLst>
            </c:dLbl>
            <c:dLbl>
              <c:idx val="8"/>
              <c:tx>
                <c:rich>
                  <a:bodyPr/>
                  <a:lstStyle/>
                  <a:p>
                    <a:fld id="{D2A444EB-C99D-439A-8229-7299D5EC4D6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8.1654999999999998</c:v>
                </c:pt>
                <c:pt idx="1">
                  <c:v>7.0598000000000001</c:v>
                </c:pt>
                <c:pt idx="2">
                  <c:v>8.4002999999999997</c:v>
                </c:pt>
                <c:pt idx="3">
                  <c:v>7.6973000000000003</c:v>
                </c:pt>
                <c:pt idx="4">
                  <c:v>9.7827999999999999</c:v>
                </c:pt>
                <c:pt idx="5">
                  <c:v>7.3342999999999998</c:v>
                </c:pt>
                <c:pt idx="6">
                  <c:v>7.7112999999999996</c:v>
                </c:pt>
              </c:numCache>
            </c:numRef>
          </c:xVal>
          <c:yVal>
            <c:numRef>
              <c:f>Sheet1!$B$2:$B$8</c:f>
              <c:numCache>
                <c:formatCode>General</c:formatCode>
                <c:ptCount val="7"/>
                <c:pt idx="0">
                  <c:v>1.0009999999999999</c:v>
                </c:pt>
                <c:pt idx="1">
                  <c:v>0.96399999999999997</c:v>
                </c:pt>
                <c:pt idx="2">
                  <c:v>1.0449999999999999</c:v>
                </c:pt>
                <c:pt idx="3">
                  <c:v>1.0409999999999999</c:v>
                </c:pt>
                <c:pt idx="4">
                  <c:v>1.198</c:v>
                </c:pt>
                <c:pt idx="5">
                  <c:v>1.0369999999999999</c:v>
                </c:pt>
                <c:pt idx="6">
                  <c:v>1.0900000000000001</c:v>
                </c:pt>
              </c:numCache>
            </c:numRef>
          </c:yVal>
          <c:bubbleSize>
            <c:numRef>
              <c:f>Sheet1!$C$2:$C$8</c:f>
              <c:numCache>
                <c:formatCode>General</c:formatCode>
                <c:ptCount val="7"/>
                <c:pt idx="0">
                  <c:v>15897650</c:v>
                </c:pt>
                <c:pt idx="1">
                  <c:v>12258120</c:v>
                </c:pt>
                <c:pt idx="2">
                  <c:v>4177323</c:v>
                </c:pt>
                <c:pt idx="3">
                  <c:v>3025266</c:v>
                </c:pt>
                <c:pt idx="4">
                  <c:v>1797924</c:v>
                </c:pt>
                <c:pt idx="5">
                  <c:v>932508</c:v>
                </c:pt>
                <c:pt idx="6">
                  <c:v>550341</c:v>
                </c:pt>
              </c:numCache>
            </c:numRef>
          </c:bubbleSize>
          <c:bubble3D val="0"/>
          <c:extLst>
            <c:ext xmlns:c15="http://schemas.microsoft.com/office/drawing/2012/chart" uri="{02D57815-91ED-43cb-92C2-25804820EDAC}">
              <c15:datalabelsRange>
                <c15:f>Sheet1!$E$2:$E$10</c15:f>
                <c15:dlblRangeCache>
                  <c:ptCount val="9"/>
                  <c:pt idx="0">
                    <c:v>Veuve Ambal</c:v>
                  </c:pt>
                  <c:pt idx="1">
                    <c:v>Mdd</c:v>
                  </c:pt>
                  <c:pt idx="2">
                    <c:v>Couvent Des Visitandines</c:v>
                  </c:pt>
                  <c:pt idx="3">
                    <c:v>Moillard</c:v>
                  </c:pt>
                  <c:pt idx="4">
                    <c:v>Louis Bouillot</c:v>
                  </c:pt>
                  <c:pt idx="5">
                    <c:v>Valenger</c:v>
                  </c:pt>
                  <c:pt idx="6">
                    <c:v>Caves De Lugny</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2"/>
          <c:min val="6"/>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C1D82901-2A14-4BE5-9A50-F227E4D0EBF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23D0C5CB-69FC-4BCF-9765-42AE4AB6229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71-46D6-BBFE-7C00E0D51738}"/>
                </c:ext>
              </c:extLst>
            </c:dLbl>
            <c:dLbl>
              <c:idx val="3"/>
              <c:tx>
                <c:rich>
                  <a:bodyPr/>
                  <a:lstStyle/>
                  <a:p>
                    <a:fld id="{73712DE3-EC0F-4F3F-B324-0557DB391CA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71-46D6-BBFE-7C00E0D51738}"/>
                </c:ext>
              </c:extLst>
            </c:dLbl>
            <c:dLbl>
              <c:idx val="4"/>
              <c:tx>
                <c:rich>
                  <a:bodyPr/>
                  <a:lstStyle/>
                  <a:p>
                    <a:fld id="{8903C7EC-5996-4554-B359-7EA3D0B4D66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871-46D6-BBFE-7C00E0D51738}"/>
                </c:ext>
              </c:extLst>
            </c:dLbl>
            <c:dLbl>
              <c:idx val="5"/>
              <c:tx>
                <c:rich>
                  <a:bodyPr/>
                  <a:lstStyle/>
                  <a:p>
                    <a:fld id="{2B6E3814-6E18-4B71-89E7-DBB9FB54C4C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D871-46D6-BBFE-7C00E0D51738}"/>
                </c:ext>
              </c:extLst>
            </c:dLbl>
            <c:dLbl>
              <c:idx val="6"/>
              <c:tx>
                <c:rich>
                  <a:bodyPr/>
                  <a:lstStyle/>
                  <a:p>
                    <a:fld id="{2E989D53-2DA4-4F76-9204-3ADDC70E05C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D871-46D6-BBFE-7C00E0D51738}"/>
                </c:ext>
              </c:extLst>
            </c:dLbl>
            <c:dLbl>
              <c:idx val="7"/>
              <c:tx>
                <c:rich>
                  <a:bodyPr/>
                  <a:lstStyle/>
                  <a:p>
                    <a:fld id="{18DF808B-3FF4-4C71-AFED-C768E831993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D871-46D6-BBFE-7C00E0D51738}"/>
                </c:ext>
              </c:extLst>
            </c:dLbl>
            <c:dLbl>
              <c:idx val="8"/>
              <c:tx>
                <c:rich>
                  <a:bodyPr/>
                  <a:lstStyle/>
                  <a:p>
                    <a:fld id="{04F304FE-2E14-41D6-AB81-C3078AFC249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6.9976000000000003</c:v>
                </c:pt>
                <c:pt idx="1">
                  <c:v>5.4188999999999998</c:v>
                </c:pt>
                <c:pt idx="2">
                  <c:v>6.3528000000000002</c:v>
                </c:pt>
                <c:pt idx="3">
                  <c:v>6.7249999999999996</c:v>
                </c:pt>
                <c:pt idx="4">
                  <c:v>7.1329000000000002</c:v>
                </c:pt>
                <c:pt idx="5">
                  <c:v>6.0354999999999999</c:v>
                </c:pt>
                <c:pt idx="6">
                  <c:v>7.5696000000000003</c:v>
                </c:pt>
                <c:pt idx="7">
                  <c:v>5.5134999999999996</c:v>
                </c:pt>
              </c:numCache>
            </c:numRef>
          </c:xVal>
          <c:yVal>
            <c:numRef>
              <c:f>Sheet1!$B$2:$B$9</c:f>
              <c:numCache>
                <c:formatCode>General</c:formatCode>
                <c:ptCount val="8"/>
                <c:pt idx="0">
                  <c:v>1.1539999999999999</c:v>
                </c:pt>
                <c:pt idx="1">
                  <c:v>0.82399999999999995</c:v>
                </c:pt>
                <c:pt idx="2">
                  <c:v>0.97499999999999998</c:v>
                </c:pt>
                <c:pt idx="3">
                  <c:v>1.1020000000000001</c:v>
                </c:pt>
                <c:pt idx="4">
                  <c:v>1.0620000000000001</c:v>
                </c:pt>
                <c:pt idx="5">
                  <c:v>0.96099999999999997</c:v>
                </c:pt>
                <c:pt idx="6">
                  <c:v>1.0680000000000001</c:v>
                </c:pt>
                <c:pt idx="7">
                  <c:v>0.89600000000000002</c:v>
                </c:pt>
              </c:numCache>
            </c:numRef>
          </c:yVal>
          <c:bubbleSize>
            <c:numRef>
              <c:f>Sheet1!$C$2:$C$9</c:f>
              <c:numCache>
                <c:formatCode>General</c:formatCode>
                <c:ptCount val="8"/>
                <c:pt idx="0">
                  <c:v>26217786</c:v>
                </c:pt>
                <c:pt idx="1">
                  <c:v>25627765</c:v>
                </c:pt>
                <c:pt idx="2">
                  <c:v>21162718</c:v>
                </c:pt>
                <c:pt idx="3">
                  <c:v>15294585</c:v>
                </c:pt>
                <c:pt idx="4">
                  <c:v>12946978</c:v>
                </c:pt>
                <c:pt idx="5">
                  <c:v>5219639</c:v>
                </c:pt>
                <c:pt idx="6">
                  <c:v>3730611</c:v>
                </c:pt>
                <c:pt idx="7">
                  <c:v>3036504</c:v>
                </c:pt>
              </c:numCache>
            </c:numRef>
          </c:bubbleSize>
          <c:bubble3D val="0"/>
          <c:extLst>
            <c:ext xmlns:c15="http://schemas.microsoft.com/office/drawing/2012/chart" uri="{02D57815-91ED-43cb-92C2-25804820EDAC}">
              <c15:datalabelsRange>
                <c15:f>Sheet1!$E$2:$E$10</c15:f>
                <c15:dlblRangeCache>
                  <c:ptCount val="9"/>
                  <c:pt idx="0">
                    <c:v>Riccadonna</c:v>
                  </c:pt>
                  <c:pt idx="1">
                    <c:v>Mdd</c:v>
                  </c:pt>
                  <c:pt idx="2">
                    <c:v>Vilaveroni</c:v>
                  </c:pt>
                  <c:pt idx="3">
                    <c:v>Perlino</c:v>
                  </c:pt>
                  <c:pt idx="4">
                    <c:v>Mionetto</c:v>
                  </c:pt>
                  <c:pt idx="5">
                    <c:v>Signore Giuseppe</c:v>
                  </c:pt>
                  <c:pt idx="6">
                    <c:v>Maschio</c:v>
                  </c:pt>
                  <c:pt idx="7">
                    <c:v>Nobrand</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9"/>
          <c:min val="4"/>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CA-4C16-90F6-A0D9A3D8DA8E}"/>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CA-4C16-90F6-A0D9A3D8DA8E}"/>
                </c:ext>
              </c:extLst>
            </c:dLbl>
            <c:dLbl>
              <c:idx val="1"/>
              <c:tx>
                <c:rich>
                  <a:bodyPr/>
                  <a:lstStyle/>
                  <a:p>
                    <a:fld id="{52394A33-5B4E-4D8F-BBCC-41890C8F805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CA-4C16-90F6-A0D9A3D8DA8E}"/>
                </c:ext>
              </c:extLst>
            </c:dLbl>
            <c:dLbl>
              <c:idx val="2"/>
              <c:tx>
                <c:rich>
                  <a:bodyPr/>
                  <a:lstStyle/>
                  <a:p>
                    <a:fld id="{25203407-F8F9-44B0-BDEF-1AFAF24E595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CA-4C16-90F6-A0D9A3D8DA8E}"/>
                </c:ext>
              </c:extLst>
            </c:dLbl>
            <c:dLbl>
              <c:idx val="3"/>
              <c:tx>
                <c:rich>
                  <a:bodyPr/>
                  <a:lstStyle/>
                  <a:p>
                    <a:fld id="{03FFE1B9-C2AE-44F6-991A-4D4FB44336F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CA-4C16-90F6-A0D9A3D8DA8E}"/>
                </c:ext>
              </c:extLst>
            </c:dLbl>
            <c:dLbl>
              <c:idx val="4"/>
              <c:tx>
                <c:rich>
                  <a:bodyPr/>
                  <a:lstStyle/>
                  <a:p>
                    <a:fld id="{CF12D4C0-E3D9-4BAC-9653-43E8DB0AD68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8CA-4C16-90F6-A0D9A3D8DA8E}"/>
                </c:ext>
              </c:extLst>
            </c:dLbl>
            <c:dLbl>
              <c:idx val="5"/>
              <c:tx>
                <c:rich>
                  <a:bodyPr/>
                  <a:lstStyle/>
                  <a:p>
                    <a:fld id="{D59B0895-CD6C-4399-8AD2-9CDC2DE8B24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D8CA-4C16-90F6-A0D9A3D8DA8E}"/>
                </c:ext>
              </c:extLst>
            </c:dLbl>
            <c:dLbl>
              <c:idx val="6"/>
              <c:tx>
                <c:rich>
                  <a:bodyPr/>
                  <a:lstStyle/>
                  <a:p>
                    <a:fld id="{73AEC5AD-34B7-444F-A71A-A0DB6D014E8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D8CA-4C16-90F6-A0D9A3D8DA8E}"/>
                </c:ext>
              </c:extLst>
            </c:dLbl>
            <c:dLbl>
              <c:idx val="7"/>
              <c:tx>
                <c:rich>
                  <a:bodyPr/>
                  <a:lstStyle/>
                  <a:p>
                    <a:fld id="{9721A0EF-87F1-45E6-8872-EC99FD5537C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D8CA-4C16-90F6-A0D9A3D8DA8E}"/>
                </c:ext>
              </c:extLst>
            </c:dLbl>
            <c:dLbl>
              <c:idx val="8"/>
              <c:tx>
                <c:rich>
                  <a:bodyPr/>
                  <a:lstStyle/>
                  <a:p>
                    <a:fld id="{3BF8EC9A-433E-4F16-9CD5-AF96CEC452A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CA-4C16-90F6-A0D9A3D8DA8E}"/>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5.3677000000000001</c:v>
                </c:pt>
                <c:pt idx="1">
                  <c:v>6.4625000000000004</c:v>
                </c:pt>
                <c:pt idx="2">
                  <c:v>6.7061999999999999</c:v>
                </c:pt>
                <c:pt idx="3">
                  <c:v>6.0472000000000001</c:v>
                </c:pt>
                <c:pt idx="4">
                  <c:v>7.1771000000000003</c:v>
                </c:pt>
                <c:pt idx="5">
                  <c:v>6.5438000000000001</c:v>
                </c:pt>
                <c:pt idx="6">
                  <c:v>6.5370999999999997</c:v>
                </c:pt>
                <c:pt idx="7">
                  <c:v>6.8582000000000001</c:v>
                </c:pt>
              </c:numCache>
            </c:numRef>
          </c:xVal>
          <c:yVal>
            <c:numRef>
              <c:f>Sheet1!$B$2:$B$9</c:f>
              <c:numCache>
                <c:formatCode>General</c:formatCode>
                <c:ptCount val="8"/>
                <c:pt idx="0">
                  <c:v>1.0009999999999999</c:v>
                </c:pt>
                <c:pt idx="1">
                  <c:v>1.0209999999999999</c:v>
                </c:pt>
                <c:pt idx="2">
                  <c:v>0.77900000000000003</c:v>
                </c:pt>
                <c:pt idx="3">
                  <c:v>0.93</c:v>
                </c:pt>
                <c:pt idx="4">
                  <c:v>1.1639999999999999</c:v>
                </c:pt>
                <c:pt idx="5">
                  <c:v>1.1859999999999999</c:v>
                </c:pt>
                <c:pt idx="6">
                  <c:v>0.748</c:v>
                </c:pt>
                <c:pt idx="7">
                  <c:v>1.3180000000000001</c:v>
                </c:pt>
              </c:numCache>
            </c:numRef>
          </c:yVal>
          <c:bubbleSize>
            <c:numRef>
              <c:f>Sheet1!$C$2:$C$9</c:f>
              <c:numCache>
                <c:formatCode>General</c:formatCode>
                <c:ptCount val="8"/>
                <c:pt idx="0">
                  <c:v>26939241</c:v>
                </c:pt>
                <c:pt idx="1">
                  <c:v>11877367</c:v>
                </c:pt>
                <c:pt idx="2">
                  <c:v>6775215</c:v>
                </c:pt>
                <c:pt idx="3">
                  <c:v>5266419</c:v>
                </c:pt>
                <c:pt idx="4">
                  <c:v>2899520</c:v>
                </c:pt>
                <c:pt idx="5">
                  <c:v>2333478</c:v>
                </c:pt>
                <c:pt idx="6">
                  <c:v>964260</c:v>
                </c:pt>
                <c:pt idx="7">
                  <c:v>953391</c:v>
                </c:pt>
              </c:numCache>
            </c:numRef>
          </c:bubbleSize>
          <c:bubble3D val="0"/>
          <c:extLst>
            <c:ext xmlns:c15="http://schemas.microsoft.com/office/drawing/2012/chart" uri="{02D57815-91ED-43cb-92C2-25804820EDAC}">
              <c15:datalabelsRange>
                <c15:f>Sheet1!$E$2:$E$10</c15:f>
                <c15:dlblRangeCache>
                  <c:ptCount val="9"/>
                  <c:pt idx="0">
                    <c:v>Mdd</c:v>
                  </c:pt>
                  <c:pt idx="1">
                    <c:v>Ackerman</c:v>
                  </c:pt>
                  <c:pt idx="2">
                    <c:v>Melle Ladubay</c:v>
                  </c:pt>
                  <c:pt idx="3">
                    <c:v>Gratien Et Meyer</c:v>
                  </c:pt>
                  <c:pt idx="4">
                    <c:v>Chateau Moncontour</c:v>
                  </c:pt>
                  <c:pt idx="5">
                    <c:v>Lacheteau</c:v>
                  </c:pt>
                  <c:pt idx="6">
                    <c:v>Jean Marc Toussaint</c:v>
                  </c:pt>
                  <c:pt idx="7">
                    <c:v>Sca Gd Vins</c:v>
                  </c:pt>
                </c15:dlblRangeCache>
              </c15:datalabelsRange>
            </c:ext>
            <c:ext xmlns:c16="http://schemas.microsoft.com/office/drawing/2014/chart" uri="{C3380CC4-5D6E-409C-BE32-E72D297353CC}">
              <c16:uniqueId val="{00000009-D8CA-4C16-90F6-A0D9A3D8DA8E}"/>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9"/>
          <c:min val="4"/>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E166DB9-7251-495B-9778-FED20125A27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FB8A202-7591-4CEF-BA4A-D677A5A9C66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9EDBF70-B313-4CCD-9F31-8D8A411CBD0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71DB2F2-FDE0-477C-919A-A71CE78B1BD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0705502-F28D-437D-943C-CD1D3A02F9D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CC8D23E4-E57B-47D4-8FC8-C71C077B61E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4BC9EED5-3D7B-4019-A9CE-859E0B8FA81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E50F1706-A28B-4A5F-86D9-C3BC132CAAA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7.1054000000000004</c:v>
                </c:pt>
                <c:pt idx="1">
                  <c:v>6.3410000000000002</c:v>
                </c:pt>
                <c:pt idx="2">
                  <c:v>7.1822999999999997</c:v>
                </c:pt>
                <c:pt idx="3">
                  <c:v>7.6665999999999999</c:v>
                </c:pt>
                <c:pt idx="4">
                  <c:v>7.1292999999999997</c:v>
                </c:pt>
                <c:pt idx="5">
                  <c:v>5.9306000000000001</c:v>
                </c:pt>
                <c:pt idx="6">
                  <c:v>6.8876999999999997</c:v>
                </c:pt>
                <c:pt idx="7">
                  <c:v>6.9467999999999996</c:v>
                </c:pt>
              </c:numCache>
            </c:numRef>
          </c:xVal>
          <c:yVal>
            <c:numRef>
              <c:f>Sheet1!$B$2:$B$9</c:f>
              <c:numCache>
                <c:formatCode>General</c:formatCode>
                <c:ptCount val="8"/>
                <c:pt idx="0">
                  <c:v>0.96799999999999997</c:v>
                </c:pt>
                <c:pt idx="1">
                  <c:v>1.157</c:v>
                </c:pt>
                <c:pt idx="2">
                  <c:v>1.0609999999999999</c:v>
                </c:pt>
                <c:pt idx="3">
                  <c:v>1.3089999999999999</c:v>
                </c:pt>
                <c:pt idx="4">
                  <c:v>0.96599999999999997</c:v>
                </c:pt>
                <c:pt idx="5">
                  <c:v>0.371</c:v>
                </c:pt>
                <c:pt idx="6">
                  <c:v>0.89600000000000002</c:v>
                </c:pt>
                <c:pt idx="7">
                  <c:v>0.93700000000000006</c:v>
                </c:pt>
              </c:numCache>
            </c:numRef>
          </c:yVal>
          <c:bubbleSize>
            <c:numRef>
              <c:f>Sheet1!$C$2:$C$9</c:f>
              <c:numCache>
                <c:formatCode>General</c:formatCode>
                <c:ptCount val="8"/>
                <c:pt idx="0">
                  <c:v>32603771</c:v>
                </c:pt>
                <c:pt idx="1">
                  <c:v>28541428</c:v>
                </c:pt>
                <c:pt idx="2">
                  <c:v>16692146</c:v>
                </c:pt>
                <c:pt idx="3">
                  <c:v>2899640</c:v>
                </c:pt>
                <c:pt idx="4">
                  <c:v>2432770</c:v>
                </c:pt>
                <c:pt idx="5">
                  <c:v>1442399</c:v>
                </c:pt>
                <c:pt idx="6">
                  <c:v>1348354</c:v>
                </c:pt>
                <c:pt idx="7">
                  <c:v>1286705</c:v>
                </c:pt>
              </c:numCache>
            </c:numRef>
          </c:bubbleSize>
          <c:bubble3D val="0"/>
          <c:extLst>
            <c:ext xmlns:c15="http://schemas.microsoft.com/office/drawing/2012/chart" uri="{02D57815-91ED-43cb-92C2-25804820EDAC}">
              <c15:datalabelsRange>
                <c15:f>Sheet1!$E$2:$E$10</c15:f>
                <c15:dlblRangeCache>
                  <c:ptCount val="9"/>
                  <c:pt idx="0">
                    <c:v>Wolfberger</c:v>
                  </c:pt>
                  <c:pt idx="1">
                    <c:v>Mdd</c:v>
                  </c:pt>
                  <c:pt idx="2">
                    <c:v>Arthur Metz</c:v>
                  </c:pt>
                  <c:pt idx="3">
                    <c:v>Bestheim</c:v>
                  </c:pt>
                  <c:pt idx="4">
                    <c:v>Cave Beblenheim</c:v>
                  </c:pt>
                  <c:pt idx="5">
                    <c:v>Les Quinze Arpents</c:v>
                  </c:pt>
                  <c:pt idx="6">
                    <c:v>Geiler Jean</c:v>
                  </c:pt>
                  <c:pt idx="7">
                    <c:v>Dopff</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9"/>
          <c:min val="5"/>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AD664BB4-1319-4EB3-9BA6-17E04B6EB71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8F4649F9-DB36-4B33-81E6-C28D2C86270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3D6C8044-8754-42C7-BC1B-6AF4A73C199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E50D0B85-5B09-42E9-A526-C65420E3214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B01567D4-8B2F-403E-87FD-516E94D4B0D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00BE5A17-F9DC-41CB-8A93-3A0ACD5A4BE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F71195CE-9D27-4008-9A76-72936916D78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48EF-49EC-8B4D-EC25A4464CE3}"/>
                </c:ext>
              </c:extLst>
            </c:dLbl>
            <c:dLbl>
              <c:idx val="8"/>
              <c:tx>
                <c:rich>
                  <a:bodyPr/>
                  <a:lstStyle/>
                  <a:p>
                    <a:fld id="{5A9B0E14-86EA-437A-8A7A-F9EE40AC90D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5.3131000000000004</c:v>
                </c:pt>
                <c:pt idx="1">
                  <c:v>7.2641</c:v>
                </c:pt>
                <c:pt idx="2">
                  <c:v>6.9162999999999997</c:v>
                </c:pt>
                <c:pt idx="3">
                  <c:v>6.5225999999999997</c:v>
                </c:pt>
                <c:pt idx="4">
                  <c:v>7.99</c:v>
                </c:pt>
                <c:pt idx="5">
                  <c:v>7.0077999999999996</c:v>
                </c:pt>
                <c:pt idx="6">
                  <c:v>5.8705999999999996</c:v>
                </c:pt>
              </c:numCache>
            </c:numRef>
          </c:xVal>
          <c:yVal>
            <c:numRef>
              <c:f>Sheet1!$B$2:$B$8</c:f>
              <c:numCache>
                <c:formatCode>General</c:formatCode>
                <c:ptCount val="7"/>
                <c:pt idx="0">
                  <c:v>0.92500000000000004</c:v>
                </c:pt>
                <c:pt idx="1">
                  <c:v>1.0860000000000001</c:v>
                </c:pt>
                <c:pt idx="2">
                  <c:v>1.224</c:v>
                </c:pt>
                <c:pt idx="3">
                  <c:v>0.96599999999999997</c:v>
                </c:pt>
                <c:pt idx="4">
                  <c:v>1.377</c:v>
                </c:pt>
                <c:pt idx="5">
                  <c:v>1.2390000000000001</c:v>
                </c:pt>
                <c:pt idx="6">
                  <c:v>0.29799999999999999</c:v>
                </c:pt>
              </c:numCache>
            </c:numRef>
          </c:yVal>
          <c:bubbleSize>
            <c:numRef>
              <c:f>Sheet1!$C$2:$C$8</c:f>
              <c:numCache>
                <c:formatCode>General</c:formatCode>
                <c:ptCount val="7"/>
                <c:pt idx="0">
                  <c:v>3233122</c:v>
                </c:pt>
                <c:pt idx="1">
                  <c:v>2298436</c:v>
                </c:pt>
                <c:pt idx="2">
                  <c:v>2130700</c:v>
                </c:pt>
                <c:pt idx="3">
                  <c:v>1540327</c:v>
                </c:pt>
                <c:pt idx="4">
                  <c:v>1026974</c:v>
                </c:pt>
                <c:pt idx="5">
                  <c:v>477794</c:v>
                </c:pt>
                <c:pt idx="6">
                  <c:v>162181</c:v>
                </c:pt>
              </c:numCache>
            </c:numRef>
          </c:bubbleSize>
          <c:bubble3D val="0"/>
          <c:extLst>
            <c:ext xmlns:c15="http://schemas.microsoft.com/office/drawing/2012/chart" uri="{02D57815-91ED-43cb-92C2-25804820EDAC}">
              <c15:datalabelsRange>
                <c15:f>Sheet1!$E$2:$E$10</c15:f>
                <c15:dlblRangeCache>
                  <c:ptCount val="9"/>
                  <c:pt idx="0">
                    <c:v>Mdd</c:v>
                  </c:pt>
                  <c:pt idx="1">
                    <c:v>Ballarin Jean Louis</c:v>
                  </c:pt>
                  <c:pt idx="2">
                    <c:v>Malesan</c:v>
                  </c:pt>
                  <c:pt idx="3">
                    <c:v>Jaillance</c:v>
                  </c:pt>
                  <c:pt idx="4">
                    <c:v>Sieur Gaillard</c:v>
                  </c:pt>
                  <c:pt idx="5">
                    <c:v>Les Cordeliers</c:v>
                  </c:pt>
                  <c:pt idx="6">
                    <c:v>Calvet</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0"/>
          <c:min val="4"/>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B5C812E-120B-48C7-A9F9-53A28197613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D4A288E-4AF4-4E11-B094-3347B13E936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4846FE7-00C3-426E-A3C7-8E83CDD64D0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24E642D-A705-4E9C-A006-DC3A3BFDA79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99E60A5-714F-4319-90B5-C6C604CBE5E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62D6E3B-D11E-41AF-962A-2A325EF36E6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4B0423B8-565E-4CBC-AB57-072EFA67B2C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1D147566-AFA4-4B78-91D5-26393B8D82D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98.609899999999996</c:v>
                </c:pt>
                <c:pt idx="1">
                  <c:v>39.417499999999997</c:v>
                </c:pt>
                <c:pt idx="2">
                  <c:v>35.276000000000003</c:v>
                </c:pt>
                <c:pt idx="3">
                  <c:v>46.558799999999998</c:v>
                </c:pt>
                <c:pt idx="4">
                  <c:v>59.063800000000001</c:v>
                </c:pt>
                <c:pt idx="5">
                  <c:v>52.780999999999999</c:v>
                </c:pt>
                <c:pt idx="6">
                  <c:v>37.8521</c:v>
                </c:pt>
                <c:pt idx="7">
                  <c:v>75.428600000000003</c:v>
                </c:pt>
              </c:numCache>
            </c:numRef>
          </c:xVal>
          <c:yVal>
            <c:numRef>
              <c:f>Sheet1!$B$2:$B$9</c:f>
              <c:numCache>
                <c:formatCode>General</c:formatCode>
                <c:ptCount val="8"/>
                <c:pt idx="0">
                  <c:v>1.4019999999999999</c:v>
                </c:pt>
                <c:pt idx="1">
                  <c:v>0.58299999999999996</c:v>
                </c:pt>
                <c:pt idx="2">
                  <c:v>0.504</c:v>
                </c:pt>
                <c:pt idx="3">
                  <c:v>0.66500000000000004</c:v>
                </c:pt>
                <c:pt idx="4">
                  <c:v>0.88300000000000001</c:v>
                </c:pt>
                <c:pt idx="5">
                  <c:v>0.75</c:v>
                </c:pt>
                <c:pt idx="6">
                  <c:v>0.54100000000000004</c:v>
                </c:pt>
                <c:pt idx="7">
                  <c:v>1.071</c:v>
                </c:pt>
              </c:numCache>
            </c:numRef>
          </c:yVal>
          <c:bubbleSize>
            <c:numRef>
              <c:f>Sheet1!$C$2:$C$9</c:f>
              <c:numCache>
                <c:formatCode>General</c:formatCode>
                <c:ptCount val="8"/>
                <c:pt idx="0">
                  <c:v>1705852</c:v>
                </c:pt>
                <c:pt idx="1">
                  <c:v>231105</c:v>
                </c:pt>
                <c:pt idx="2">
                  <c:v>202096</c:v>
                </c:pt>
                <c:pt idx="3">
                  <c:v>117654</c:v>
                </c:pt>
                <c:pt idx="4">
                  <c:v>108323</c:v>
                </c:pt>
                <c:pt idx="5">
                  <c:v>81230</c:v>
                </c:pt>
                <c:pt idx="6">
                  <c:v>76802</c:v>
                </c:pt>
                <c:pt idx="7">
                  <c:v>62304</c:v>
                </c:pt>
              </c:numCache>
            </c:numRef>
          </c:bubbleSize>
          <c:bubble3D val="0"/>
          <c:extLst>
            <c:ext xmlns:c15="http://schemas.microsoft.com/office/drawing/2012/chart" uri="{02D57815-91ED-43cb-92C2-25804820EDAC}">
              <c15:datalabelsRange>
                <c15:f>Sheet1!$E$2:$E$10</c15:f>
                <c15:dlblRangeCache>
                  <c:ptCount val="9"/>
                  <c:pt idx="0">
                    <c:v>Ruinart</c:v>
                  </c:pt>
                  <c:pt idx="1">
                    <c:v>Nicolas</c:v>
                  </c:pt>
                  <c:pt idx="2">
                    <c:v>Malard</c:v>
                  </c:pt>
                  <c:pt idx="3">
                    <c:v>Henriot</c:v>
                  </c:pt>
                  <c:pt idx="4">
                    <c:v>Besserat De Bellefon</c:v>
                  </c:pt>
                  <c:pt idx="5">
                    <c:v>Delamotte</c:v>
                  </c:pt>
                  <c:pt idx="6">
                    <c:v>De Bligny</c:v>
                  </c:pt>
                  <c:pt idx="7">
                    <c:v>Ayala</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18"/>
          <c:min val="28"/>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CD20C297-FF72-4C7C-AB2A-C78288C10BC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D5575F0C-AA3A-4DA1-AEFC-9ACA9EEF3B2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CD0FB38C-8A97-4009-A249-D1DDF7C009E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6D2C4A99-E3B8-4BAB-AB93-9CC7C3C0DE4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6CB76B57-E35C-49F0-BDEA-7310CB43889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CF3D8958-2BED-4808-89BD-498096B5114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D78A2B8E-6490-4EB0-B18A-7C11B00137C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5FDC7731-B909-45DD-A6DB-4E02557B32D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56.943199999999997</c:v>
                </c:pt>
                <c:pt idx="1">
                  <c:v>22.2364</c:v>
                </c:pt>
                <c:pt idx="2">
                  <c:v>47.675199999999997</c:v>
                </c:pt>
                <c:pt idx="3">
                  <c:v>48.289099999999998</c:v>
                </c:pt>
                <c:pt idx="4">
                  <c:v>29.328600000000002</c:v>
                </c:pt>
                <c:pt idx="5">
                  <c:v>37.176900000000003</c:v>
                </c:pt>
                <c:pt idx="6">
                  <c:v>29.502600000000001</c:v>
                </c:pt>
                <c:pt idx="7">
                  <c:v>51.646000000000001</c:v>
                </c:pt>
              </c:numCache>
            </c:numRef>
          </c:xVal>
          <c:yVal>
            <c:numRef>
              <c:f>Sheet1!$B$2:$B$9</c:f>
              <c:numCache>
                <c:formatCode>General</c:formatCode>
                <c:ptCount val="8"/>
                <c:pt idx="0">
                  <c:v>1.4419999999999999</c:v>
                </c:pt>
                <c:pt idx="1">
                  <c:v>0.56899999999999995</c:v>
                </c:pt>
                <c:pt idx="2">
                  <c:v>1.1950000000000001</c:v>
                </c:pt>
                <c:pt idx="3">
                  <c:v>1.101</c:v>
                </c:pt>
                <c:pt idx="4">
                  <c:v>0.751</c:v>
                </c:pt>
                <c:pt idx="5">
                  <c:v>0.95199999999999996</c:v>
                </c:pt>
                <c:pt idx="6">
                  <c:v>0.79200000000000004</c:v>
                </c:pt>
                <c:pt idx="7">
                  <c:v>1.1659999999999999</c:v>
                </c:pt>
              </c:numCache>
            </c:numRef>
          </c:yVal>
          <c:bubbleSize>
            <c:numRef>
              <c:f>Sheet1!$C$2:$C$9</c:f>
              <c:numCache>
                <c:formatCode>General</c:formatCode>
                <c:ptCount val="8"/>
                <c:pt idx="0">
                  <c:v>3709394</c:v>
                </c:pt>
                <c:pt idx="1">
                  <c:v>2057383</c:v>
                </c:pt>
                <c:pt idx="2">
                  <c:v>1951631</c:v>
                </c:pt>
                <c:pt idx="3">
                  <c:v>1194382</c:v>
                </c:pt>
                <c:pt idx="4">
                  <c:v>1029785</c:v>
                </c:pt>
                <c:pt idx="5">
                  <c:v>867115</c:v>
                </c:pt>
                <c:pt idx="6">
                  <c:v>771759</c:v>
                </c:pt>
                <c:pt idx="7">
                  <c:v>726195</c:v>
                </c:pt>
              </c:numCache>
            </c:numRef>
          </c:bubbleSize>
          <c:bubble3D val="0"/>
          <c:extLst>
            <c:ext xmlns:c15="http://schemas.microsoft.com/office/drawing/2012/chart" uri="{02D57815-91ED-43cb-92C2-25804820EDAC}">
              <c15:datalabelsRange>
                <c15:f>Sheet1!$E$2:$E$10</c15:f>
                <c15:dlblRangeCache>
                  <c:ptCount val="9"/>
                  <c:pt idx="0">
                    <c:v>Ruinart</c:v>
                  </c:pt>
                  <c:pt idx="1">
                    <c:v>Nicolas</c:v>
                  </c:pt>
                  <c:pt idx="2">
                    <c:v>Deutz</c:v>
                  </c:pt>
                  <c:pt idx="3">
                    <c:v>Laurent Perrier</c:v>
                  </c:pt>
                  <c:pt idx="4">
                    <c:v>Heidsieck &amp; Co Monopole</c:v>
                  </c:pt>
                  <c:pt idx="5">
                    <c:v>Ayala</c:v>
                  </c:pt>
                  <c:pt idx="6">
                    <c:v>Canard Duchêne</c:v>
                  </c:pt>
                  <c:pt idx="7">
                    <c:v>Taittinger</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8"/>
          <c:min val="18"/>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E41A7534-A269-4C59-B797-C09C17ECEB1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43502A03-56E0-4B48-9754-E82B10D920E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71-46D6-BBFE-7C00E0D51738}"/>
                </c:ext>
              </c:extLst>
            </c:dLbl>
            <c:dLbl>
              <c:idx val="3"/>
              <c:tx>
                <c:rich>
                  <a:bodyPr/>
                  <a:lstStyle/>
                  <a:p>
                    <a:fld id="{CBE89C41-6E2C-4F98-B0F8-7CD5DF0E4FE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71-46D6-BBFE-7C00E0D51738}"/>
                </c:ext>
              </c:extLst>
            </c:dLbl>
            <c:dLbl>
              <c:idx val="4"/>
              <c:tx>
                <c:rich>
                  <a:bodyPr/>
                  <a:lstStyle/>
                  <a:p>
                    <a:fld id="{6BDF0A4D-E7A1-449F-8487-48432185EFE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D871-46D6-BBFE-7C00E0D51738}"/>
                </c:ext>
              </c:extLst>
            </c:dLbl>
            <c:dLbl>
              <c:idx val="5"/>
              <c:tx>
                <c:rich>
                  <a:bodyPr/>
                  <a:lstStyle/>
                  <a:p>
                    <a:fld id="{949D6DFD-EF2B-466E-B4EE-A97184E4775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71-46D6-BBFE-7C00E0D51738}"/>
                </c:ext>
              </c:extLst>
            </c:dLbl>
            <c:dLbl>
              <c:idx val="6"/>
              <c:tx>
                <c:rich>
                  <a:bodyPr/>
                  <a:lstStyle/>
                  <a:p>
                    <a:fld id="{1EC6489A-5EAA-4A15-8896-A74347BA8CD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71-46D6-BBFE-7C00E0D51738}"/>
                </c:ext>
              </c:extLst>
            </c:dLbl>
            <c:dLbl>
              <c:idx val="7"/>
              <c:tx>
                <c:rich>
                  <a:bodyPr/>
                  <a:lstStyle/>
                  <a:p>
                    <a:fld id="{2FE7C13F-C166-4C62-8E4D-3E01337CB11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71-46D6-BBFE-7C00E0D51738}"/>
                </c:ext>
              </c:extLst>
            </c:dLbl>
            <c:dLbl>
              <c:idx val="8"/>
              <c:tx>
                <c:rich>
                  <a:bodyPr/>
                  <a:lstStyle/>
                  <a:p>
                    <a:fld id="{CC128F90-E0BE-493B-A4FB-62543395586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29.6553</c:v>
                </c:pt>
                <c:pt idx="1">
                  <c:v>30.398399999999999</c:v>
                </c:pt>
                <c:pt idx="2">
                  <c:v>31.399699999999999</c:v>
                </c:pt>
                <c:pt idx="3">
                  <c:v>35.377000000000002</c:v>
                </c:pt>
              </c:numCache>
            </c:numRef>
          </c:xVal>
          <c:yVal>
            <c:numRef>
              <c:f>Sheet1!$B$2:$B$5</c:f>
              <c:numCache>
                <c:formatCode>General</c:formatCode>
                <c:ptCount val="4"/>
                <c:pt idx="0">
                  <c:v>0.98799999999999999</c:v>
                </c:pt>
                <c:pt idx="1">
                  <c:v>1.012</c:v>
                </c:pt>
                <c:pt idx="2">
                  <c:v>1.0469999999999999</c:v>
                </c:pt>
                <c:pt idx="3">
                  <c:v>1.0880000000000001</c:v>
                </c:pt>
              </c:numCache>
            </c:numRef>
          </c:yVal>
          <c:bubbleSize>
            <c:numRef>
              <c:f>Sheet1!$C$2:$C$5</c:f>
              <c:numCache>
                <c:formatCode>General</c:formatCode>
                <c:ptCount val="4"/>
                <c:pt idx="0">
                  <c:v>1002232</c:v>
                </c:pt>
                <c:pt idx="1">
                  <c:v>253340</c:v>
                </c:pt>
                <c:pt idx="2">
                  <c:v>140074</c:v>
                </c:pt>
                <c:pt idx="3">
                  <c:v>28903</c:v>
                </c:pt>
              </c:numCache>
            </c:numRef>
          </c:bubbleSize>
          <c:bubble3D val="0"/>
          <c:extLst>
            <c:ext xmlns:c15="http://schemas.microsoft.com/office/drawing/2012/chart" uri="{02D57815-91ED-43cb-92C2-25804820EDAC}">
              <c15:datalabelsRange>
                <c15:f>Sheet1!$E$2:$E$10</c15:f>
                <c15:dlblRangeCache>
                  <c:ptCount val="9"/>
                  <c:pt idx="0">
                    <c:v>Malard</c:v>
                  </c:pt>
                  <c:pt idx="1">
                    <c:v>Vesselle</c:v>
                  </c:pt>
                  <c:pt idx="2">
                    <c:v>Louis Martin</c:v>
                  </c:pt>
                  <c:pt idx="3">
                    <c:v>Nicolas</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2"/>
          <c:min val="24"/>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CA-4C16-90F6-A0D9A3D8DA8E}"/>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CA-4C16-90F6-A0D9A3D8DA8E}"/>
                </c:ext>
              </c:extLst>
            </c:dLbl>
            <c:dLbl>
              <c:idx val="1"/>
              <c:tx>
                <c:rich>
                  <a:bodyPr/>
                  <a:lstStyle/>
                  <a:p>
                    <a:fld id="{3189FCA5-9CB6-4393-9A1F-15BFDB993C2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CA-4C16-90F6-A0D9A3D8DA8E}"/>
                </c:ext>
              </c:extLst>
            </c:dLbl>
            <c:dLbl>
              <c:idx val="2"/>
              <c:tx>
                <c:rich>
                  <a:bodyPr/>
                  <a:lstStyle/>
                  <a:p>
                    <a:fld id="{B2749412-F374-453D-A337-122F5911C68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CA-4C16-90F6-A0D9A3D8DA8E}"/>
                </c:ext>
              </c:extLst>
            </c:dLbl>
            <c:dLbl>
              <c:idx val="3"/>
              <c:tx>
                <c:rich>
                  <a:bodyPr/>
                  <a:lstStyle/>
                  <a:p>
                    <a:fld id="{9A4A71A3-C573-4332-AD1D-A0B1C5892B5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D8CA-4C16-90F6-A0D9A3D8DA8E}"/>
                </c:ext>
              </c:extLst>
            </c:dLbl>
            <c:dLbl>
              <c:idx val="4"/>
              <c:tx>
                <c:rich>
                  <a:bodyPr/>
                  <a:lstStyle/>
                  <a:p>
                    <a:fld id="{1397D7AA-8E7B-4326-B2D1-A4F5C24C13B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D8CA-4C16-90F6-A0D9A3D8DA8E}"/>
                </c:ext>
              </c:extLst>
            </c:dLbl>
            <c:dLbl>
              <c:idx val="5"/>
              <c:tx>
                <c:rich>
                  <a:bodyPr/>
                  <a:lstStyle/>
                  <a:p>
                    <a:fld id="{0AF5EB68-1ADD-4A25-ABD2-7B48149063E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CA-4C16-90F6-A0D9A3D8DA8E}"/>
                </c:ext>
              </c:extLst>
            </c:dLbl>
            <c:dLbl>
              <c:idx val="6"/>
              <c:tx>
                <c:rich>
                  <a:bodyPr/>
                  <a:lstStyle/>
                  <a:p>
                    <a:fld id="{4B6C73A5-CE79-4043-A6B9-3A780FE33E6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CA-4C16-90F6-A0D9A3D8DA8E}"/>
                </c:ext>
              </c:extLst>
            </c:dLbl>
            <c:dLbl>
              <c:idx val="7"/>
              <c:tx>
                <c:rich>
                  <a:bodyPr/>
                  <a:lstStyle/>
                  <a:p>
                    <a:fld id="{630B13C4-08B2-408C-B23B-719ED4B621C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CA-4C16-90F6-A0D9A3D8DA8E}"/>
                </c:ext>
              </c:extLst>
            </c:dLbl>
            <c:dLbl>
              <c:idx val="8"/>
              <c:tx>
                <c:rich>
                  <a:bodyPr/>
                  <a:lstStyle/>
                  <a:p>
                    <a:fld id="{02792C1B-B086-4FBC-BEBD-59C17512C71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CA-4C16-90F6-A0D9A3D8DA8E}"/>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31.183</c:v>
                </c:pt>
                <c:pt idx="1">
                  <c:v>43.559199999999997</c:v>
                </c:pt>
                <c:pt idx="2">
                  <c:v>38.469000000000001</c:v>
                </c:pt>
              </c:numCache>
            </c:numRef>
          </c:xVal>
          <c:yVal>
            <c:numRef>
              <c:f>Sheet1!$B$2:$B$4</c:f>
              <c:numCache>
                <c:formatCode>General</c:formatCode>
                <c:ptCount val="3"/>
                <c:pt idx="0">
                  <c:v>0.94</c:v>
                </c:pt>
                <c:pt idx="1">
                  <c:v>1.3120000000000001</c:v>
                </c:pt>
                <c:pt idx="2">
                  <c:v>1.1519999999999999</c:v>
                </c:pt>
              </c:numCache>
            </c:numRef>
          </c:yVal>
          <c:bubbleSize>
            <c:numRef>
              <c:f>Sheet1!$C$2:$C$4</c:f>
              <c:numCache>
                <c:formatCode>General</c:formatCode>
                <c:ptCount val="3"/>
                <c:pt idx="0">
                  <c:v>827128</c:v>
                </c:pt>
                <c:pt idx="1">
                  <c:v>211001</c:v>
                </c:pt>
                <c:pt idx="2">
                  <c:v>17388</c:v>
                </c:pt>
              </c:numCache>
            </c:numRef>
          </c:bubbleSize>
          <c:bubble3D val="0"/>
          <c:extLst>
            <c:ext xmlns:c15="http://schemas.microsoft.com/office/drawing/2012/chart" uri="{02D57815-91ED-43cb-92C2-25804820EDAC}">
              <c15:datalabelsRange>
                <c15:f>Sheet1!$E$2:$E$10</c15:f>
                <c15:dlblRangeCache>
                  <c:ptCount val="9"/>
                  <c:pt idx="0">
                    <c:v>Nicolas Feuillatte</c:v>
                  </c:pt>
                  <c:pt idx="1">
                    <c:v>Moët &amp; Chandon</c:v>
                  </c:pt>
                  <c:pt idx="2">
                    <c:v>Canard Duchêne</c:v>
                  </c:pt>
                </c15:dlblRangeCache>
              </c15:datalabelsRange>
            </c:ext>
            <c:ext xmlns:c16="http://schemas.microsoft.com/office/drawing/2014/chart" uri="{C3380CC4-5D6E-409C-BE32-E72D297353CC}">
              <c16:uniqueId val="{00000009-D8CA-4C16-90F6-A0D9A3D8DA8E}"/>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2"/>
          <c:min val="25"/>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C7F7917-A692-4E08-BDC9-D0370991801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3ED625F-13CD-453E-ACAE-04905A717BD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AB180B7-91BD-4658-9A7F-B201F3C7465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0724DB0-B11F-4C53-81A1-4A942594BE8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6EC7CD5-3050-4B57-A3E9-FFDE1173E58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962CF07-FC9A-476B-9703-8D34A599F4E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5E150041-7E4B-4773-B501-D3C74A63C04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4D08ADEE-E83C-43FD-A3C6-C2C98A58486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59.1438</c:v>
                </c:pt>
                <c:pt idx="1">
                  <c:v>155.31</c:v>
                </c:pt>
                <c:pt idx="2">
                  <c:v>37.252499999999998</c:v>
                </c:pt>
                <c:pt idx="3">
                  <c:v>93.597999999999999</c:v>
                </c:pt>
                <c:pt idx="4">
                  <c:v>62.747599999999998</c:v>
                </c:pt>
                <c:pt idx="5">
                  <c:v>254.06059999999999</c:v>
                </c:pt>
                <c:pt idx="6">
                  <c:v>268.13209999999998</c:v>
                </c:pt>
                <c:pt idx="7">
                  <c:v>204.03389999999999</c:v>
                </c:pt>
              </c:numCache>
            </c:numRef>
          </c:xVal>
          <c:yVal>
            <c:numRef>
              <c:f>Sheet1!$B$2:$B$9</c:f>
              <c:numCache>
                <c:formatCode>General</c:formatCode>
                <c:ptCount val="8"/>
                <c:pt idx="0">
                  <c:v>2.1040000000000001</c:v>
                </c:pt>
                <c:pt idx="1">
                  <c:v>1.24</c:v>
                </c:pt>
                <c:pt idx="2">
                  <c:v>0.30299999999999999</c:v>
                </c:pt>
                <c:pt idx="3">
                  <c:v>0.75600000000000001</c:v>
                </c:pt>
                <c:pt idx="4">
                  <c:v>0.50800000000000001</c:v>
                </c:pt>
                <c:pt idx="5">
                  <c:v>1.905</c:v>
                </c:pt>
                <c:pt idx="6">
                  <c:v>1.855</c:v>
                </c:pt>
                <c:pt idx="7">
                  <c:v>1.5720000000000001</c:v>
                </c:pt>
              </c:numCache>
            </c:numRef>
          </c:yVal>
          <c:bubbleSize>
            <c:numRef>
              <c:f>Sheet1!$C$2:$C$9</c:f>
              <c:numCache>
                <c:formatCode>General</c:formatCode>
                <c:ptCount val="8"/>
                <c:pt idx="0">
                  <c:v>358655</c:v>
                </c:pt>
                <c:pt idx="1">
                  <c:v>255019</c:v>
                </c:pt>
                <c:pt idx="2">
                  <c:v>92796</c:v>
                </c:pt>
                <c:pt idx="3">
                  <c:v>83583</c:v>
                </c:pt>
                <c:pt idx="4">
                  <c:v>32315</c:v>
                </c:pt>
                <c:pt idx="5">
                  <c:v>25152</c:v>
                </c:pt>
                <c:pt idx="6">
                  <c:v>14211</c:v>
                </c:pt>
                <c:pt idx="7">
                  <c:v>12038</c:v>
                </c:pt>
              </c:numCache>
            </c:numRef>
          </c:bubbleSize>
          <c:bubble3D val="0"/>
          <c:extLst>
            <c:ext xmlns:c15="http://schemas.microsoft.com/office/drawing/2012/chart" uri="{02D57815-91ED-43cb-92C2-25804820EDAC}">
              <c15:datalabelsRange>
                <c15:f>Sheet1!$E$2:$E$10</c15:f>
                <c15:dlblRangeCache>
                  <c:ptCount val="9"/>
                  <c:pt idx="0">
                    <c:v>Dom Perignon</c:v>
                  </c:pt>
                  <c:pt idx="1">
                    <c:v>Roederer</c:v>
                  </c:pt>
                  <c:pt idx="2">
                    <c:v>Malard</c:v>
                  </c:pt>
                  <c:pt idx="3">
                    <c:v>Ruinart</c:v>
                  </c:pt>
                  <c:pt idx="4">
                    <c:v>Laurent Perrier</c:v>
                  </c:pt>
                  <c:pt idx="5">
                    <c:v>Bollinger</c:v>
                  </c:pt>
                  <c:pt idx="6">
                    <c:v>Piper Heidsieck</c:v>
                  </c:pt>
                  <c:pt idx="7">
                    <c:v>Veuve Clicquot</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22"/>
          <c:min val="30"/>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521EB8D-49F8-4A66-A222-AFD81300BBB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D579B12-68A5-4792-BD83-6FCAF198A09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8E95FF6-9382-49AB-90C4-394E43CB8D0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EE521FE-4657-43A4-AB68-63EDEE277D8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E60681F-E2E4-4509-B0EB-BA5D9F121AE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70F9FD3-7AFA-4FE3-BD5A-77BF43AE68E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CB492291-9475-435F-ACAB-54D2EFDFADE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59809F94-118C-41FF-A545-14B7CB72A8F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70.778700000000001</c:v>
                </c:pt>
                <c:pt idx="1">
                  <c:v>51.711100000000002</c:v>
                </c:pt>
                <c:pt idx="2">
                  <c:v>24.7149</c:v>
                </c:pt>
                <c:pt idx="3">
                  <c:v>31.674600000000002</c:v>
                </c:pt>
                <c:pt idx="4">
                  <c:v>56.167200000000001</c:v>
                </c:pt>
                <c:pt idx="5">
                  <c:v>29.235499999999998</c:v>
                </c:pt>
                <c:pt idx="6">
                  <c:v>56.559800000000003</c:v>
                </c:pt>
                <c:pt idx="7">
                  <c:v>34.003700000000002</c:v>
                </c:pt>
              </c:numCache>
            </c:numRef>
          </c:xVal>
          <c:yVal>
            <c:numRef>
              <c:f>Sheet1!$B$2:$B$9</c:f>
              <c:numCache>
                <c:formatCode>General</c:formatCode>
                <c:ptCount val="8"/>
                <c:pt idx="0">
                  <c:v>2.0049999999999999</c:v>
                </c:pt>
                <c:pt idx="1">
                  <c:v>1.42</c:v>
                </c:pt>
                <c:pt idx="2">
                  <c:v>0.70899999999999996</c:v>
                </c:pt>
                <c:pt idx="3">
                  <c:v>0.91300000000000003</c:v>
                </c:pt>
                <c:pt idx="4">
                  <c:v>1.377</c:v>
                </c:pt>
                <c:pt idx="5">
                  <c:v>0.84399999999999997</c:v>
                </c:pt>
                <c:pt idx="6">
                  <c:v>1.3680000000000001</c:v>
                </c:pt>
                <c:pt idx="7">
                  <c:v>0.95</c:v>
                </c:pt>
              </c:numCache>
            </c:numRef>
          </c:yVal>
          <c:bubbleSize>
            <c:numRef>
              <c:f>Sheet1!$C$2:$C$9</c:f>
              <c:numCache>
                <c:formatCode>General</c:formatCode>
                <c:ptCount val="8"/>
                <c:pt idx="0">
                  <c:v>878434</c:v>
                </c:pt>
                <c:pt idx="1">
                  <c:v>324746</c:v>
                </c:pt>
                <c:pt idx="2">
                  <c:v>279303</c:v>
                </c:pt>
                <c:pt idx="3">
                  <c:v>176681</c:v>
                </c:pt>
                <c:pt idx="4">
                  <c:v>160863</c:v>
                </c:pt>
                <c:pt idx="5">
                  <c:v>125888</c:v>
                </c:pt>
                <c:pt idx="6">
                  <c:v>122961</c:v>
                </c:pt>
                <c:pt idx="7">
                  <c:v>120849</c:v>
                </c:pt>
              </c:numCache>
            </c:numRef>
          </c:bubbleSize>
          <c:bubble3D val="0"/>
          <c:extLst>
            <c:ext xmlns:c15="http://schemas.microsoft.com/office/drawing/2012/chart" uri="{02D57815-91ED-43cb-92C2-25804820EDAC}">
              <c15:datalabelsRange>
                <c15:f>Sheet1!$E$2:$E$10</c15:f>
                <c15:dlblRangeCache>
                  <c:ptCount val="9"/>
                  <c:pt idx="0">
                    <c:v>Ruinart</c:v>
                  </c:pt>
                  <c:pt idx="1">
                    <c:v>Deutz</c:v>
                  </c:pt>
                  <c:pt idx="2">
                    <c:v>Nicolas</c:v>
                  </c:pt>
                  <c:pt idx="3">
                    <c:v>Malard</c:v>
                  </c:pt>
                  <c:pt idx="4">
                    <c:v>Laurent Perrier</c:v>
                  </c:pt>
                  <c:pt idx="5">
                    <c:v>Heidsieck &amp; Co Monopole</c:v>
                  </c:pt>
                  <c:pt idx="6">
                    <c:v>Taittinger</c:v>
                  </c:pt>
                  <c:pt idx="7">
                    <c:v>Nicolas Feuillatt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5"/>
          <c:min val="20"/>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967A0B4E-A66B-42C5-9848-5AF8E2BEFCB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6A0C05F3-264A-4CE8-A397-A8BFF2D2DFA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7D5EEA77-4A66-409E-A0C5-13C48CB59F5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B0C1780B-21C1-4EF7-9CF0-89686712284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B55BC2C9-2082-4A15-A8B9-53E046F3093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F9321034-1214-44E0-A24B-E20B6CC0E71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9163BE00-48BF-4938-A19A-048DDC2D7A7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CA5C59B6-79C2-4E74-ABB5-A1954544854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89.978300000000004</c:v>
                </c:pt>
                <c:pt idx="1">
                  <c:v>51.580500000000001</c:v>
                </c:pt>
                <c:pt idx="2">
                  <c:v>37.562899999999999</c:v>
                </c:pt>
                <c:pt idx="3">
                  <c:v>26.687899999999999</c:v>
                </c:pt>
                <c:pt idx="4">
                  <c:v>80.448099999999997</c:v>
                </c:pt>
                <c:pt idx="5">
                  <c:v>37.557499999999997</c:v>
                </c:pt>
                <c:pt idx="6">
                  <c:v>40.275599999999997</c:v>
                </c:pt>
                <c:pt idx="7">
                  <c:v>35.996699999999997</c:v>
                </c:pt>
              </c:numCache>
            </c:numRef>
          </c:xVal>
          <c:yVal>
            <c:numRef>
              <c:f>Sheet1!$B$2:$B$9</c:f>
              <c:numCache>
                <c:formatCode>General</c:formatCode>
                <c:ptCount val="8"/>
                <c:pt idx="0">
                  <c:v>1.6459999999999999</c:v>
                </c:pt>
                <c:pt idx="1">
                  <c:v>1.054</c:v>
                </c:pt>
                <c:pt idx="2">
                  <c:v>0.66800000000000004</c:v>
                </c:pt>
                <c:pt idx="3">
                  <c:v>0.51300000000000001</c:v>
                </c:pt>
                <c:pt idx="4">
                  <c:v>1.43</c:v>
                </c:pt>
                <c:pt idx="5">
                  <c:v>0.66800000000000004</c:v>
                </c:pt>
                <c:pt idx="6">
                  <c:v>0.86699999999999999</c:v>
                </c:pt>
                <c:pt idx="7">
                  <c:v>0.64</c:v>
                </c:pt>
              </c:numCache>
            </c:numRef>
          </c:yVal>
          <c:bubbleSize>
            <c:numRef>
              <c:f>Sheet1!$C$2:$C$9</c:f>
              <c:numCache>
                <c:formatCode>General</c:formatCode>
                <c:ptCount val="8"/>
                <c:pt idx="0">
                  <c:v>480304</c:v>
                </c:pt>
                <c:pt idx="1">
                  <c:v>248876</c:v>
                </c:pt>
                <c:pt idx="2">
                  <c:v>192735</c:v>
                </c:pt>
                <c:pt idx="3">
                  <c:v>180357</c:v>
                </c:pt>
                <c:pt idx="4">
                  <c:v>149553</c:v>
                </c:pt>
                <c:pt idx="5">
                  <c:v>103471</c:v>
                </c:pt>
                <c:pt idx="6">
                  <c:v>96299</c:v>
                </c:pt>
                <c:pt idx="7">
                  <c:v>86320</c:v>
                </c:pt>
              </c:numCache>
            </c:numRef>
          </c:bubbleSize>
          <c:bubble3D val="0"/>
          <c:extLst>
            <c:ext xmlns:c15="http://schemas.microsoft.com/office/drawing/2012/chart" uri="{02D57815-91ED-43cb-92C2-25804820EDAC}">
              <c15:datalabelsRange>
                <c15:f>Sheet1!$E$2:$E$10</c15:f>
                <c15:dlblRangeCache>
                  <c:ptCount val="9"/>
                  <c:pt idx="0">
                    <c:v>Ruinart</c:v>
                  </c:pt>
                  <c:pt idx="1">
                    <c:v>Deutz</c:v>
                  </c:pt>
                  <c:pt idx="2">
                    <c:v>Demoiselle</c:v>
                  </c:pt>
                  <c:pt idx="3">
                    <c:v>Nicolas</c:v>
                  </c:pt>
                  <c:pt idx="4">
                    <c:v>Laurent Perrier</c:v>
                  </c:pt>
                  <c:pt idx="5">
                    <c:v>Nicolas Feuillatte</c:v>
                  </c:pt>
                  <c:pt idx="6">
                    <c:v>Besserat De Bellefon</c:v>
                  </c:pt>
                  <c:pt idx="7">
                    <c:v>Malard</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08"/>
          <c:min val="21"/>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501D8F02-300A-4C7B-9421-23DB20EFD6A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D871-46D6-BBFE-7C00E0D51738}"/>
                </c:ext>
              </c:extLst>
            </c:dLbl>
            <c:dLbl>
              <c:idx val="2"/>
              <c:tx>
                <c:rich>
                  <a:bodyPr/>
                  <a:lstStyle/>
                  <a:p>
                    <a:fld id="{5C0A8EC2-6FC0-4447-89B3-AAC2C7404D2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D871-46D6-BBFE-7C00E0D51738}"/>
                </c:ext>
              </c:extLst>
            </c:dLbl>
            <c:dLbl>
              <c:idx val="3"/>
              <c:tx>
                <c:rich>
                  <a:bodyPr/>
                  <a:lstStyle/>
                  <a:p>
                    <a:fld id="{0C8DD565-E865-481A-9F20-ABF9D3A51E0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D871-46D6-BBFE-7C00E0D51738}"/>
                </c:ext>
              </c:extLst>
            </c:dLbl>
            <c:dLbl>
              <c:idx val="4"/>
              <c:tx>
                <c:rich>
                  <a:bodyPr/>
                  <a:lstStyle/>
                  <a:p>
                    <a:fld id="{F914E119-86AA-46EF-AEBD-0ACE91FCE61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D871-46D6-BBFE-7C00E0D51738}"/>
                </c:ext>
              </c:extLst>
            </c:dLbl>
            <c:dLbl>
              <c:idx val="5"/>
              <c:tx>
                <c:rich>
                  <a:bodyPr/>
                  <a:lstStyle/>
                  <a:p>
                    <a:fld id="{1C749B72-A7D9-49F9-804F-52241757E8F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71-46D6-BBFE-7C00E0D51738}"/>
                </c:ext>
              </c:extLst>
            </c:dLbl>
            <c:dLbl>
              <c:idx val="6"/>
              <c:tx>
                <c:rich>
                  <a:bodyPr/>
                  <a:lstStyle/>
                  <a:p>
                    <a:fld id="{4B1ED4F7-ABBC-4C01-B16F-59AA24A681E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71-46D6-BBFE-7C00E0D51738}"/>
                </c:ext>
              </c:extLst>
            </c:dLbl>
            <c:dLbl>
              <c:idx val="7"/>
              <c:tx>
                <c:rich>
                  <a:bodyPr/>
                  <a:lstStyle/>
                  <a:p>
                    <a:fld id="{D88AFB20-4C43-453A-9494-755669E7857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71-46D6-BBFE-7C00E0D51738}"/>
                </c:ext>
              </c:extLst>
            </c:dLbl>
            <c:dLbl>
              <c:idx val="8"/>
              <c:tx>
                <c:rich>
                  <a:bodyPr/>
                  <a:lstStyle/>
                  <a:p>
                    <a:fld id="{F61EBC41-DCE1-4122-8A55-4E72D2B5B42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2.753</c:v>
                </c:pt>
              </c:numCache>
            </c:numRef>
          </c:xVal>
          <c:yVal>
            <c:numRef>
              <c:f>Sheet1!$B$2:$B$2</c:f>
              <c:numCache>
                <c:formatCode>General</c:formatCode>
                <c:ptCount val="1"/>
                <c:pt idx="0">
                  <c:v>1</c:v>
                </c:pt>
              </c:numCache>
            </c:numRef>
          </c:yVal>
          <c:bubbleSize>
            <c:numRef>
              <c:f>Sheet1!$C$2:$C$2</c:f>
              <c:numCache>
                <c:formatCode>General</c:formatCode>
                <c:ptCount val="1"/>
                <c:pt idx="0">
                  <c:v>231659</c:v>
                </c:pt>
              </c:numCache>
            </c:numRef>
          </c:bubbleSize>
          <c:bubble3D val="0"/>
          <c:extLst>
            <c:ext xmlns:c15="http://schemas.microsoft.com/office/drawing/2012/chart" uri="{02D57815-91ED-43cb-92C2-25804820EDAC}">
              <c15:datalabelsRange>
                <c15:f>Sheet1!$E$2:$E$10</c15:f>
                <c15:dlblRangeCache>
                  <c:ptCount val="9"/>
                  <c:pt idx="0">
                    <c:v>Patriarche</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5"/>
          <c:min val="10"/>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CA-4C16-90F6-A0D9A3D8DA8E}"/>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CA-4C16-90F6-A0D9A3D8DA8E}"/>
                </c:ext>
              </c:extLst>
            </c:dLbl>
            <c:dLbl>
              <c:idx val="1"/>
              <c:tx>
                <c:rich>
                  <a:bodyPr/>
                  <a:lstStyle/>
                  <a:p>
                    <a:fld id="{DC5C042D-E771-4D3F-AAB6-80B9669995D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CA-4C16-90F6-A0D9A3D8DA8E}"/>
                </c:ext>
              </c:extLst>
            </c:dLbl>
            <c:dLbl>
              <c:idx val="2"/>
              <c:tx>
                <c:rich>
                  <a:bodyPr/>
                  <a:lstStyle/>
                  <a:p>
                    <a:fld id="{66191F62-2296-4ABA-9D81-231F526D176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CA-4C16-90F6-A0D9A3D8DA8E}"/>
                </c:ext>
              </c:extLst>
            </c:dLbl>
            <c:dLbl>
              <c:idx val="3"/>
              <c:tx>
                <c:rich>
                  <a:bodyPr/>
                  <a:lstStyle/>
                  <a:p>
                    <a:fld id="{968001CE-4764-4C88-BC29-939C34B6869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D8CA-4C16-90F6-A0D9A3D8DA8E}"/>
                </c:ext>
              </c:extLst>
            </c:dLbl>
            <c:dLbl>
              <c:idx val="4"/>
              <c:tx>
                <c:rich>
                  <a:bodyPr/>
                  <a:lstStyle/>
                  <a:p>
                    <a:fld id="{26CB0821-1F70-48D4-9719-6BDA29FCC83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D8CA-4C16-90F6-A0D9A3D8DA8E}"/>
                </c:ext>
              </c:extLst>
            </c:dLbl>
            <c:dLbl>
              <c:idx val="5"/>
              <c:tx>
                <c:rich>
                  <a:bodyPr/>
                  <a:lstStyle/>
                  <a:p>
                    <a:fld id="{0C837121-25AD-4450-8E19-9514126C301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CA-4C16-90F6-A0D9A3D8DA8E}"/>
                </c:ext>
              </c:extLst>
            </c:dLbl>
            <c:dLbl>
              <c:idx val="6"/>
              <c:tx>
                <c:rich>
                  <a:bodyPr/>
                  <a:lstStyle/>
                  <a:p>
                    <a:fld id="{F1F93A9C-6323-475D-80D2-825F0AAF557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CA-4C16-90F6-A0D9A3D8DA8E}"/>
                </c:ext>
              </c:extLst>
            </c:dLbl>
            <c:dLbl>
              <c:idx val="7"/>
              <c:tx>
                <c:rich>
                  <a:bodyPr/>
                  <a:lstStyle/>
                  <a:p>
                    <a:fld id="{0393B281-91F2-4E71-A847-A34EB858800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CA-4C16-90F6-A0D9A3D8DA8E}"/>
                </c:ext>
              </c:extLst>
            </c:dLbl>
            <c:dLbl>
              <c:idx val="8"/>
              <c:tx>
                <c:rich>
                  <a:bodyPr/>
                  <a:lstStyle/>
                  <a:p>
                    <a:fld id="{3F15D9C0-7912-4656-9AE5-18A09E96420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CA-4C16-90F6-A0D9A3D8DA8E}"/>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1.4527</c:v>
                </c:pt>
                <c:pt idx="1">
                  <c:v>9.0898000000000003</c:v>
                </c:pt>
                <c:pt idx="2">
                  <c:v>11.3033</c:v>
                </c:pt>
              </c:numCache>
            </c:numRef>
          </c:xVal>
          <c:yVal>
            <c:numRef>
              <c:f>Sheet1!$B$2:$B$4</c:f>
              <c:numCache>
                <c:formatCode>General</c:formatCode>
                <c:ptCount val="3"/>
                <c:pt idx="0">
                  <c:v>1.2749999999999999</c:v>
                </c:pt>
                <c:pt idx="1">
                  <c:v>1.012</c:v>
                </c:pt>
                <c:pt idx="2">
                  <c:v>1.0740000000000001</c:v>
                </c:pt>
              </c:numCache>
            </c:numRef>
          </c:yVal>
          <c:bubbleSize>
            <c:numRef>
              <c:f>Sheet1!$C$2:$C$4</c:f>
              <c:numCache>
                <c:formatCode>General</c:formatCode>
                <c:ptCount val="3"/>
                <c:pt idx="0">
                  <c:v>290933</c:v>
                </c:pt>
                <c:pt idx="1">
                  <c:v>172107</c:v>
                </c:pt>
                <c:pt idx="2">
                  <c:v>43710</c:v>
                </c:pt>
              </c:numCache>
            </c:numRef>
          </c:bubbleSize>
          <c:bubble3D val="0"/>
          <c:extLst>
            <c:ext xmlns:c15="http://schemas.microsoft.com/office/drawing/2012/chart" uri="{02D57815-91ED-43cb-92C2-25804820EDAC}">
              <c15:datalabelsRange>
                <c15:f>Sheet1!$E$2:$E$10</c15:f>
                <c15:dlblRangeCache>
                  <c:ptCount val="9"/>
                  <c:pt idx="0">
                    <c:v>Bottega</c:v>
                  </c:pt>
                  <c:pt idx="1">
                    <c:v>Savian</c:v>
                  </c:pt>
                  <c:pt idx="2">
                    <c:v>Contarini</c:v>
                  </c:pt>
                </c15:dlblRangeCache>
              </c15:datalabelsRange>
            </c:ext>
            <c:ext xmlns:c16="http://schemas.microsoft.com/office/drawing/2014/chart" uri="{C3380CC4-5D6E-409C-BE32-E72D297353CC}">
              <c16:uniqueId val="{00000009-D8CA-4C16-90F6-A0D9A3D8DA8E}"/>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4"/>
          <c:min val="7"/>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0CCF743-1AB3-4ED9-971A-F61F48F9B20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ADC5B6A-4893-45B4-9B57-5A746962C53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49060D2-1A84-4BAE-8F5D-3ECBDC04396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1FA178B3-878B-4A49-8677-775313F0F26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EBE5C14A-5582-4C35-95BE-86693025CBB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F71337CF-45C3-4351-9790-E4331576F4E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58B7558C-20C9-4366-AAF2-7708A2129D3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237DED88-EBB7-4EFB-B314-0A84062C6BD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1.398199999999999</c:v>
                </c:pt>
                <c:pt idx="1">
                  <c:v>11.792999999999999</c:v>
                </c:pt>
                <c:pt idx="2">
                  <c:v>13.5303</c:v>
                </c:pt>
              </c:numCache>
            </c:numRef>
          </c:xVal>
          <c:yVal>
            <c:numRef>
              <c:f>Sheet1!$B$2:$B$4</c:f>
              <c:numCache>
                <c:formatCode>General</c:formatCode>
                <c:ptCount val="3"/>
                <c:pt idx="0">
                  <c:v>0.97599999999999998</c:v>
                </c:pt>
                <c:pt idx="1">
                  <c:v>0.96499999999999997</c:v>
                </c:pt>
                <c:pt idx="2">
                  <c:v>1.1599999999999999</c:v>
                </c:pt>
              </c:numCache>
            </c:numRef>
          </c:yVal>
          <c:bubbleSize>
            <c:numRef>
              <c:f>Sheet1!$C$2:$C$4</c:f>
              <c:numCache>
                <c:formatCode>General</c:formatCode>
                <c:ptCount val="3"/>
                <c:pt idx="0">
                  <c:v>151528</c:v>
                </c:pt>
                <c:pt idx="1">
                  <c:v>144783</c:v>
                </c:pt>
                <c:pt idx="2">
                  <c:v>89327</c:v>
                </c:pt>
              </c:numCache>
            </c:numRef>
          </c:bubbleSize>
          <c:bubble3D val="0"/>
          <c:extLst>
            <c:ext xmlns:c15="http://schemas.microsoft.com/office/drawing/2012/chart" uri="{02D57815-91ED-43cb-92C2-25804820EDAC}">
              <c15:datalabelsRange>
                <c15:f>Sheet1!$E$2:$E$10</c15:f>
                <c15:dlblRangeCache>
                  <c:ptCount val="9"/>
                  <c:pt idx="0">
                    <c:v>Chateau Moncontour</c:v>
                  </c:pt>
                  <c:pt idx="1">
                    <c:v>Bouvet-Ladubay</c:v>
                  </c:pt>
                  <c:pt idx="2">
                    <c:v>De Chancen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6"/>
          <c:min val="9"/>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E6D6AB29-A473-42E5-999A-9C3A2EBDFE5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48EF-49EC-8B4D-EC25A4464CE3}"/>
                </c:ext>
              </c:extLst>
            </c:dLbl>
            <c:dLbl>
              <c:idx val="2"/>
              <c:tx>
                <c:rich>
                  <a:bodyPr/>
                  <a:lstStyle/>
                  <a:p>
                    <a:fld id="{3D9B07F1-718E-4623-BFDA-3D7789547E7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48EF-49EC-8B4D-EC25A4464CE3}"/>
                </c:ext>
              </c:extLst>
            </c:dLbl>
            <c:dLbl>
              <c:idx val="3"/>
              <c:tx>
                <c:rich>
                  <a:bodyPr/>
                  <a:lstStyle/>
                  <a:p>
                    <a:fld id="{362E7F29-5C00-4F30-B3F4-F90A7844AF2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48EF-49EC-8B4D-EC25A4464CE3}"/>
                </c:ext>
              </c:extLst>
            </c:dLbl>
            <c:dLbl>
              <c:idx val="4"/>
              <c:tx>
                <c:rich>
                  <a:bodyPr/>
                  <a:lstStyle/>
                  <a:p>
                    <a:fld id="{5E32B2E8-0FBE-474E-81F0-BA174DFE7F8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48EF-49EC-8B4D-EC25A4464CE3}"/>
                </c:ext>
              </c:extLst>
            </c:dLbl>
            <c:dLbl>
              <c:idx val="5"/>
              <c:tx>
                <c:rich>
                  <a:bodyPr/>
                  <a:lstStyle/>
                  <a:p>
                    <a:fld id="{2214BAC2-EF6B-44BB-9DEC-A106CA52659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48EF-49EC-8B4D-EC25A4464CE3}"/>
                </c:ext>
              </c:extLst>
            </c:dLbl>
            <c:dLbl>
              <c:idx val="6"/>
              <c:tx>
                <c:rich>
                  <a:bodyPr/>
                  <a:lstStyle/>
                  <a:p>
                    <a:fld id="{E462EA9F-F97C-41C3-AF1A-C60CC211F7E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48EF-49EC-8B4D-EC25A4464CE3}"/>
                </c:ext>
              </c:extLst>
            </c:dLbl>
            <c:dLbl>
              <c:idx val="7"/>
              <c:tx>
                <c:rich>
                  <a:bodyPr/>
                  <a:lstStyle/>
                  <a:p>
                    <a:fld id="{4B11976D-878D-42A0-9B1A-48AA215F223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48EF-49EC-8B4D-EC25A4464CE3}"/>
                </c:ext>
              </c:extLst>
            </c:dLbl>
            <c:dLbl>
              <c:idx val="8"/>
              <c:tx>
                <c:rich>
                  <a:bodyPr/>
                  <a:lstStyle/>
                  <a:p>
                    <a:fld id="{CCED8CDB-8904-48DE-95DB-844C4F79F5B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7.365300000000001</c:v>
                </c:pt>
              </c:numCache>
            </c:numRef>
          </c:xVal>
          <c:yVal>
            <c:numRef>
              <c:f>Sheet1!$B$2:$B$2</c:f>
              <c:numCache>
                <c:formatCode>General</c:formatCode>
                <c:ptCount val="1"/>
                <c:pt idx="0">
                  <c:v>1.1200000000000001</c:v>
                </c:pt>
              </c:numCache>
            </c:numRef>
          </c:yVal>
          <c:bubbleSize>
            <c:numRef>
              <c:f>Sheet1!$C$2:$C$2</c:f>
              <c:numCache>
                <c:formatCode>General</c:formatCode>
                <c:ptCount val="1"/>
                <c:pt idx="0">
                  <c:v>179505</c:v>
                </c:pt>
              </c:numCache>
            </c:numRef>
          </c:bubbleSize>
          <c:bubble3D val="0"/>
          <c:extLst>
            <c:ext xmlns:c15="http://schemas.microsoft.com/office/drawing/2012/chart" uri="{02D57815-91ED-43cb-92C2-25804820EDAC}">
              <c15:datalabelsRange>
                <c15:f>Sheet1!$E$2:$E$10</c15:f>
                <c15:dlblRangeCache>
                  <c:ptCount val="9"/>
                  <c:pt idx="0">
                    <c:v>Mure</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
          <c:min val="14"/>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B5B02640-A2FA-4576-A80C-B58DC8CD6A9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1E53DCE6-2094-4596-9B3C-910A685EE33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D871-46D6-BBFE-7C00E0D51738}"/>
                </c:ext>
              </c:extLst>
            </c:dLbl>
            <c:dLbl>
              <c:idx val="3"/>
              <c:tx>
                <c:rich>
                  <a:bodyPr/>
                  <a:lstStyle/>
                  <a:p>
                    <a:fld id="{3FE8CED6-24F5-44FC-B760-D2293B05BD6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D871-46D6-BBFE-7C00E0D51738}"/>
                </c:ext>
              </c:extLst>
            </c:dLbl>
            <c:dLbl>
              <c:idx val="4"/>
              <c:tx>
                <c:rich>
                  <a:bodyPr/>
                  <a:lstStyle/>
                  <a:p>
                    <a:fld id="{7D04E1F0-CA7C-480F-9A9B-797D1C717D3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D871-46D6-BBFE-7C00E0D51738}"/>
                </c:ext>
              </c:extLst>
            </c:dLbl>
            <c:dLbl>
              <c:idx val="5"/>
              <c:tx>
                <c:rich>
                  <a:bodyPr/>
                  <a:lstStyle/>
                  <a:p>
                    <a:fld id="{95CC1D3B-BE50-4C5F-8C26-081BB9A4054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71-46D6-BBFE-7C00E0D51738}"/>
                </c:ext>
              </c:extLst>
            </c:dLbl>
            <c:dLbl>
              <c:idx val="6"/>
              <c:tx>
                <c:rich>
                  <a:bodyPr/>
                  <a:lstStyle/>
                  <a:p>
                    <a:fld id="{89E6275B-327A-4010-9DFD-E2A9DFCB353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71-46D6-BBFE-7C00E0D51738}"/>
                </c:ext>
              </c:extLst>
            </c:dLbl>
            <c:dLbl>
              <c:idx val="7"/>
              <c:tx>
                <c:rich>
                  <a:bodyPr/>
                  <a:lstStyle/>
                  <a:p>
                    <a:fld id="{3A56D3D1-89F1-44E7-B656-A4449D07F58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71-46D6-BBFE-7C00E0D51738}"/>
                </c:ext>
              </c:extLst>
            </c:dLbl>
            <c:dLbl>
              <c:idx val="8"/>
              <c:tx>
                <c:rich>
                  <a:bodyPr/>
                  <a:lstStyle/>
                  <a:p>
                    <a:fld id="{9CF965EA-1FD7-4206-8247-5853783E1D5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10.7256</c:v>
                </c:pt>
                <c:pt idx="1">
                  <c:v>9.5991</c:v>
                </c:pt>
              </c:numCache>
            </c:numRef>
          </c:xVal>
          <c:yVal>
            <c:numRef>
              <c:f>Sheet1!$B$2:$B$3</c:f>
              <c:numCache>
                <c:formatCode>General</c:formatCode>
                <c:ptCount val="2"/>
                <c:pt idx="0">
                  <c:v>1.014</c:v>
                </c:pt>
                <c:pt idx="1">
                  <c:v>0.89500000000000002</c:v>
                </c:pt>
              </c:numCache>
            </c:numRef>
          </c:yVal>
          <c:bubbleSize>
            <c:numRef>
              <c:f>Sheet1!$C$2:$C$3</c:f>
              <c:numCache>
                <c:formatCode>General</c:formatCode>
                <c:ptCount val="2"/>
                <c:pt idx="0">
                  <c:v>30525</c:v>
                </c:pt>
                <c:pt idx="1">
                  <c:v>4118</c:v>
                </c:pt>
              </c:numCache>
            </c:numRef>
          </c:bubbleSize>
          <c:bubble3D val="0"/>
          <c:extLst>
            <c:ext xmlns:c15="http://schemas.microsoft.com/office/drawing/2012/chart" uri="{02D57815-91ED-43cb-92C2-25804820EDAC}">
              <c15:datalabelsRange>
                <c15:f>Sheet1!$E$2:$E$10</c15:f>
                <c15:dlblRangeCache>
                  <c:ptCount val="9"/>
                  <c:pt idx="0">
                    <c:v>Cru La Maqueline</c:v>
                  </c:pt>
                  <c:pt idx="1">
                    <c:v>Celene</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3"/>
          <c:min val="8"/>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5E3E54E-C027-4243-A85F-06B810151F5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07EB76E-C1E7-4A96-91F4-07634774745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55869F2-B0A1-491E-B373-D76C736C65E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AE07D8E-8422-45A6-AF5D-1104DB4F430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B385C4D-67E8-4F08-BAD7-ED9A7CEE32C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D482CA1-717F-4999-886E-729936BAD72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600CAB2F-95F2-48FD-954E-DE9E1460F69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B65E13D8-E00B-45A1-A7E4-DB255276DAC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99.5625</c:v>
                </c:pt>
                <c:pt idx="1">
                  <c:v>39.718200000000003</c:v>
                </c:pt>
                <c:pt idx="2">
                  <c:v>35.055900000000001</c:v>
                </c:pt>
                <c:pt idx="3">
                  <c:v>59.2517</c:v>
                </c:pt>
                <c:pt idx="4">
                  <c:v>46.262700000000002</c:v>
                </c:pt>
                <c:pt idx="5">
                  <c:v>37.4221</c:v>
                </c:pt>
                <c:pt idx="6">
                  <c:v>76.025499999999994</c:v>
                </c:pt>
                <c:pt idx="7">
                  <c:v>53.0809</c:v>
                </c:pt>
              </c:numCache>
            </c:numRef>
          </c:xVal>
          <c:yVal>
            <c:numRef>
              <c:f>Sheet1!$B$2:$B$9</c:f>
              <c:numCache>
                <c:formatCode>General</c:formatCode>
                <c:ptCount val="8"/>
                <c:pt idx="0">
                  <c:v>1.4490000000000001</c:v>
                </c:pt>
                <c:pt idx="1">
                  <c:v>0.60499999999999998</c:v>
                </c:pt>
                <c:pt idx="2">
                  <c:v>0.52100000000000002</c:v>
                </c:pt>
                <c:pt idx="3">
                  <c:v>0.90900000000000003</c:v>
                </c:pt>
                <c:pt idx="4">
                  <c:v>0.68500000000000005</c:v>
                </c:pt>
                <c:pt idx="5">
                  <c:v>0.55500000000000005</c:v>
                </c:pt>
                <c:pt idx="6">
                  <c:v>1.1120000000000001</c:v>
                </c:pt>
                <c:pt idx="7">
                  <c:v>0.78800000000000003</c:v>
                </c:pt>
              </c:numCache>
            </c:numRef>
          </c:yVal>
          <c:bubbleSize>
            <c:numRef>
              <c:f>Sheet1!$C$2:$C$9</c:f>
              <c:numCache>
                <c:formatCode>General</c:formatCode>
                <c:ptCount val="8"/>
                <c:pt idx="0">
                  <c:v>1082244</c:v>
                </c:pt>
                <c:pt idx="1">
                  <c:v>126423</c:v>
                </c:pt>
                <c:pt idx="2">
                  <c:v>94651</c:v>
                </c:pt>
                <c:pt idx="3">
                  <c:v>79812</c:v>
                </c:pt>
                <c:pt idx="4">
                  <c:v>59355</c:v>
                </c:pt>
                <c:pt idx="5">
                  <c:v>46104</c:v>
                </c:pt>
                <c:pt idx="6">
                  <c:v>38697</c:v>
                </c:pt>
                <c:pt idx="7">
                  <c:v>34768</c:v>
                </c:pt>
              </c:numCache>
            </c:numRef>
          </c:bubbleSize>
          <c:bubble3D val="0"/>
          <c:extLst>
            <c:ext xmlns:c15="http://schemas.microsoft.com/office/drawing/2012/chart" uri="{02D57815-91ED-43cb-92C2-25804820EDAC}">
              <c15:datalabelsRange>
                <c15:f>Sheet1!$E$2:$E$10</c15:f>
                <c15:dlblRangeCache>
                  <c:ptCount val="9"/>
                  <c:pt idx="0">
                    <c:v>Ruinart</c:v>
                  </c:pt>
                  <c:pt idx="1">
                    <c:v>Nicolas</c:v>
                  </c:pt>
                  <c:pt idx="2">
                    <c:v>Malard</c:v>
                  </c:pt>
                  <c:pt idx="3">
                    <c:v>Besserat De Bellefon</c:v>
                  </c:pt>
                  <c:pt idx="4">
                    <c:v>Henriot</c:v>
                  </c:pt>
                  <c:pt idx="5">
                    <c:v>De Bligny</c:v>
                  </c:pt>
                  <c:pt idx="6">
                    <c:v>Ayala</c:v>
                  </c:pt>
                  <c:pt idx="7">
                    <c:v>Delamott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19"/>
          <c:min val="28"/>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1C42EEBE-AD58-4A0F-AE49-D0C084E2CF2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1853724B-E522-4188-B0D3-0AB8FA6BCB8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9358699F-DE78-49FD-B6A1-4E322F180FE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F9C35E50-5EF0-456A-A9F9-B1CA0A75C03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3A1EF8A0-A314-4EB1-9818-5A7C03BC84A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89654C95-1B27-41DF-BFCA-F13FED00B95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FC95E90B-C346-4411-BE9F-5B4D8410820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A30A0F82-0AEF-4438-9E18-2A48B21F8FC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57.2087</c:v>
                </c:pt>
                <c:pt idx="1">
                  <c:v>22.116199999999999</c:v>
                </c:pt>
                <c:pt idx="2">
                  <c:v>49.142000000000003</c:v>
                </c:pt>
                <c:pt idx="3">
                  <c:v>30.440999999999999</c:v>
                </c:pt>
                <c:pt idx="4">
                  <c:v>49.253999999999998</c:v>
                </c:pt>
                <c:pt idx="5">
                  <c:v>29.9451</c:v>
                </c:pt>
                <c:pt idx="6">
                  <c:v>29.143899999999999</c:v>
                </c:pt>
                <c:pt idx="7">
                  <c:v>36.717700000000001</c:v>
                </c:pt>
              </c:numCache>
            </c:numRef>
          </c:xVal>
          <c:yVal>
            <c:numRef>
              <c:f>Sheet1!$B$2:$B$9</c:f>
              <c:numCache>
                <c:formatCode>General</c:formatCode>
                <c:ptCount val="8"/>
                <c:pt idx="0">
                  <c:v>1.476</c:v>
                </c:pt>
                <c:pt idx="1">
                  <c:v>0.57899999999999996</c:v>
                </c:pt>
                <c:pt idx="2">
                  <c:v>1.218</c:v>
                </c:pt>
                <c:pt idx="3">
                  <c:v>0.81299999999999994</c:v>
                </c:pt>
                <c:pt idx="4">
                  <c:v>1.1200000000000001</c:v>
                </c:pt>
                <c:pt idx="5">
                  <c:v>0.78600000000000003</c:v>
                </c:pt>
                <c:pt idx="6">
                  <c:v>0.76500000000000001</c:v>
                </c:pt>
                <c:pt idx="7">
                  <c:v>0.96299999999999997</c:v>
                </c:pt>
              </c:numCache>
            </c:numRef>
          </c:yVal>
          <c:bubbleSize>
            <c:numRef>
              <c:f>Sheet1!$C$2:$C$9</c:f>
              <c:numCache>
                <c:formatCode>General</c:formatCode>
                <c:ptCount val="8"/>
                <c:pt idx="0">
                  <c:v>1769295</c:v>
                </c:pt>
                <c:pt idx="1">
                  <c:v>999807</c:v>
                </c:pt>
                <c:pt idx="2">
                  <c:v>720274</c:v>
                </c:pt>
                <c:pt idx="3">
                  <c:v>406966</c:v>
                </c:pt>
                <c:pt idx="4">
                  <c:v>402750</c:v>
                </c:pt>
                <c:pt idx="5">
                  <c:v>375092</c:v>
                </c:pt>
                <c:pt idx="6">
                  <c:v>369078</c:v>
                </c:pt>
                <c:pt idx="7">
                  <c:v>323336</c:v>
                </c:pt>
              </c:numCache>
            </c:numRef>
          </c:bubbleSize>
          <c:bubble3D val="0"/>
          <c:extLst>
            <c:ext xmlns:c15="http://schemas.microsoft.com/office/drawing/2012/chart" uri="{02D57815-91ED-43cb-92C2-25804820EDAC}">
              <c15:datalabelsRange>
                <c15:f>Sheet1!$E$2:$E$10</c15:f>
                <c15:dlblRangeCache>
                  <c:ptCount val="9"/>
                  <c:pt idx="0">
                    <c:v>Ruinart</c:v>
                  </c:pt>
                  <c:pt idx="1">
                    <c:v>Nicolas</c:v>
                  </c:pt>
                  <c:pt idx="2">
                    <c:v>Deutz</c:v>
                  </c:pt>
                  <c:pt idx="3">
                    <c:v>Canard Duchêne</c:v>
                  </c:pt>
                  <c:pt idx="4">
                    <c:v>Laurent Perrier</c:v>
                  </c:pt>
                  <c:pt idx="5">
                    <c:v>De Bligny</c:v>
                  </c:pt>
                  <c:pt idx="6">
                    <c:v>Heidsieck &amp; Co Monopole</c:v>
                  </c:pt>
                  <c:pt idx="7">
                    <c:v>Ayala</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9"/>
          <c:min val="18"/>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F1B21759-AED3-43FD-915B-E75066BADB4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D77FF721-7B14-488D-9201-9E833EB9A51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71-46D6-BBFE-7C00E0D51738}"/>
                </c:ext>
              </c:extLst>
            </c:dLbl>
            <c:dLbl>
              <c:idx val="3"/>
              <c:tx>
                <c:rich>
                  <a:bodyPr/>
                  <a:lstStyle/>
                  <a:p>
                    <a:fld id="{F246299C-4338-4F06-A3BF-A7707EBBF73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71-46D6-BBFE-7C00E0D51738}"/>
                </c:ext>
              </c:extLst>
            </c:dLbl>
            <c:dLbl>
              <c:idx val="4"/>
              <c:tx>
                <c:rich>
                  <a:bodyPr/>
                  <a:lstStyle/>
                  <a:p>
                    <a:fld id="{441E2CAA-2B29-4ECC-8211-65CD3862F71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D871-46D6-BBFE-7C00E0D51738}"/>
                </c:ext>
              </c:extLst>
            </c:dLbl>
            <c:dLbl>
              <c:idx val="5"/>
              <c:tx>
                <c:rich>
                  <a:bodyPr/>
                  <a:lstStyle/>
                  <a:p>
                    <a:fld id="{9C136E4C-53CA-4BDD-9E31-1740BCA89C3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71-46D6-BBFE-7C00E0D51738}"/>
                </c:ext>
              </c:extLst>
            </c:dLbl>
            <c:dLbl>
              <c:idx val="6"/>
              <c:tx>
                <c:rich>
                  <a:bodyPr/>
                  <a:lstStyle/>
                  <a:p>
                    <a:fld id="{B9863958-0678-47BE-95C5-17C2C84C705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71-46D6-BBFE-7C00E0D51738}"/>
                </c:ext>
              </c:extLst>
            </c:dLbl>
            <c:dLbl>
              <c:idx val="7"/>
              <c:tx>
                <c:rich>
                  <a:bodyPr/>
                  <a:lstStyle/>
                  <a:p>
                    <a:fld id="{9B155FC0-12D8-4BC2-A3A8-5C215D5509F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71-46D6-BBFE-7C00E0D51738}"/>
                </c:ext>
              </c:extLst>
            </c:dLbl>
            <c:dLbl>
              <c:idx val="8"/>
              <c:tx>
                <c:rich>
                  <a:bodyPr/>
                  <a:lstStyle/>
                  <a:p>
                    <a:fld id="{3235AE6C-E46B-45B9-8E65-0C02CA38BF4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29.4084</c:v>
                </c:pt>
                <c:pt idx="1">
                  <c:v>30.382000000000001</c:v>
                </c:pt>
                <c:pt idx="2">
                  <c:v>31.254200000000001</c:v>
                </c:pt>
                <c:pt idx="3">
                  <c:v>34.145899999999997</c:v>
                </c:pt>
              </c:numCache>
            </c:numRef>
          </c:xVal>
          <c:yVal>
            <c:numRef>
              <c:f>Sheet1!$B$2:$B$5</c:f>
              <c:numCache>
                <c:formatCode>General</c:formatCode>
                <c:ptCount val="4"/>
                <c:pt idx="0">
                  <c:v>0.98699999999999999</c:v>
                </c:pt>
                <c:pt idx="1">
                  <c:v>1.02</c:v>
                </c:pt>
                <c:pt idx="2">
                  <c:v>1.044</c:v>
                </c:pt>
                <c:pt idx="3">
                  <c:v>1.0760000000000001</c:v>
                </c:pt>
              </c:numCache>
            </c:numRef>
          </c:yVal>
          <c:bubbleSize>
            <c:numRef>
              <c:f>Sheet1!$C$2:$C$5</c:f>
              <c:numCache>
                <c:formatCode>General</c:formatCode>
                <c:ptCount val="4"/>
                <c:pt idx="0">
                  <c:v>383838</c:v>
                </c:pt>
                <c:pt idx="1">
                  <c:v>108160</c:v>
                </c:pt>
                <c:pt idx="2">
                  <c:v>42412</c:v>
                </c:pt>
                <c:pt idx="3">
                  <c:v>17790</c:v>
                </c:pt>
              </c:numCache>
            </c:numRef>
          </c:bubbleSize>
          <c:bubble3D val="0"/>
          <c:extLst>
            <c:ext xmlns:c15="http://schemas.microsoft.com/office/drawing/2012/chart" uri="{02D57815-91ED-43cb-92C2-25804820EDAC}">
              <c15:datalabelsRange>
                <c15:f>Sheet1!$E$2:$E$10</c15:f>
                <c15:dlblRangeCache>
                  <c:ptCount val="9"/>
                  <c:pt idx="0">
                    <c:v>Malard</c:v>
                  </c:pt>
                  <c:pt idx="1">
                    <c:v>Vesselle</c:v>
                  </c:pt>
                  <c:pt idx="2">
                    <c:v>Louis Martin</c:v>
                  </c:pt>
                  <c:pt idx="3">
                    <c:v>Nicolas</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1"/>
          <c:min val="24"/>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CA-4C16-90F6-A0D9A3D8DA8E}"/>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CA-4C16-90F6-A0D9A3D8DA8E}"/>
                </c:ext>
              </c:extLst>
            </c:dLbl>
            <c:dLbl>
              <c:idx val="1"/>
              <c:tx>
                <c:rich>
                  <a:bodyPr/>
                  <a:lstStyle/>
                  <a:p>
                    <a:fld id="{5AAE88F2-22CD-49C6-B791-EC47FBF9313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CA-4C16-90F6-A0D9A3D8DA8E}"/>
                </c:ext>
              </c:extLst>
            </c:dLbl>
            <c:dLbl>
              <c:idx val="2"/>
              <c:tx>
                <c:rich>
                  <a:bodyPr/>
                  <a:lstStyle/>
                  <a:p>
                    <a:fld id="{B1824E5E-8248-4363-8AB1-7DA1F458783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CA-4C16-90F6-A0D9A3D8DA8E}"/>
                </c:ext>
              </c:extLst>
            </c:dLbl>
            <c:dLbl>
              <c:idx val="3"/>
              <c:tx>
                <c:rich>
                  <a:bodyPr/>
                  <a:lstStyle/>
                  <a:p>
                    <a:fld id="{5EC67B32-1B85-42AB-AD90-A2AB5012938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D8CA-4C16-90F6-A0D9A3D8DA8E}"/>
                </c:ext>
              </c:extLst>
            </c:dLbl>
            <c:dLbl>
              <c:idx val="4"/>
              <c:tx>
                <c:rich>
                  <a:bodyPr/>
                  <a:lstStyle/>
                  <a:p>
                    <a:fld id="{EEA0572A-EF86-4A1A-AB9B-F7F41C30FF9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D8CA-4C16-90F6-A0D9A3D8DA8E}"/>
                </c:ext>
              </c:extLst>
            </c:dLbl>
            <c:dLbl>
              <c:idx val="5"/>
              <c:tx>
                <c:rich>
                  <a:bodyPr/>
                  <a:lstStyle/>
                  <a:p>
                    <a:fld id="{B20AFCA6-3133-4E49-8346-74345D45A91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CA-4C16-90F6-A0D9A3D8DA8E}"/>
                </c:ext>
              </c:extLst>
            </c:dLbl>
            <c:dLbl>
              <c:idx val="6"/>
              <c:tx>
                <c:rich>
                  <a:bodyPr/>
                  <a:lstStyle/>
                  <a:p>
                    <a:fld id="{37E385F9-0811-41CC-881F-19AF2D38006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CA-4C16-90F6-A0D9A3D8DA8E}"/>
                </c:ext>
              </c:extLst>
            </c:dLbl>
            <c:dLbl>
              <c:idx val="7"/>
              <c:tx>
                <c:rich>
                  <a:bodyPr/>
                  <a:lstStyle/>
                  <a:p>
                    <a:fld id="{3C57B268-B80A-4032-B5EE-EF9246F811C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CA-4C16-90F6-A0D9A3D8DA8E}"/>
                </c:ext>
              </c:extLst>
            </c:dLbl>
            <c:dLbl>
              <c:idx val="8"/>
              <c:tx>
                <c:rich>
                  <a:bodyPr/>
                  <a:lstStyle/>
                  <a:p>
                    <a:fld id="{2DFBB967-E19B-43CF-9C27-371EB610857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CA-4C16-90F6-A0D9A3D8DA8E}"/>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31.057600000000001</c:v>
                </c:pt>
                <c:pt idx="1">
                  <c:v>43.201500000000003</c:v>
                </c:pt>
                <c:pt idx="2">
                  <c:v>39.285699999999999</c:v>
                </c:pt>
              </c:numCache>
            </c:numRef>
          </c:xVal>
          <c:yVal>
            <c:numRef>
              <c:f>Sheet1!$B$2:$B$4</c:f>
              <c:numCache>
                <c:formatCode>General</c:formatCode>
                <c:ptCount val="3"/>
                <c:pt idx="0">
                  <c:v>0.94499999999999995</c:v>
                </c:pt>
                <c:pt idx="1">
                  <c:v>1.3169999999999999</c:v>
                </c:pt>
                <c:pt idx="2">
                  <c:v>1.1459999999999999</c:v>
                </c:pt>
              </c:numCache>
            </c:numRef>
          </c:yVal>
          <c:bubbleSize>
            <c:numRef>
              <c:f>Sheet1!$C$2:$C$4</c:f>
              <c:numCache>
                <c:formatCode>General</c:formatCode>
                <c:ptCount val="3"/>
                <c:pt idx="0">
                  <c:v>331167</c:v>
                </c:pt>
                <c:pt idx="1">
                  <c:v>75689</c:v>
                </c:pt>
                <c:pt idx="2">
                  <c:v>5225</c:v>
                </c:pt>
              </c:numCache>
            </c:numRef>
          </c:bubbleSize>
          <c:bubble3D val="0"/>
          <c:extLst>
            <c:ext xmlns:c15="http://schemas.microsoft.com/office/drawing/2012/chart" uri="{02D57815-91ED-43cb-92C2-25804820EDAC}">
              <c15:datalabelsRange>
                <c15:f>Sheet1!$E$2:$E$10</c15:f>
                <c15:dlblRangeCache>
                  <c:ptCount val="9"/>
                  <c:pt idx="0">
                    <c:v>Nicolas Feuillatte</c:v>
                  </c:pt>
                  <c:pt idx="1">
                    <c:v>Moët &amp; Chandon</c:v>
                  </c:pt>
                  <c:pt idx="2">
                    <c:v>Canard Duchêne</c:v>
                  </c:pt>
                </c15:dlblRangeCache>
              </c15:datalabelsRange>
            </c:ext>
            <c:ext xmlns:c16="http://schemas.microsoft.com/office/drawing/2014/chart" uri="{C3380CC4-5D6E-409C-BE32-E72D297353CC}">
              <c16:uniqueId val="{00000009-D8CA-4C16-90F6-A0D9A3D8DA8E}"/>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2"/>
          <c:min val="25"/>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32224B3-93C3-441B-ACFA-457F11FE091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6BC1659-91B6-449F-8E89-6DF54BFBA2C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8E53261-4805-43DE-83C3-E19859F4DB5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6E4D5FD-F2E4-432A-BECF-9B6263AC7A6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A72A6FE-E42E-458D-BA71-F89B4E239A8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15B00DF-5CDA-43B8-A7A5-18913AD0381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1843321F-C0E0-4776-9EE6-FA57252B51E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11087147-F7A2-47A8-B5FC-31B19257468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69.496399999999994</c:v>
                </c:pt>
                <c:pt idx="1">
                  <c:v>23.107299999999999</c:v>
                </c:pt>
                <c:pt idx="2">
                  <c:v>50.8294</c:v>
                </c:pt>
                <c:pt idx="3">
                  <c:v>31.597000000000001</c:v>
                </c:pt>
                <c:pt idx="4">
                  <c:v>29.059000000000001</c:v>
                </c:pt>
                <c:pt idx="5">
                  <c:v>39.901000000000003</c:v>
                </c:pt>
                <c:pt idx="6">
                  <c:v>30.6097</c:v>
                </c:pt>
                <c:pt idx="7">
                  <c:v>58.011600000000001</c:v>
                </c:pt>
              </c:numCache>
            </c:numRef>
          </c:xVal>
          <c:yVal>
            <c:numRef>
              <c:f>Sheet1!$B$2:$B$9</c:f>
              <c:numCache>
                <c:formatCode>General</c:formatCode>
                <c:ptCount val="8"/>
                <c:pt idx="0">
                  <c:v>2.028</c:v>
                </c:pt>
                <c:pt idx="1">
                  <c:v>0.68700000000000006</c:v>
                </c:pt>
                <c:pt idx="2">
                  <c:v>1.4590000000000001</c:v>
                </c:pt>
                <c:pt idx="3">
                  <c:v>0.93600000000000005</c:v>
                </c:pt>
                <c:pt idx="4">
                  <c:v>0.87</c:v>
                </c:pt>
                <c:pt idx="5">
                  <c:v>1.1839999999999999</c:v>
                </c:pt>
                <c:pt idx="6">
                  <c:v>0.90900000000000003</c:v>
                </c:pt>
                <c:pt idx="7">
                  <c:v>1.464</c:v>
                </c:pt>
              </c:numCache>
            </c:numRef>
          </c:yVal>
          <c:bubbleSize>
            <c:numRef>
              <c:f>Sheet1!$C$2:$C$9</c:f>
              <c:numCache>
                <c:formatCode>General</c:formatCode>
                <c:ptCount val="8"/>
                <c:pt idx="0">
                  <c:v>395087</c:v>
                </c:pt>
                <c:pt idx="1">
                  <c:v>216631</c:v>
                </c:pt>
                <c:pt idx="2">
                  <c:v>169872</c:v>
                </c:pt>
                <c:pt idx="3">
                  <c:v>95486</c:v>
                </c:pt>
                <c:pt idx="4">
                  <c:v>91042</c:v>
                </c:pt>
                <c:pt idx="5">
                  <c:v>73338</c:v>
                </c:pt>
                <c:pt idx="6">
                  <c:v>71290</c:v>
                </c:pt>
                <c:pt idx="7">
                  <c:v>69904</c:v>
                </c:pt>
              </c:numCache>
            </c:numRef>
          </c:bubbleSize>
          <c:bubble3D val="0"/>
          <c:extLst>
            <c:ext xmlns:c15="http://schemas.microsoft.com/office/drawing/2012/chart" uri="{02D57815-91ED-43cb-92C2-25804820EDAC}">
              <c15:datalabelsRange>
                <c15:f>Sheet1!$E$2:$E$10</c15:f>
                <c15:dlblRangeCache>
                  <c:ptCount val="9"/>
                  <c:pt idx="0">
                    <c:v>Ruinart</c:v>
                  </c:pt>
                  <c:pt idx="1">
                    <c:v>Nicolas</c:v>
                  </c:pt>
                  <c:pt idx="2">
                    <c:v>Deutz</c:v>
                  </c:pt>
                  <c:pt idx="3">
                    <c:v>Malard</c:v>
                  </c:pt>
                  <c:pt idx="4">
                    <c:v>Heidsieck &amp; Co Monopole</c:v>
                  </c:pt>
                  <c:pt idx="5">
                    <c:v>Ayala</c:v>
                  </c:pt>
                  <c:pt idx="6">
                    <c:v>De Bligny</c:v>
                  </c:pt>
                  <c:pt idx="7">
                    <c:v>Laurent Perrier</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3"/>
          <c:min val="18"/>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5C35823-D3AF-49F7-A8F0-6472E79BEB1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FFD0DD6-F066-463F-AAEB-7C69A3498FD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9B6CFF5-44BB-4E52-B110-89CFFEF0838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26FC823-1105-4A6C-9E32-E0418A1EE9F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F9A816A-2AE3-4343-8E7F-EC0531FB010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C78D568-6C4F-49F0-BC17-8FD07BF12C9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3808871-4405-4858-9859-E89C152AB57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194773AA-6B8F-442C-8563-77184161EE9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62.15519999999998</c:v>
                </c:pt>
                <c:pt idx="1">
                  <c:v>162.75129999999999</c:v>
                </c:pt>
                <c:pt idx="2">
                  <c:v>91.686599999999999</c:v>
                </c:pt>
                <c:pt idx="3">
                  <c:v>37.590299999999999</c:v>
                </c:pt>
                <c:pt idx="4">
                  <c:v>219.04169999999999</c:v>
                </c:pt>
                <c:pt idx="5">
                  <c:v>64.075400000000002</c:v>
                </c:pt>
                <c:pt idx="6">
                  <c:v>270.6207</c:v>
                </c:pt>
                <c:pt idx="7">
                  <c:v>258.72730000000001</c:v>
                </c:pt>
              </c:numCache>
            </c:numRef>
          </c:xVal>
          <c:yVal>
            <c:numRef>
              <c:f>Sheet1!$B$2:$B$9</c:f>
              <c:numCache>
                <c:formatCode>General</c:formatCode>
                <c:ptCount val="8"/>
                <c:pt idx="0">
                  <c:v>2.0579999999999998</c:v>
                </c:pt>
                <c:pt idx="1">
                  <c:v>1.212</c:v>
                </c:pt>
                <c:pt idx="2">
                  <c:v>0.72299999999999998</c:v>
                </c:pt>
                <c:pt idx="3">
                  <c:v>0.30299999999999999</c:v>
                </c:pt>
                <c:pt idx="4">
                  <c:v>1.633</c:v>
                </c:pt>
                <c:pt idx="5">
                  <c:v>0.49199999999999999</c:v>
                </c:pt>
                <c:pt idx="6">
                  <c:v>1.901</c:v>
                </c:pt>
                <c:pt idx="7">
                  <c:v>1.5669999999999999</c:v>
                </c:pt>
              </c:numCache>
            </c:numRef>
          </c:yVal>
          <c:bubbleSize>
            <c:numRef>
              <c:f>Sheet1!$C$2:$C$9</c:f>
              <c:numCache>
                <c:formatCode>General</c:formatCode>
                <c:ptCount val="8"/>
                <c:pt idx="0">
                  <c:v>182460</c:v>
                </c:pt>
                <c:pt idx="1">
                  <c:v>94233</c:v>
                </c:pt>
                <c:pt idx="2">
                  <c:v>67298</c:v>
                </c:pt>
                <c:pt idx="3">
                  <c:v>37064</c:v>
                </c:pt>
                <c:pt idx="4">
                  <c:v>21028</c:v>
                </c:pt>
                <c:pt idx="5">
                  <c:v>12751</c:v>
                </c:pt>
                <c:pt idx="6">
                  <c:v>7848</c:v>
                </c:pt>
                <c:pt idx="7">
                  <c:v>5692</c:v>
                </c:pt>
              </c:numCache>
            </c:numRef>
          </c:bubbleSize>
          <c:bubble3D val="0"/>
          <c:extLst>
            <c:ext xmlns:c15="http://schemas.microsoft.com/office/drawing/2012/chart" uri="{02D57815-91ED-43cb-92C2-25804820EDAC}">
              <c15:datalabelsRange>
                <c15:f>Sheet1!$E$2:$E$10</c15:f>
                <c15:dlblRangeCache>
                  <c:ptCount val="9"/>
                  <c:pt idx="0">
                    <c:v>Dom Perignon</c:v>
                  </c:pt>
                  <c:pt idx="1">
                    <c:v>Roederer</c:v>
                  </c:pt>
                  <c:pt idx="2">
                    <c:v>Ruinart</c:v>
                  </c:pt>
                  <c:pt idx="3">
                    <c:v>Malard</c:v>
                  </c:pt>
                  <c:pt idx="4">
                    <c:v>Bollinger</c:v>
                  </c:pt>
                  <c:pt idx="5">
                    <c:v>Laurent Perrier</c:v>
                  </c:pt>
                  <c:pt idx="6">
                    <c:v>Piper Heidsieck</c:v>
                  </c:pt>
                  <c:pt idx="7">
                    <c:v>Perrier Jouet</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25"/>
          <c:min val="30"/>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C470093C-59E6-4E92-9A33-A2776D2A19C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E85BB361-8C18-4A7A-93C3-32C222E4870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F6C4219F-CEE3-40C8-83FA-893C04461F4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6F4A608B-BDD9-4391-BF3A-DADA06ACCB9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43E79A2A-3AB8-4256-AD92-DEC09BD9DDB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BB341DEE-1B1E-41FE-9E68-2722F609B31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FA8EA932-BA58-4B3C-90C8-0BC87EE93B6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E551235B-DE92-4ADC-8309-6B58D51B9D1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90.888499999999993</c:v>
                </c:pt>
                <c:pt idx="1">
                  <c:v>52.964500000000001</c:v>
                </c:pt>
                <c:pt idx="2">
                  <c:v>37.2455</c:v>
                </c:pt>
                <c:pt idx="3">
                  <c:v>26.510400000000001</c:v>
                </c:pt>
                <c:pt idx="4">
                  <c:v>81.043800000000005</c:v>
                </c:pt>
                <c:pt idx="5">
                  <c:v>37.565300000000001</c:v>
                </c:pt>
                <c:pt idx="6">
                  <c:v>41.234299999999998</c:v>
                </c:pt>
                <c:pt idx="7">
                  <c:v>36.067500000000003</c:v>
                </c:pt>
              </c:numCache>
            </c:numRef>
          </c:xVal>
          <c:yVal>
            <c:numRef>
              <c:f>Sheet1!$B$2:$B$9</c:f>
              <c:numCache>
                <c:formatCode>General</c:formatCode>
                <c:ptCount val="8"/>
                <c:pt idx="0">
                  <c:v>1.76</c:v>
                </c:pt>
                <c:pt idx="1">
                  <c:v>1.1359999999999999</c:v>
                </c:pt>
                <c:pt idx="2">
                  <c:v>0.71299999999999997</c:v>
                </c:pt>
                <c:pt idx="3">
                  <c:v>0.54100000000000004</c:v>
                </c:pt>
                <c:pt idx="4">
                  <c:v>1.5469999999999999</c:v>
                </c:pt>
                <c:pt idx="5">
                  <c:v>0.72099999999999997</c:v>
                </c:pt>
                <c:pt idx="6">
                  <c:v>0.93400000000000005</c:v>
                </c:pt>
                <c:pt idx="7">
                  <c:v>0.69499999999999995</c:v>
                </c:pt>
              </c:numCache>
            </c:numRef>
          </c:yVal>
          <c:bubbleSize>
            <c:numRef>
              <c:f>Sheet1!$C$2:$C$9</c:f>
              <c:numCache>
                <c:formatCode>General</c:formatCode>
                <c:ptCount val="8"/>
                <c:pt idx="0">
                  <c:v>262577</c:v>
                </c:pt>
                <c:pt idx="1">
                  <c:v>125314</c:v>
                </c:pt>
                <c:pt idx="2">
                  <c:v>109390</c:v>
                </c:pt>
                <c:pt idx="3">
                  <c:v>95729</c:v>
                </c:pt>
                <c:pt idx="4">
                  <c:v>68401</c:v>
                </c:pt>
                <c:pt idx="5">
                  <c:v>42261</c:v>
                </c:pt>
                <c:pt idx="6">
                  <c:v>40657</c:v>
                </c:pt>
                <c:pt idx="7">
                  <c:v>37943</c:v>
                </c:pt>
              </c:numCache>
            </c:numRef>
          </c:bubbleSize>
          <c:bubble3D val="0"/>
          <c:extLst>
            <c:ext xmlns:c15="http://schemas.microsoft.com/office/drawing/2012/chart" uri="{02D57815-91ED-43cb-92C2-25804820EDAC}">
              <c15:datalabelsRange>
                <c15:f>Sheet1!$E$2:$E$10</c15:f>
                <c15:dlblRangeCache>
                  <c:ptCount val="9"/>
                  <c:pt idx="0">
                    <c:v>Ruinart</c:v>
                  </c:pt>
                  <c:pt idx="1">
                    <c:v>Deutz</c:v>
                  </c:pt>
                  <c:pt idx="2">
                    <c:v>Demoiselle</c:v>
                  </c:pt>
                  <c:pt idx="3">
                    <c:v>Nicolas</c:v>
                  </c:pt>
                  <c:pt idx="4">
                    <c:v>Laurent Perrier</c:v>
                  </c:pt>
                  <c:pt idx="5">
                    <c:v>Nicolas Feuillatte</c:v>
                  </c:pt>
                  <c:pt idx="6">
                    <c:v>Besserat De Bellefon</c:v>
                  </c:pt>
                  <c:pt idx="7">
                    <c:v>Malard</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09"/>
          <c:min val="21"/>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151CF1CF-0CA2-4D75-BBA9-AA9A09A7272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D871-46D6-BBFE-7C00E0D51738}"/>
                </c:ext>
              </c:extLst>
            </c:dLbl>
            <c:dLbl>
              <c:idx val="2"/>
              <c:tx>
                <c:rich>
                  <a:bodyPr/>
                  <a:lstStyle/>
                  <a:p>
                    <a:fld id="{849E6B4C-6A09-43C0-9837-A4B8E31D4BB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D871-46D6-BBFE-7C00E0D51738}"/>
                </c:ext>
              </c:extLst>
            </c:dLbl>
            <c:dLbl>
              <c:idx val="3"/>
              <c:tx>
                <c:rich>
                  <a:bodyPr/>
                  <a:lstStyle/>
                  <a:p>
                    <a:fld id="{46042C60-FACE-4BE1-A584-3A341FA78DB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D871-46D6-BBFE-7C00E0D51738}"/>
                </c:ext>
              </c:extLst>
            </c:dLbl>
            <c:dLbl>
              <c:idx val="4"/>
              <c:tx>
                <c:rich>
                  <a:bodyPr/>
                  <a:lstStyle/>
                  <a:p>
                    <a:fld id="{F3BF1CC7-F5DA-4F30-AA80-26A6ED75581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D871-46D6-BBFE-7C00E0D51738}"/>
                </c:ext>
              </c:extLst>
            </c:dLbl>
            <c:dLbl>
              <c:idx val="5"/>
              <c:tx>
                <c:rich>
                  <a:bodyPr/>
                  <a:lstStyle/>
                  <a:p>
                    <a:fld id="{3F78B87B-E792-48F2-B169-C61C8B48BF7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71-46D6-BBFE-7C00E0D51738}"/>
                </c:ext>
              </c:extLst>
            </c:dLbl>
            <c:dLbl>
              <c:idx val="6"/>
              <c:tx>
                <c:rich>
                  <a:bodyPr/>
                  <a:lstStyle/>
                  <a:p>
                    <a:fld id="{AE892703-8999-4B3C-9993-522C35AB85D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71-46D6-BBFE-7C00E0D51738}"/>
                </c:ext>
              </c:extLst>
            </c:dLbl>
            <c:dLbl>
              <c:idx val="7"/>
              <c:tx>
                <c:rich>
                  <a:bodyPr/>
                  <a:lstStyle/>
                  <a:p>
                    <a:fld id="{4857FC27-451B-434A-992E-D061BC51D28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71-46D6-BBFE-7C00E0D51738}"/>
                </c:ext>
              </c:extLst>
            </c:dLbl>
            <c:dLbl>
              <c:idx val="8"/>
              <c:tx>
                <c:rich>
                  <a:bodyPr/>
                  <a:lstStyle/>
                  <a:p>
                    <a:fld id="{FD698A4C-7C05-400A-9522-E2D605CE4F5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2.745100000000001</c:v>
                </c:pt>
              </c:numCache>
            </c:numRef>
          </c:xVal>
          <c:yVal>
            <c:numRef>
              <c:f>Sheet1!$B$2:$B$2</c:f>
              <c:numCache>
                <c:formatCode>General</c:formatCode>
                <c:ptCount val="1"/>
                <c:pt idx="0">
                  <c:v>0.98799999999999999</c:v>
                </c:pt>
              </c:numCache>
            </c:numRef>
          </c:yVal>
          <c:bubbleSize>
            <c:numRef>
              <c:f>Sheet1!$C$2:$C$2</c:f>
              <c:numCache>
                <c:formatCode>General</c:formatCode>
                <c:ptCount val="1"/>
                <c:pt idx="0">
                  <c:v>115254</c:v>
                </c:pt>
              </c:numCache>
            </c:numRef>
          </c:bubbleSize>
          <c:bubble3D val="0"/>
          <c:extLst>
            <c:ext xmlns:c15="http://schemas.microsoft.com/office/drawing/2012/chart" uri="{02D57815-91ED-43cb-92C2-25804820EDAC}">
              <c15:datalabelsRange>
                <c15:f>Sheet1!$E$2:$E$10</c15:f>
                <c15:dlblRangeCache>
                  <c:ptCount val="9"/>
                  <c:pt idx="0">
                    <c:v>Patriarche</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5"/>
          <c:min val="10"/>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CA-4C16-90F6-A0D9A3D8DA8E}"/>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CA-4C16-90F6-A0D9A3D8DA8E}"/>
                </c:ext>
              </c:extLst>
            </c:dLbl>
            <c:dLbl>
              <c:idx val="1"/>
              <c:tx>
                <c:rich>
                  <a:bodyPr/>
                  <a:lstStyle/>
                  <a:p>
                    <a:fld id="{AFA9B1FB-59A2-428D-973B-A74175B211C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CA-4C16-90F6-A0D9A3D8DA8E}"/>
                </c:ext>
              </c:extLst>
            </c:dLbl>
            <c:dLbl>
              <c:idx val="2"/>
              <c:tx>
                <c:rich>
                  <a:bodyPr/>
                  <a:lstStyle/>
                  <a:p>
                    <a:fld id="{FED2E55A-39C1-48A6-BA74-6554DAF18C5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CA-4C16-90F6-A0D9A3D8DA8E}"/>
                </c:ext>
              </c:extLst>
            </c:dLbl>
            <c:dLbl>
              <c:idx val="3"/>
              <c:tx>
                <c:rich>
                  <a:bodyPr/>
                  <a:lstStyle/>
                  <a:p>
                    <a:fld id="{B8EA8565-477A-4109-AD75-8BC54DB6A0F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D8CA-4C16-90F6-A0D9A3D8DA8E}"/>
                </c:ext>
              </c:extLst>
            </c:dLbl>
            <c:dLbl>
              <c:idx val="4"/>
              <c:tx>
                <c:rich>
                  <a:bodyPr/>
                  <a:lstStyle/>
                  <a:p>
                    <a:fld id="{0212CC7B-D5EB-41DC-8191-5CCDAD96913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D8CA-4C16-90F6-A0D9A3D8DA8E}"/>
                </c:ext>
              </c:extLst>
            </c:dLbl>
            <c:dLbl>
              <c:idx val="5"/>
              <c:tx>
                <c:rich>
                  <a:bodyPr/>
                  <a:lstStyle/>
                  <a:p>
                    <a:fld id="{2247B5F9-D20A-43F4-AFD8-21BCE837C71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CA-4C16-90F6-A0D9A3D8DA8E}"/>
                </c:ext>
              </c:extLst>
            </c:dLbl>
            <c:dLbl>
              <c:idx val="6"/>
              <c:tx>
                <c:rich>
                  <a:bodyPr/>
                  <a:lstStyle/>
                  <a:p>
                    <a:fld id="{35EAB27A-3A4E-45DD-A398-4D805FABD41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CA-4C16-90F6-A0D9A3D8DA8E}"/>
                </c:ext>
              </c:extLst>
            </c:dLbl>
            <c:dLbl>
              <c:idx val="7"/>
              <c:tx>
                <c:rich>
                  <a:bodyPr/>
                  <a:lstStyle/>
                  <a:p>
                    <a:fld id="{C229674E-929A-45E2-A76C-F5C9B84A26D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CA-4C16-90F6-A0D9A3D8DA8E}"/>
                </c:ext>
              </c:extLst>
            </c:dLbl>
            <c:dLbl>
              <c:idx val="8"/>
              <c:tx>
                <c:rich>
                  <a:bodyPr/>
                  <a:lstStyle/>
                  <a:p>
                    <a:fld id="{100C3E56-A420-424D-B50A-7EF1A0DD255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CA-4C16-90F6-A0D9A3D8DA8E}"/>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1.3698</c:v>
                </c:pt>
                <c:pt idx="1">
                  <c:v>9.0983000000000001</c:v>
                </c:pt>
                <c:pt idx="2">
                  <c:v>11.728</c:v>
                </c:pt>
              </c:numCache>
            </c:numRef>
          </c:xVal>
          <c:yVal>
            <c:numRef>
              <c:f>Sheet1!$B$2:$B$4</c:f>
              <c:numCache>
                <c:formatCode>General</c:formatCode>
                <c:ptCount val="3"/>
                <c:pt idx="0">
                  <c:v>1.2749999999999999</c:v>
                </c:pt>
                <c:pt idx="1">
                  <c:v>1.022</c:v>
                </c:pt>
                <c:pt idx="2">
                  <c:v>1.083</c:v>
                </c:pt>
              </c:numCache>
            </c:numRef>
          </c:yVal>
          <c:bubbleSize>
            <c:numRef>
              <c:f>Sheet1!$C$2:$C$4</c:f>
              <c:numCache>
                <c:formatCode>General</c:formatCode>
                <c:ptCount val="3"/>
                <c:pt idx="0">
                  <c:v>108729</c:v>
                </c:pt>
                <c:pt idx="1">
                  <c:v>55136</c:v>
                </c:pt>
                <c:pt idx="2">
                  <c:v>17287</c:v>
                </c:pt>
              </c:numCache>
            </c:numRef>
          </c:bubbleSize>
          <c:bubble3D val="0"/>
          <c:extLst>
            <c:ext xmlns:c15="http://schemas.microsoft.com/office/drawing/2012/chart" uri="{02D57815-91ED-43cb-92C2-25804820EDAC}">
              <c15:datalabelsRange>
                <c15:f>Sheet1!$E$2:$E$10</c15:f>
                <c15:dlblRangeCache>
                  <c:ptCount val="9"/>
                  <c:pt idx="0">
                    <c:v>Bottega</c:v>
                  </c:pt>
                  <c:pt idx="1">
                    <c:v>Savian</c:v>
                  </c:pt>
                  <c:pt idx="2">
                    <c:v>Contarini</c:v>
                  </c:pt>
                </c15:dlblRangeCache>
              </c15:datalabelsRange>
            </c:ext>
            <c:ext xmlns:c16="http://schemas.microsoft.com/office/drawing/2014/chart" uri="{C3380CC4-5D6E-409C-BE32-E72D297353CC}">
              <c16:uniqueId val="{00000009-D8CA-4C16-90F6-A0D9A3D8DA8E}"/>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4"/>
          <c:min val="7"/>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FA2E356-2A8C-410A-B4B9-7E054485B26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8F3B588-BD8E-446D-A545-A3DD73BCAC7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2295745-55FB-49B5-82EB-9EE430769B4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8BC6776F-B367-4453-9F84-FED57A0F69B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F6FBCF68-154A-4FBC-97B2-81769ACF598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55289987-7CED-4BDA-BA0E-3CEB7A2A8B8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C5476921-CB9C-46BA-A2B0-9B851D8B8BC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4301028C-3A7D-4DEF-BF52-8D016F7ABFE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1.7576</c:v>
                </c:pt>
                <c:pt idx="1">
                  <c:v>11.374499999999999</c:v>
                </c:pt>
                <c:pt idx="2">
                  <c:v>13.245200000000001</c:v>
                </c:pt>
              </c:numCache>
            </c:numRef>
          </c:xVal>
          <c:yVal>
            <c:numRef>
              <c:f>Sheet1!$B$2:$B$4</c:f>
              <c:numCache>
                <c:formatCode>General</c:formatCode>
                <c:ptCount val="3"/>
                <c:pt idx="0">
                  <c:v>0.97899999999999998</c:v>
                </c:pt>
                <c:pt idx="1">
                  <c:v>0.99399999999999999</c:v>
                </c:pt>
                <c:pt idx="2">
                  <c:v>1.159</c:v>
                </c:pt>
              </c:numCache>
            </c:numRef>
          </c:yVal>
          <c:bubbleSize>
            <c:numRef>
              <c:f>Sheet1!$C$2:$C$4</c:f>
              <c:numCache>
                <c:formatCode>General</c:formatCode>
                <c:ptCount val="3"/>
                <c:pt idx="0">
                  <c:v>61739</c:v>
                </c:pt>
                <c:pt idx="1">
                  <c:v>55678</c:v>
                </c:pt>
                <c:pt idx="2">
                  <c:v>28093</c:v>
                </c:pt>
              </c:numCache>
            </c:numRef>
          </c:bubbleSize>
          <c:bubble3D val="0"/>
          <c:extLst>
            <c:ext xmlns:c15="http://schemas.microsoft.com/office/drawing/2012/chart" uri="{02D57815-91ED-43cb-92C2-25804820EDAC}">
              <c15:datalabelsRange>
                <c15:f>Sheet1!$E$2:$E$10</c15:f>
                <c15:dlblRangeCache>
                  <c:ptCount val="9"/>
                  <c:pt idx="0">
                    <c:v>Bouvet-Ladubay</c:v>
                  </c:pt>
                  <c:pt idx="1">
                    <c:v>Chateau Moncontour</c:v>
                  </c:pt>
                  <c:pt idx="2">
                    <c:v>De Chancen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6"/>
          <c:min val="9"/>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73B5C891-0D68-4A5E-BE05-E1C29A68D19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48EF-49EC-8B4D-EC25A4464CE3}"/>
                </c:ext>
              </c:extLst>
            </c:dLbl>
            <c:dLbl>
              <c:idx val="2"/>
              <c:tx>
                <c:rich>
                  <a:bodyPr/>
                  <a:lstStyle/>
                  <a:p>
                    <a:fld id="{75927E05-A947-4765-BE23-DCC84E04B60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48EF-49EC-8B4D-EC25A4464CE3}"/>
                </c:ext>
              </c:extLst>
            </c:dLbl>
            <c:dLbl>
              <c:idx val="3"/>
              <c:tx>
                <c:rich>
                  <a:bodyPr/>
                  <a:lstStyle/>
                  <a:p>
                    <a:fld id="{938686BA-A9AD-487E-B2C5-CECB4A0B309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48EF-49EC-8B4D-EC25A4464CE3}"/>
                </c:ext>
              </c:extLst>
            </c:dLbl>
            <c:dLbl>
              <c:idx val="4"/>
              <c:tx>
                <c:rich>
                  <a:bodyPr/>
                  <a:lstStyle/>
                  <a:p>
                    <a:fld id="{72CAAFA4-ADA5-4827-978E-E2777AA8A53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48EF-49EC-8B4D-EC25A4464CE3}"/>
                </c:ext>
              </c:extLst>
            </c:dLbl>
            <c:dLbl>
              <c:idx val="5"/>
              <c:tx>
                <c:rich>
                  <a:bodyPr/>
                  <a:lstStyle/>
                  <a:p>
                    <a:fld id="{4A9C1B99-A93E-4CF0-9FF1-41EEB51E282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48EF-49EC-8B4D-EC25A4464CE3}"/>
                </c:ext>
              </c:extLst>
            </c:dLbl>
            <c:dLbl>
              <c:idx val="6"/>
              <c:tx>
                <c:rich>
                  <a:bodyPr/>
                  <a:lstStyle/>
                  <a:p>
                    <a:fld id="{9725000D-DA5F-4BDC-8844-3228D7B8054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48EF-49EC-8B4D-EC25A4464CE3}"/>
                </c:ext>
              </c:extLst>
            </c:dLbl>
            <c:dLbl>
              <c:idx val="7"/>
              <c:tx>
                <c:rich>
                  <a:bodyPr/>
                  <a:lstStyle/>
                  <a:p>
                    <a:fld id="{4E90208A-48E7-4221-A457-572B2D702B2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48EF-49EC-8B4D-EC25A4464CE3}"/>
                </c:ext>
              </c:extLst>
            </c:dLbl>
            <c:dLbl>
              <c:idx val="8"/>
              <c:tx>
                <c:rich>
                  <a:bodyPr/>
                  <a:lstStyle/>
                  <a:p>
                    <a:fld id="{E713092F-1345-4C1C-8E23-AA92C8ECF79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7.401599999999998</c:v>
                </c:pt>
              </c:numCache>
            </c:numRef>
          </c:xVal>
          <c:yVal>
            <c:numRef>
              <c:f>Sheet1!$B$2:$B$2</c:f>
              <c:numCache>
                <c:formatCode>General</c:formatCode>
                <c:ptCount val="1"/>
                <c:pt idx="0">
                  <c:v>1.0229999999999999</c:v>
                </c:pt>
              </c:numCache>
            </c:numRef>
          </c:yVal>
          <c:bubbleSize>
            <c:numRef>
              <c:f>Sheet1!$C$2:$C$2</c:f>
              <c:numCache>
                <c:formatCode>General</c:formatCode>
                <c:ptCount val="1"/>
                <c:pt idx="0">
                  <c:v>74009</c:v>
                </c:pt>
              </c:numCache>
            </c:numRef>
          </c:bubbleSize>
          <c:bubble3D val="0"/>
          <c:extLst>
            <c:ext xmlns:c15="http://schemas.microsoft.com/office/drawing/2012/chart" uri="{02D57815-91ED-43cb-92C2-25804820EDAC}">
              <c15:datalabelsRange>
                <c15:f>Sheet1!$E$2:$E$10</c15:f>
                <c15:dlblRangeCache>
                  <c:ptCount val="9"/>
                  <c:pt idx="0">
                    <c:v>Mure</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
          <c:min val="14"/>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126E67BD-F206-4A00-BFBE-D609EBD9446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4919906A-0CD0-47F8-84B0-A11F7EADD3F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D871-46D6-BBFE-7C00E0D51738}"/>
                </c:ext>
              </c:extLst>
            </c:dLbl>
            <c:dLbl>
              <c:idx val="3"/>
              <c:tx>
                <c:rich>
                  <a:bodyPr/>
                  <a:lstStyle/>
                  <a:p>
                    <a:fld id="{6653724E-7E6C-4E27-B999-61B1D078E2A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D871-46D6-BBFE-7C00E0D51738}"/>
                </c:ext>
              </c:extLst>
            </c:dLbl>
            <c:dLbl>
              <c:idx val="4"/>
              <c:tx>
                <c:rich>
                  <a:bodyPr/>
                  <a:lstStyle/>
                  <a:p>
                    <a:fld id="{FE4AF076-5C78-4B57-AC46-3F521172253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D871-46D6-BBFE-7C00E0D51738}"/>
                </c:ext>
              </c:extLst>
            </c:dLbl>
            <c:dLbl>
              <c:idx val="5"/>
              <c:tx>
                <c:rich>
                  <a:bodyPr/>
                  <a:lstStyle/>
                  <a:p>
                    <a:fld id="{B9DCA26F-75DF-4F60-B91B-0A6C79590BB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71-46D6-BBFE-7C00E0D51738}"/>
                </c:ext>
              </c:extLst>
            </c:dLbl>
            <c:dLbl>
              <c:idx val="6"/>
              <c:tx>
                <c:rich>
                  <a:bodyPr/>
                  <a:lstStyle/>
                  <a:p>
                    <a:fld id="{BAA45452-1093-4DBA-921C-3F25F7B9873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71-46D6-BBFE-7C00E0D51738}"/>
                </c:ext>
              </c:extLst>
            </c:dLbl>
            <c:dLbl>
              <c:idx val="7"/>
              <c:tx>
                <c:rich>
                  <a:bodyPr/>
                  <a:lstStyle/>
                  <a:p>
                    <a:fld id="{1B6F6653-64E7-42E9-840F-1944564F35A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71-46D6-BBFE-7C00E0D51738}"/>
                </c:ext>
              </c:extLst>
            </c:dLbl>
            <c:dLbl>
              <c:idx val="8"/>
              <c:tx>
                <c:rich>
                  <a:bodyPr/>
                  <a:lstStyle/>
                  <a:p>
                    <a:fld id="{A6178ED1-E4B8-4E39-A561-0BA6F622A46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10.711</c:v>
                </c:pt>
                <c:pt idx="1">
                  <c:v>9.48</c:v>
                </c:pt>
              </c:numCache>
            </c:numRef>
          </c:xVal>
          <c:yVal>
            <c:numRef>
              <c:f>Sheet1!$B$2:$B$3</c:f>
              <c:numCache>
                <c:formatCode>General</c:formatCode>
                <c:ptCount val="2"/>
                <c:pt idx="0">
                  <c:v>1.0289999999999999</c:v>
                </c:pt>
                <c:pt idx="1">
                  <c:v>0.84799999999999998</c:v>
                </c:pt>
              </c:numCache>
            </c:numRef>
          </c:yVal>
          <c:bubbleSize>
            <c:numRef>
              <c:f>Sheet1!$C$2:$C$3</c:f>
              <c:numCache>
                <c:formatCode>General</c:formatCode>
                <c:ptCount val="2"/>
                <c:pt idx="0">
                  <c:v>13303</c:v>
                </c:pt>
                <c:pt idx="1">
                  <c:v>2607</c:v>
                </c:pt>
              </c:numCache>
            </c:numRef>
          </c:bubbleSize>
          <c:bubble3D val="0"/>
          <c:extLst>
            <c:ext xmlns:c15="http://schemas.microsoft.com/office/drawing/2012/chart" uri="{02D57815-91ED-43cb-92C2-25804820EDAC}">
              <c15:datalabelsRange>
                <c15:f>Sheet1!$E$2:$E$10</c15:f>
                <c15:dlblRangeCache>
                  <c:ptCount val="9"/>
                  <c:pt idx="0">
                    <c:v>Cru La Maqueline</c:v>
                  </c:pt>
                  <c:pt idx="1">
                    <c:v>Celene</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3"/>
          <c:min val="8"/>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27165B8-FF65-43E3-884F-74776DA4B55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052C48D-8E4F-41CA-A7C6-3E0CCE054B4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6267558-EED6-4879-AC0F-5EDD73082A3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CCD7902-C003-480E-8E45-D7E31782506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14D04FDD-6E6C-4359-BD90-A839BDE4C28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70015F1-EF7E-48DB-A2B5-3DA7844CBCD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ECA8F08-5554-4A13-95AE-8CD850FCDDD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BCEDDF2D-91EF-4B02-9490-2D7FF36D35A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97.828900000000004</c:v>
                </c:pt>
                <c:pt idx="1">
                  <c:v>39.487299999999998</c:v>
                </c:pt>
                <c:pt idx="2">
                  <c:v>35.456499999999998</c:v>
                </c:pt>
                <c:pt idx="3">
                  <c:v>47.334800000000001</c:v>
                </c:pt>
                <c:pt idx="4">
                  <c:v>54.0471</c:v>
                </c:pt>
                <c:pt idx="5">
                  <c:v>58.458399999999997</c:v>
                </c:pt>
                <c:pt idx="6">
                  <c:v>273.92469999999997</c:v>
                </c:pt>
                <c:pt idx="7">
                  <c:v>266.5926</c:v>
                </c:pt>
              </c:numCache>
            </c:numRef>
          </c:xVal>
          <c:yVal>
            <c:numRef>
              <c:f>Sheet1!$B$2:$B$9</c:f>
              <c:numCache>
                <c:formatCode>General</c:formatCode>
                <c:ptCount val="8"/>
                <c:pt idx="0">
                  <c:v>1.2370000000000001</c:v>
                </c:pt>
                <c:pt idx="1">
                  <c:v>0.53</c:v>
                </c:pt>
                <c:pt idx="2">
                  <c:v>0.44900000000000001</c:v>
                </c:pt>
                <c:pt idx="3">
                  <c:v>0.59299999999999997</c:v>
                </c:pt>
                <c:pt idx="4">
                  <c:v>0.67200000000000004</c:v>
                </c:pt>
                <c:pt idx="5">
                  <c:v>0.79500000000000004</c:v>
                </c:pt>
                <c:pt idx="6">
                  <c:v>3.0190000000000001</c:v>
                </c:pt>
                <c:pt idx="7">
                  <c:v>2.625</c:v>
                </c:pt>
              </c:numCache>
            </c:numRef>
          </c:yVal>
          <c:bubbleSize>
            <c:numRef>
              <c:f>Sheet1!$C$2:$C$9</c:f>
              <c:numCache>
                <c:formatCode>General</c:formatCode>
                <c:ptCount val="8"/>
                <c:pt idx="0">
                  <c:v>649486</c:v>
                </c:pt>
                <c:pt idx="1">
                  <c:v>48214</c:v>
                </c:pt>
                <c:pt idx="2">
                  <c:v>45668</c:v>
                </c:pt>
                <c:pt idx="3">
                  <c:v>32235</c:v>
                </c:pt>
                <c:pt idx="4">
                  <c:v>32158</c:v>
                </c:pt>
                <c:pt idx="5">
                  <c:v>31626</c:v>
                </c:pt>
                <c:pt idx="6">
                  <c:v>25475</c:v>
                </c:pt>
                <c:pt idx="7">
                  <c:v>21594</c:v>
                </c:pt>
              </c:numCache>
            </c:numRef>
          </c:bubbleSize>
          <c:bubble3D val="0"/>
          <c:extLst>
            <c:ext xmlns:c15="http://schemas.microsoft.com/office/drawing/2012/chart" uri="{02D57815-91ED-43cb-92C2-25804820EDAC}">
              <c15:datalabelsRange>
                <c15:f>Sheet1!$E$2:$E$10</c15:f>
                <c15:dlblRangeCache>
                  <c:ptCount val="9"/>
                  <c:pt idx="0">
                    <c:v>Ruinart</c:v>
                  </c:pt>
                  <c:pt idx="1">
                    <c:v>Nicolas</c:v>
                  </c:pt>
                  <c:pt idx="2">
                    <c:v>Malard</c:v>
                  </c:pt>
                  <c:pt idx="3">
                    <c:v>Henriot</c:v>
                  </c:pt>
                  <c:pt idx="4">
                    <c:v>Delamotte</c:v>
                  </c:pt>
                  <c:pt idx="5">
                    <c:v>Besserat De Bellefon</c:v>
                  </c:pt>
                  <c:pt idx="6">
                    <c:v>Taittinger</c:v>
                  </c:pt>
                  <c:pt idx="7">
                    <c:v>Deutz</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29"/>
          <c:min val="28"/>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1D060195-B683-49FD-909C-EB7FEE212F6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579246DD-D2F4-43FC-8795-655AB0B5B47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10CDDAB1-7C5B-4D54-AE22-62A4B64F77A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18DF12BE-D3DB-42A6-BEF9-F5435AFB645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8DB9FFF2-915D-4CE6-B6DD-81E01B0E4C7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74FD78C1-339C-40EF-8EDA-397B873F0E3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D6F16F69-F612-4AE3-A76B-5C5511445EA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BAF12C72-50F6-4B5D-86A4-EB11114C8B7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57.624000000000002</c:v>
                </c:pt>
                <c:pt idx="1">
                  <c:v>22.2852</c:v>
                </c:pt>
                <c:pt idx="2">
                  <c:v>48.426400000000001</c:v>
                </c:pt>
                <c:pt idx="3">
                  <c:v>48.895400000000002</c:v>
                </c:pt>
                <c:pt idx="4">
                  <c:v>51.158700000000003</c:v>
                </c:pt>
                <c:pt idx="5">
                  <c:v>65.263099999999994</c:v>
                </c:pt>
                <c:pt idx="6">
                  <c:v>37.579000000000001</c:v>
                </c:pt>
                <c:pt idx="7">
                  <c:v>29.287099999999999</c:v>
                </c:pt>
              </c:numCache>
            </c:numRef>
          </c:xVal>
          <c:yVal>
            <c:numRef>
              <c:f>Sheet1!$B$2:$B$9</c:f>
              <c:numCache>
                <c:formatCode>General</c:formatCode>
                <c:ptCount val="8"/>
                <c:pt idx="0">
                  <c:v>1.4039999999999999</c:v>
                </c:pt>
                <c:pt idx="1">
                  <c:v>0.54900000000000004</c:v>
                </c:pt>
                <c:pt idx="2">
                  <c:v>1.1619999999999999</c:v>
                </c:pt>
                <c:pt idx="3">
                  <c:v>1.075</c:v>
                </c:pt>
                <c:pt idx="4">
                  <c:v>1.135</c:v>
                </c:pt>
                <c:pt idx="5">
                  <c:v>1.486</c:v>
                </c:pt>
                <c:pt idx="6">
                  <c:v>0.92600000000000005</c:v>
                </c:pt>
                <c:pt idx="7">
                  <c:v>0.72099999999999997</c:v>
                </c:pt>
              </c:numCache>
            </c:numRef>
          </c:yVal>
          <c:bubbleSize>
            <c:numRef>
              <c:f>Sheet1!$C$2:$C$9</c:f>
              <c:numCache>
                <c:formatCode>General</c:formatCode>
                <c:ptCount val="8"/>
                <c:pt idx="0">
                  <c:v>1009342</c:v>
                </c:pt>
                <c:pt idx="1">
                  <c:v>510510</c:v>
                </c:pt>
                <c:pt idx="2">
                  <c:v>492690</c:v>
                </c:pt>
                <c:pt idx="3">
                  <c:v>389207</c:v>
                </c:pt>
                <c:pt idx="4">
                  <c:v>213690</c:v>
                </c:pt>
                <c:pt idx="5">
                  <c:v>205122</c:v>
                </c:pt>
                <c:pt idx="6">
                  <c:v>198718</c:v>
                </c:pt>
                <c:pt idx="7">
                  <c:v>194847</c:v>
                </c:pt>
              </c:numCache>
            </c:numRef>
          </c:bubbleSize>
          <c:bubble3D val="0"/>
          <c:extLst>
            <c:ext xmlns:c15="http://schemas.microsoft.com/office/drawing/2012/chart" uri="{02D57815-91ED-43cb-92C2-25804820EDAC}">
              <c15:datalabelsRange>
                <c15:f>Sheet1!$E$2:$E$10</c15:f>
                <c15:dlblRangeCache>
                  <c:ptCount val="9"/>
                  <c:pt idx="0">
                    <c:v>Ruinart</c:v>
                  </c:pt>
                  <c:pt idx="1">
                    <c:v>Nicolas</c:v>
                  </c:pt>
                  <c:pt idx="2">
                    <c:v>Deutz</c:v>
                  </c:pt>
                  <c:pt idx="3">
                    <c:v>Laurent Perrier</c:v>
                  </c:pt>
                  <c:pt idx="4">
                    <c:v>Taittinger</c:v>
                  </c:pt>
                  <c:pt idx="5">
                    <c:v>Bollinger</c:v>
                  </c:pt>
                  <c:pt idx="6">
                    <c:v>Ayala</c:v>
                  </c:pt>
                  <c:pt idx="7">
                    <c:v>Heidsieck &amp; Co Monopole</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8"/>
          <c:min val="18"/>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BB354B80-A08D-4691-8CCF-FF36037FFE5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929279DB-8C1D-4056-9838-D7D76D2333D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71-46D6-BBFE-7C00E0D51738}"/>
                </c:ext>
              </c:extLst>
            </c:dLbl>
            <c:dLbl>
              <c:idx val="3"/>
              <c:tx>
                <c:rich>
                  <a:bodyPr/>
                  <a:lstStyle/>
                  <a:p>
                    <a:fld id="{B21D0690-8B61-4A75-97F3-61976FBF468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71-46D6-BBFE-7C00E0D51738}"/>
                </c:ext>
              </c:extLst>
            </c:dLbl>
            <c:dLbl>
              <c:idx val="4"/>
              <c:tx>
                <c:rich>
                  <a:bodyPr/>
                  <a:lstStyle/>
                  <a:p>
                    <a:fld id="{2FCC2E56-0C7F-4684-8861-9731769E7BB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D871-46D6-BBFE-7C00E0D51738}"/>
                </c:ext>
              </c:extLst>
            </c:dLbl>
            <c:dLbl>
              <c:idx val="5"/>
              <c:tx>
                <c:rich>
                  <a:bodyPr/>
                  <a:lstStyle/>
                  <a:p>
                    <a:fld id="{DC4E28F0-ECA3-4CB0-8941-45411DFE6FF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71-46D6-BBFE-7C00E0D51738}"/>
                </c:ext>
              </c:extLst>
            </c:dLbl>
            <c:dLbl>
              <c:idx val="6"/>
              <c:tx>
                <c:rich>
                  <a:bodyPr/>
                  <a:lstStyle/>
                  <a:p>
                    <a:fld id="{9E4B4869-D80C-48A7-B9BD-31E6DE4EE89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71-46D6-BBFE-7C00E0D51738}"/>
                </c:ext>
              </c:extLst>
            </c:dLbl>
            <c:dLbl>
              <c:idx val="7"/>
              <c:tx>
                <c:rich>
                  <a:bodyPr/>
                  <a:lstStyle/>
                  <a:p>
                    <a:fld id="{9AB889E6-9636-45F0-9E40-47EAC3F4113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71-46D6-BBFE-7C00E0D51738}"/>
                </c:ext>
              </c:extLst>
            </c:dLbl>
            <c:dLbl>
              <c:idx val="8"/>
              <c:tx>
                <c:rich>
                  <a:bodyPr/>
                  <a:lstStyle/>
                  <a:p>
                    <a:fld id="{48297922-4D01-41AA-8E5B-B4706958A18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29.729199999999999</c:v>
                </c:pt>
                <c:pt idx="1">
                  <c:v>30.648199999999999</c:v>
                </c:pt>
                <c:pt idx="2">
                  <c:v>31.512</c:v>
                </c:pt>
                <c:pt idx="3">
                  <c:v>35.926099999999998</c:v>
                </c:pt>
              </c:numCache>
            </c:numRef>
          </c:xVal>
          <c:yVal>
            <c:numRef>
              <c:f>Sheet1!$B$2:$B$5</c:f>
              <c:numCache>
                <c:formatCode>General</c:formatCode>
                <c:ptCount val="4"/>
                <c:pt idx="0">
                  <c:v>0.98499999999999999</c:v>
                </c:pt>
                <c:pt idx="1">
                  <c:v>1.0129999999999999</c:v>
                </c:pt>
                <c:pt idx="2">
                  <c:v>1.044</c:v>
                </c:pt>
                <c:pt idx="3">
                  <c:v>1.0720000000000001</c:v>
                </c:pt>
              </c:numCache>
            </c:numRef>
          </c:yVal>
          <c:bubbleSize>
            <c:numRef>
              <c:f>Sheet1!$C$2:$C$5</c:f>
              <c:numCache>
                <c:formatCode>General</c:formatCode>
                <c:ptCount val="4"/>
                <c:pt idx="0">
                  <c:v>224277</c:v>
                </c:pt>
                <c:pt idx="1">
                  <c:v>77540</c:v>
                </c:pt>
                <c:pt idx="2">
                  <c:v>41974</c:v>
                </c:pt>
                <c:pt idx="3">
                  <c:v>7293</c:v>
                </c:pt>
              </c:numCache>
            </c:numRef>
          </c:bubbleSize>
          <c:bubble3D val="0"/>
          <c:extLst>
            <c:ext xmlns:c15="http://schemas.microsoft.com/office/drawing/2012/chart" uri="{02D57815-91ED-43cb-92C2-25804820EDAC}">
              <c15:datalabelsRange>
                <c15:f>Sheet1!$E$2:$E$10</c15:f>
                <c15:dlblRangeCache>
                  <c:ptCount val="9"/>
                  <c:pt idx="0">
                    <c:v>Malard</c:v>
                  </c:pt>
                  <c:pt idx="1">
                    <c:v>Vesselle</c:v>
                  </c:pt>
                  <c:pt idx="2">
                    <c:v>Louis Martin</c:v>
                  </c:pt>
                  <c:pt idx="3">
                    <c:v>Nicolas</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3"/>
          <c:min val="24"/>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E274230-042F-4F7A-841E-2CC02E3A10C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A2AC543-0115-4794-B31C-59C03219E5E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AED6AF4-7B0C-4CB0-8804-12374FE9E6C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EAC6FBD-9496-4EEF-B515-D6F1D79851A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D1F559F-E963-449F-9070-C3ADE580837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1CC8C03-8FC6-474D-B55E-A02E4634925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B98053E-C15B-44D9-AFBA-85A780BAFAD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7A2A5304-1C97-4E13-8C90-B78FA0E8E48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69.862499999999997</c:v>
                </c:pt>
                <c:pt idx="1">
                  <c:v>23.236599999999999</c:v>
                </c:pt>
                <c:pt idx="2">
                  <c:v>52.527299999999997</c:v>
                </c:pt>
                <c:pt idx="3">
                  <c:v>32.034199999999998</c:v>
                </c:pt>
                <c:pt idx="4">
                  <c:v>17.333100000000002</c:v>
                </c:pt>
                <c:pt idx="5">
                  <c:v>55.900500000000001</c:v>
                </c:pt>
                <c:pt idx="6">
                  <c:v>70.223500000000001</c:v>
                </c:pt>
                <c:pt idx="7">
                  <c:v>34.026000000000003</c:v>
                </c:pt>
              </c:numCache>
            </c:numRef>
          </c:xVal>
          <c:yVal>
            <c:numRef>
              <c:f>Sheet1!$B$2:$B$9</c:f>
              <c:numCache>
                <c:formatCode>General</c:formatCode>
                <c:ptCount val="8"/>
                <c:pt idx="0">
                  <c:v>2.1949999999999998</c:v>
                </c:pt>
                <c:pt idx="1">
                  <c:v>0.752</c:v>
                </c:pt>
                <c:pt idx="2">
                  <c:v>1.6419999999999999</c:v>
                </c:pt>
                <c:pt idx="3">
                  <c:v>1.034</c:v>
                </c:pt>
                <c:pt idx="4">
                  <c:v>0.59699999999999998</c:v>
                </c:pt>
                <c:pt idx="5">
                  <c:v>1.546</c:v>
                </c:pt>
                <c:pt idx="6">
                  <c:v>2.08</c:v>
                </c:pt>
                <c:pt idx="7">
                  <c:v>1.0980000000000001</c:v>
                </c:pt>
              </c:numCache>
            </c:numRef>
          </c:yVal>
          <c:bubbleSize>
            <c:numRef>
              <c:f>Sheet1!$C$2:$C$9</c:f>
              <c:numCache>
                <c:formatCode>General</c:formatCode>
                <c:ptCount val="8"/>
                <c:pt idx="0">
                  <c:v>300199</c:v>
                </c:pt>
                <c:pt idx="1">
                  <c:v>152037</c:v>
                </c:pt>
                <c:pt idx="2">
                  <c:v>101798</c:v>
                </c:pt>
                <c:pt idx="3">
                  <c:v>71244</c:v>
                </c:pt>
                <c:pt idx="4">
                  <c:v>68483</c:v>
                </c:pt>
                <c:pt idx="5">
                  <c:v>66298</c:v>
                </c:pt>
                <c:pt idx="6">
                  <c:v>50280</c:v>
                </c:pt>
                <c:pt idx="7">
                  <c:v>49678</c:v>
                </c:pt>
              </c:numCache>
            </c:numRef>
          </c:bubbleSize>
          <c:bubble3D val="0"/>
          <c:extLst>
            <c:ext xmlns:c15="http://schemas.microsoft.com/office/drawing/2012/chart" uri="{02D57815-91ED-43cb-92C2-25804820EDAC}">
              <c15:datalabelsRange>
                <c15:f>Sheet1!$E$2:$E$10</c15:f>
                <c15:dlblRangeCache>
                  <c:ptCount val="9"/>
                  <c:pt idx="0">
                    <c:v>Ruinart</c:v>
                  </c:pt>
                  <c:pt idx="1">
                    <c:v>Nicolas</c:v>
                  </c:pt>
                  <c:pt idx="2">
                    <c:v>Deutz</c:v>
                  </c:pt>
                  <c:pt idx="3">
                    <c:v>Malard</c:v>
                  </c:pt>
                  <c:pt idx="4">
                    <c:v>Mure</c:v>
                  </c:pt>
                  <c:pt idx="5">
                    <c:v>Laurent Perrier</c:v>
                  </c:pt>
                  <c:pt idx="6">
                    <c:v>Bollinger</c:v>
                  </c:pt>
                  <c:pt idx="7">
                    <c:v>Canard Duchên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4"/>
          <c:min val="14"/>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CA-4C16-90F6-A0D9A3D8DA8E}"/>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CA-4C16-90F6-A0D9A3D8DA8E}"/>
                </c:ext>
              </c:extLst>
            </c:dLbl>
            <c:dLbl>
              <c:idx val="1"/>
              <c:tx>
                <c:rich>
                  <a:bodyPr/>
                  <a:lstStyle/>
                  <a:p>
                    <a:fld id="{0093532B-4336-4B10-AF63-BFCD2C9C315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CA-4C16-90F6-A0D9A3D8DA8E}"/>
                </c:ext>
              </c:extLst>
            </c:dLbl>
            <c:dLbl>
              <c:idx val="2"/>
              <c:tx>
                <c:rich>
                  <a:bodyPr/>
                  <a:lstStyle/>
                  <a:p>
                    <a:fld id="{4FA0E16A-3C3E-4CA5-A7C6-4DD16ABD556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CA-4C16-90F6-A0D9A3D8DA8E}"/>
                </c:ext>
              </c:extLst>
            </c:dLbl>
            <c:dLbl>
              <c:idx val="3"/>
              <c:tx>
                <c:rich>
                  <a:bodyPr/>
                  <a:lstStyle/>
                  <a:p>
                    <a:fld id="{8A8C39EF-AEE7-436E-9F57-4267414BB63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D8CA-4C16-90F6-A0D9A3D8DA8E}"/>
                </c:ext>
              </c:extLst>
            </c:dLbl>
            <c:dLbl>
              <c:idx val="4"/>
              <c:tx>
                <c:rich>
                  <a:bodyPr/>
                  <a:lstStyle/>
                  <a:p>
                    <a:fld id="{D750741C-34B2-4164-BC2D-2E2DE97BFEF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D8CA-4C16-90F6-A0D9A3D8DA8E}"/>
                </c:ext>
              </c:extLst>
            </c:dLbl>
            <c:dLbl>
              <c:idx val="5"/>
              <c:tx>
                <c:rich>
                  <a:bodyPr/>
                  <a:lstStyle/>
                  <a:p>
                    <a:fld id="{CF13F344-5ACA-4837-B672-D5F7235F705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CA-4C16-90F6-A0D9A3D8DA8E}"/>
                </c:ext>
              </c:extLst>
            </c:dLbl>
            <c:dLbl>
              <c:idx val="6"/>
              <c:tx>
                <c:rich>
                  <a:bodyPr/>
                  <a:lstStyle/>
                  <a:p>
                    <a:fld id="{FADCFC4A-2ACC-4A3B-9573-415E51A1440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CA-4C16-90F6-A0D9A3D8DA8E}"/>
                </c:ext>
              </c:extLst>
            </c:dLbl>
            <c:dLbl>
              <c:idx val="7"/>
              <c:tx>
                <c:rich>
                  <a:bodyPr/>
                  <a:lstStyle/>
                  <a:p>
                    <a:fld id="{62D40002-B881-4224-9A4D-8D06A39F700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CA-4C16-90F6-A0D9A3D8DA8E}"/>
                </c:ext>
              </c:extLst>
            </c:dLbl>
            <c:dLbl>
              <c:idx val="8"/>
              <c:tx>
                <c:rich>
                  <a:bodyPr/>
                  <a:lstStyle/>
                  <a:p>
                    <a:fld id="{449B54A1-18BD-47D0-8E77-92DF99BC105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CA-4C16-90F6-A0D9A3D8DA8E}"/>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31.551100000000002</c:v>
                </c:pt>
                <c:pt idx="1">
                  <c:v>43.418399999999998</c:v>
                </c:pt>
                <c:pt idx="2">
                  <c:v>39.845399999999998</c:v>
                </c:pt>
              </c:numCache>
            </c:numRef>
          </c:xVal>
          <c:yVal>
            <c:numRef>
              <c:f>Sheet1!$B$2:$B$4</c:f>
              <c:numCache>
                <c:formatCode>General</c:formatCode>
                <c:ptCount val="3"/>
                <c:pt idx="0">
                  <c:v>0.93600000000000005</c:v>
                </c:pt>
                <c:pt idx="1">
                  <c:v>1.2929999999999999</c:v>
                </c:pt>
                <c:pt idx="2">
                  <c:v>1.0620000000000001</c:v>
                </c:pt>
              </c:numCache>
            </c:numRef>
          </c:yVal>
          <c:bubbleSize>
            <c:numRef>
              <c:f>Sheet1!$C$2:$C$4</c:f>
              <c:numCache>
                <c:formatCode>General</c:formatCode>
                <c:ptCount val="3"/>
                <c:pt idx="0">
                  <c:v>218807</c:v>
                </c:pt>
                <c:pt idx="1">
                  <c:v>63304</c:v>
                </c:pt>
                <c:pt idx="2">
                  <c:v>3865</c:v>
                </c:pt>
              </c:numCache>
            </c:numRef>
          </c:bubbleSize>
          <c:bubble3D val="0"/>
          <c:extLst>
            <c:ext xmlns:c15="http://schemas.microsoft.com/office/drawing/2012/chart" uri="{02D57815-91ED-43cb-92C2-25804820EDAC}">
              <c15:datalabelsRange>
                <c15:f>Sheet1!$E$2:$E$10</c15:f>
                <c15:dlblRangeCache>
                  <c:ptCount val="9"/>
                  <c:pt idx="0">
                    <c:v>Nicolas Feuillatte</c:v>
                  </c:pt>
                  <c:pt idx="1">
                    <c:v>Moët &amp; Chandon</c:v>
                  </c:pt>
                  <c:pt idx="2">
                    <c:v>Canard Duchêne</c:v>
                  </c:pt>
                </c15:dlblRangeCache>
              </c15:datalabelsRange>
            </c:ext>
            <c:ext xmlns:c16="http://schemas.microsoft.com/office/drawing/2014/chart" uri="{C3380CC4-5D6E-409C-BE32-E72D297353CC}">
              <c16:uniqueId val="{00000009-D8CA-4C16-90F6-A0D9A3D8DA8E}"/>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2"/>
          <c:min val="25"/>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ADCC946-317C-42C6-AFE0-16701B3BC1F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E87AFEC-B15F-4FC1-B0A3-8CD7AE4B7BA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E097F56-FCAB-4BB8-8D63-9BD24EC5575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17561AC-CA16-400F-A994-F3D93A7E5D7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1067087-E5B8-4B2A-B530-4D4A9855198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3D5703B-8E9E-475B-A9F3-00F9E3E04DD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1A6470EE-4349-477C-877B-4625F543642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76EBC6E7-B238-4932-81AE-846856940F1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68.45940000000002</c:v>
                </c:pt>
                <c:pt idx="1">
                  <c:v>197.8586</c:v>
                </c:pt>
                <c:pt idx="2">
                  <c:v>95.672200000000004</c:v>
                </c:pt>
                <c:pt idx="3">
                  <c:v>37.631700000000002</c:v>
                </c:pt>
                <c:pt idx="4">
                  <c:v>242.32650000000001</c:v>
                </c:pt>
                <c:pt idx="5">
                  <c:v>269.16219999999998</c:v>
                </c:pt>
                <c:pt idx="6">
                  <c:v>65.087000000000003</c:v>
                </c:pt>
                <c:pt idx="7">
                  <c:v>423.70589999999999</c:v>
                </c:pt>
              </c:numCache>
            </c:numRef>
          </c:xVal>
          <c:yVal>
            <c:numRef>
              <c:f>Sheet1!$B$2:$B$9</c:f>
              <c:numCache>
                <c:formatCode>General</c:formatCode>
                <c:ptCount val="8"/>
                <c:pt idx="0">
                  <c:v>1.72</c:v>
                </c:pt>
                <c:pt idx="1">
                  <c:v>1.2070000000000001</c:v>
                </c:pt>
                <c:pt idx="2">
                  <c:v>0.58399999999999996</c:v>
                </c:pt>
                <c:pt idx="3">
                  <c:v>0.25</c:v>
                </c:pt>
                <c:pt idx="4">
                  <c:v>1.381</c:v>
                </c:pt>
                <c:pt idx="5">
                  <c:v>1.51</c:v>
                </c:pt>
                <c:pt idx="6">
                  <c:v>0.40699999999999997</c:v>
                </c:pt>
                <c:pt idx="7">
                  <c:v>1.5009999999999999</c:v>
                </c:pt>
              </c:numCache>
            </c:numRef>
          </c:yVal>
          <c:bubbleSize>
            <c:numRef>
              <c:f>Sheet1!$C$2:$C$9</c:f>
              <c:numCache>
                <c:formatCode>General</c:formatCode>
                <c:ptCount val="8"/>
                <c:pt idx="0">
                  <c:v>175304</c:v>
                </c:pt>
                <c:pt idx="1">
                  <c:v>113373</c:v>
                </c:pt>
                <c:pt idx="2">
                  <c:v>28606</c:v>
                </c:pt>
                <c:pt idx="3">
                  <c:v>23294</c:v>
                </c:pt>
                <c:pt idx="4">
                  <c:v>11874</c:v>
                </c:pt>
                <c:pt idx="5">
                  <c:v>9959</c:v>
                </c:pt>
                <c:pt idx="6">
                  <c:v>7485</c:v>
                </c:pt>
                <c:pt idx="7">
                  <c:v>7203</c:v>
                </c:pt>
              </c:numCache>
            </c:numRef>
          </c:bubbleSize>
          <c:bubble3D val="0"/>
          <c:extLst>
            <c:ext xmlns:c15="http://schemas.microsoft.com/office/drawing/2012/chart" uri="{02D57815-91ED-43cb-92C2-25804820EDAC}">
              <c15:datalabelsRange>
                <c15:f>Sheet1!$E$2:$E$10</c15:f>
                <c15:dlblRangeCache>
                  <c:ptCount val="9"/>
                  <c:pt idx="0">
                    <c:v>Dom Perignon</c:v>
                  </c:pt>
                  <c:pt idx="1">
                    <c:v>Roederer</c:v>
                  </c:pt>
                  <c:pt idx="2">
                    <c:v>Ruinart</c:v>
                  </c:pt>
                  <c:pt idx="3">
                    <c:v>Malard</c:v>
                  </c:pt>
                  <c:pt idx="4">
                    <c:v>Bollinger</c:v>
                  </c:pt>
                  <c:pt idx="5">
                    <c:v>Perrier Jouet</c:v>
                  </c:pt>
                  <c:pt idx="6">
                    <c:v>Laurent Perrier</c:v>
                  </c:pt>
                  <c:pt idx="7">
                    <c:v>Pommer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08"/>
          <c:min val="30"/>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E031AF77-5858-468E-81AD-C058503E82A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8536F1C2-D9FF-4BA1-8CE4-D6F903607A8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97EDB78A-4749-4476-9113-4D3B32E2F57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73A45355-E66E-486B-B804-311776CDCC0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7D4C62C1-8561-47ED-BE59-0B1A751A607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D9067D45-3327-4EAF-8657-E9152F14FC0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005F66A0-E051-457A-8A1C-8326F619071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28C02214-478A-46D6-B2B2-BCE5325B1D0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91.424999999999997</c:v>
                </c:pt>
                <c:pt idx="1">
                  <c:v>52.019799999999996</c:v>
                </c:pt>
                <c:pt idx="2">
                  <c:v>81.850300000000004</c:v>
                </c:pt>
                <c:pt idx="3">
                  <c:v>26.938700000000001</c:v>
                </c:pt>
                <c:pt idx="4">
                  <c:v>37.7181</c:v>
                </c:pt>
                <c:pt idx="5">
                  <c:v>37.875</c:v>
                </c:pt>
                <c:pt idx="6">
                  <c:v>41.338900000000002</c:v>
                </c:pt>
                <c:pt idx="7">
                  <c:v>51.2316</c:v>
                </c:pt>
              </c:numCache>
            </c:numRef>
          </c:xVal>
          <c:yVal>
            <c:numRef>
              <c:f>Sheet1!$B$2:$B$9</c:f>
              <c:numCache>
                <c:formatCode>General</c:formatCode>
                <c:ptCount val="8"/>
                <c:pt idx="0">
                  <c:v>1.6140000000000001</c:v>
                </c:pt>
                <c:pt idx="1">
                  <c:v>1.0329999999999999</c:v>
                </c:pt>
                <c:pt idx="2">
                  <c:v>1.4019999999999999</c:v>
                </c:pt>
                <c:pt idx="3">
                  <c:v>0.50600000000000001</c:v>
                </c:pt>
                <c:pt idx="4">
                  <c:v>0.64400000000000002</c:v>
                </c:pt>
                <c:pt idx="5">
                  <c:v>0.65300000000000002</c:v>
                </c:pt>
                <c:pt idx="6">
                  <c:v>0.85399999999999998</c:v>
                </c:pt>
                <c:pt idx="7">
                  <c:v>0.872</c:v>
                </c:pt>
              </c:numCache>
            </c:numRef>
          </c:yVal>
          <c:bubbleSize>
            <c:numRef>
              <c:f>Sheet1!$C$2:$C$9</c:f>
              <c:numCache>
                <c:formatCode>General</c:formatCode>
                <c:ptCount val="8"/>
                <c:pt idx="0">
                  <c:v>140703</c:v>
                </c:pt>
                <c:pt idx="1">
                  <c:v>71007</c:v>
                </c:pt>
                <c:pt idx="2">
                  <c:v>68345</c:v>
                </c:pt>
                <c:pt idx="3">
                  <c:v>42644</c:v>
                </c:pt>
                <c:pt idx="4">
                  <c:v>33720</c:v>
                </c:pt>
                <c:pt idx="5">
                  <c:v>32724</c:v>
                </c:pt>
                <c:pt idx="6">
                  <c:v>19884</c:v>
                </c:pt>
                <c:pt idx="7">
                  <c:v>18136</c:v>
                </c:pt>
              </c:numCache>
            </c:numRef>
          </c:bubbleSize>
          <c:bubble3D val="0"/>
          <c:extLst>
            <c:ext xmlns:c15="http://schemas.microsoft.com/office/drawing/2012/chart" uri="{02D57815-91ED-43cb-92C2-25804820EDAC}">
              <c15:datalabelsRange>
                <c15:f>Sheet1!$E$2:$E$10</c15:f>
                <c15:dlblRangeCache>
                  <c:ptCount val="9"/>
                  <c:pt idx="0">
                    <c:v>Ruinart</c:v>
                  </c:pt>
                  <c:pt idx="1">
                    <c:v>Deutz</c:v>
                  </c:pt>
                  <c:pt idx="2">
                    <c:v>Laurent Perrier</c:v>
                  </c:pt>
                  <c:pt idx="3">
                    <c:v>Nicolas</c:v>
                  </c:pt>
                  <c:pt idx="4">
                    <c:v>Nicolas Feuillatte</c:v>
                  </c:pt>
                  <c:pt idx="5">
                    <c:v>Demoiselle</c:v>
                  </c:pt>
                  <c:pt idx="6">
                    <c:v>Besserat De Bellefon</c:v>
                  </c:pt>
                  <c:pt idx="7">
                    <c:v>Pommery</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10"/>
          <c:min val="22"/>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A3BB6057-CE30-4B9C-BF7A-B4C555D73FB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D871-46D6-BBFE-7C00E0D51738}"/>
                </c:ext>
              </c:extLst>
            </c:dLbl>
            <c:dLbl>
              <c:idx val="2"/>
              <c:tx>
                <c:rich>
                  <a:bodyPr/>
                  <a:lstStyle/>
                  <a:p>
                    <a:fld id="{4E7060AC-A3D7-44D7-B700-876E2CA1CBA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D871-46D6-BBFE-7C00E0D51738}"/>
                </c:ext>
              </c:extLst>
            </c:dLbl>
            <c:dLbl>
              <c:idx val="3"/>
              <c:tx>
                <c:rich>
                  <a:bodyPr/>
                  <a:lstStyle/>
                  <a:p>
                    <a:fld id="{790851DF-0128-4793-B031-5887A191149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D871-46D6-BBFE-7C00E0D51738}"/>
                </c:ext>
              </c:extLst>
            </c:dLbl>
            <c:dLbl>
              <c:idx val="4"/>
              <c:tx>
                <c:rich>
                  <a:bodyPr/>
                  <a:lstStyle/>
                  <a:p>
                    <a:fld id="{6A5A8BF7-3FB8-451D-95EC-061073F7974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D871-46D6-BBFE-7C00E0D51738}"/>
                </c:ext>
              </c:extLst>
            </c:dLbl>
            <c:dLbl>
              <c:idx val="5"/>
              <c:tx>
                <c:rich>
                  <a:bodyPr/>
                  <a:lstStyle/>
                  <a:p>
                    <a:fld id="{4EA119E5-DAEE-4192-9886-335DC16192F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71-46D6-BBFE-7C00E0D51738}"/>
                </c:ext>
              </c:extLst>
            </c:dLbl>
            <c:dLbl>
              <c:idx val="6"/>
              <c:tx>
                <c:rich>
                  <a:bodyPr/>
                  <a:lstStyle/>
                  <a:p>
                    <a:fld id="{0E73CE02-F2F2-48F4-A4C7-80C5952430F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71-46D6-BBFE-7C00E0D51738}"/>
                </c:ext>
              </c:extLst>
            </c:dLbl>
            <c:dLbl>
              <c:idx val="7"/>
              <c:tx>
                <c:rich>
                  <a:bodyPr/>
                  <a:lstStyle/>
                  <a:p>
                    <a:fld id="{63D6DB2E-8905-4AB2-AC60-9D99743A26F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71-46D6-BBFE-7C00E0D51738}"/>
                </c:ext>
              </c:extLst>
            </c:dLbl>
            <c:dLbl>
              <c:idx val="8"/>
              <c:tx>
                <c:rich>
                  <a:bodyPr/>
                  <a:lstStyle/>
                  <a:p>
                    <a:fld id="{1C5AB94B-AE50-49D8-A191-C51192A3E8C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3.021599999999999</c:v>
                </c:pt>
              </c:numCache>
            </c:numRef>
          </c:xVal>
          <c:yVal>
            <c:numRef>
              <c:f>Sheet1!$B$2:$B$2</c:f>
              <c:numCache>
                <c:formatCode>General</c:formatCode>
                <c:ptCount val="1"/>
                <c:pt idx="0">
                  <c:v>1</c:v>
                </c:pt>
              </c:numCache>
            </c:numRef>
          </c:yVal>
          <c:bubbleSize>
            <c:numRef>
              <c:f>Sheet1!$C$2:$C$2</c:f>
              <c:numCache>
                <c:formatCode>General</c:formatCode>
                <c:ptCount val="1"/>
                <c:pt idx="0">
                  <c:v>56722</c:v>
                </c:pt>
              </c:numCache>
            </c:numRef>
          </c:bubbleSize>
          <c:bubble3D val="0"/>
          <c:extLst>
            <c:ext xmlns:c15="http://schemas.microsoft.com/office/drawing/2012/chart" uri="{02D57815-91ED-43cb-92C2-25804820EDAC}">
              <c15:datalabelsRange>
                <c15:f>Sheet1!$E$2:$E$10</c15:f>
                <c15:dlblRangeCache>
                  <c:ptCount val="9"/>
                  <c:pt idx="0">
                    <c:v>Patriarche</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6"/>
          <c:min val="10"/>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CA-4C16-90F6-A0D9A3D8DA8E}"/>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CA-4C16-90F6-A0D9A3D8DA8E}"/>
                </c:ext>
              </c:extLst>
            </c:dLbl>
            <c:dLbl>
              <c:idx val="1"/>
              <c:tx>
                <c:rich>
                  <a:bodyPr/>
                  <a:lstStyle/>
                  <a:p>
                    <a:fld id="{65BDC439-5F3B-46F5-A170-BAC3736E717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CA-4C16-90F6-A0D9A3D8DA8E}"/>
                </c:ext>
              </c:extLst>
            </c:dLbl>
            <c:dLbl>
              <c:idx val="2"/>
              <c:tx>
                <c:rich>
                  <a:bodyPr/>
                  <a:lstStyle/>
                  <a:p>
                    <a:fld id="{B1461F5B-0A62-4F6C-86CF-D8E777A69FA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CA-4C16-90F6-A0D9A3D8DA8E}"/>
                </c:ext>
              </c:extLst>
            </c:dLbl>
            <c:dLbl>
              <c:idx val="3"/>
              <c:tx>
                <c:rich>
                  <a:bodyPr/>
                  <a:lstStyle/>
                  <a:p>
                    <a:fld id="{D830EB1C-CD4C-4E35-86F2-22ACE73DB5E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D8CA-4C16-90F6-A0D9A3D8DA8E}"/>
                </c:ext>
              </c:extLst>
            </c:dLbl>
            <c:dLbl>
              <c:idx val="4"/>
              <c:tx>
                <c:rich>
                  <a:bodyPr/>
                  <a:lstStyle/>
                  <a:p>
                    <a:fld id="{FCA995F9-A75F-4DEF-B81B-64B002940D6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D8CA-4C16-90F6-A0D9A3D8DA8E}"/>
                </c:ext>
              </c:extLst>
            </c:dLbl>
            <c:dLbl>
              <c:idx val="5"/>
              <c:tx>
                <c:rich>
                  <a:bodyPr/>
                  <a:lstStyle/>
                  <a:p>
                    <a:fld id="{F11F4E9B-7D90-4FCC-BC76-677BD13106E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CA-4C16-90F6-A0D9A3D8DA8E}"/>
                </c:ext>
              </c:extLst>
            </c:dLbl>
            <c:dLbl>
              <c:idx val="6"/>
              <c:tx>
                <c:rich>
                  <a:bodyPr/>
                  <a:lstStyle/>
                  <a:p>
                    <a:fld id="{1BA308DB-3B3C-4A29-9110-75BDF4AD0BC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CA-4C16-90F6-A0D9A3D8DA8E}"/>
                </c:ext>
              </c:extLst>
            </c:dLbl>
            <c:dLbl>
              <c:idx val="7"/>
              <c:tx>
                <c:rich>
                  <a:bodyPr/>
                  <a:lstStyle/>
                  <a:p>
                    <a:fld id="{7DC2F271-6984-48C5-B853-950DF5F1430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CA-4C16-90F6-A0D9A3D8DA8E}"/>
                </c:ext>
              </c:extLst>
            </c:dLbl>
            <c:dLbl>
              <c:idx val="8"/>
              <c:tx>
                <c:rich>
                  <a:bodyPr/>
                  <a:lstStyle/>
                  <a:p>
                    <a:fld id="{92ECB3B3-869C-4C66-8124-8AE70D25A88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CA-4C16-90F6-A0D9A3D8DA8E}"/>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1.425599999999999</c:v>
                </c:pt>
                <c:pt idx="1">
                  <c:v>9.1058000000000003</c:v>
                </c:pt>
                <c:pt idx="2">
                  <c:v>11.3514</c:v>
                </c:pt>
              </c:numCache>
            </c:numRef>
          </c:xVal>
          <c:yVal>
            <c:numRef>
              <c:f>Sheet1!$B$2:$B$4</c:f>
              <c:numCache>
                <c:formatCode>General</c:formatCode>
                <c:ptCount val="3"/>
                <c:pt idx="0">
                  <c:v>1.256</c:v>
                </c:pt>
                <c:pt idx="1">
                  <c:v>1.002</c:v>
                </c:pt>
                <c:pt idx="2">
                  <c:v>1.0620000000000001</c:v>
                </c:pt>
              </c:numCache>
            </c:numRef>
          </c:yVal>
          <c:bubbleSize>
            <c:numRef>
              <c:f>Sheet1!$C$2:$C$4</c:f>
              <c:numCache>
                <c:formatCode>General</c:formatCode>
                <c:ptCount val="3"/>
                <c:pt idx="0">
                  <c:v>75203</c:v>
                </c:pt>
                <c:pt idx="1">
                  <c:v>40348</c:v>
                </c:pt>
                <c:pt idx="2">
                  <c:v>9206</c:v>
                </c:pt>
              </c:numCache>
            </c:numRef>
          </c:bubbleSize>
          <c:bubble3D val="0"/>
          <c:extLst>
            <c:ext xmlns:c15="http://schemas.microsoft.com/office/drawing/2012/chart" uri="{02D57815-91ED-43cb-92C2-25804820EDAC}">
              <c15:datalabelsRange>
                <c15:f>Sheet1!$E$2:$E$10</c15:f>
                <c15:dlblRangeCache>
                  <c:ptCount val="9"/>
                  <c:pt idx="0">
                    <c:v>Bottega</c:v>
                  </c:pt>
                  <c:pt idx="1">
                    <c:v>Savian</c:v>
                  </c:pt>
                  <c:pt idx="2">
                    <c:v>Contarini</c:v>
                  </c:pt>
                </c15:dlblRangeCache>
              </c15:datalabelsRange>
            </c:ext>
            <c:ext xmlns:c16="http://schemas.microsoft.com/office/drawing/2014/chart" uri="{C3380CC4-5D6E-409C-BE32-E72D297353CC}">
              <c16:uniqueId val="{00000009-D8CA-4C16-90F6-A0D9A3D8DA8E}"/>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4"/>
          <c:min val="7"/>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0B13354-9CAB-42C2-8914-AAA62664521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A329453-C348-444A-9366-6BDCBBC859D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DEC607B-D743-4554-83E1-744BBFC6C0A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B51E2264-52EB-486D-A12C-A3B3B3C9786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4C9CAB84-12E0-46D3-9C1B-556275D399F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52ECCFDF-CE8C-483A-BBDD-076E8FD85F3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41DE0753-F786-42E7-B2F6-2462B336CF3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2ED4B3E6-F6DB-4B07-9E63-455C17CB13D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1.366099999999999</c:v>
                </c:pt>
                <c:pt idx="1">
                  <c:v>11.7385</c:v>
                </c:pt>
                <c:pt idx="2">
                  <c:v>13.419700000000001</c:v>
                </c:pt>
              </c:numCache>
            </c:numRef>
          </c:xVal>
          <c:yVal>
            <c:numRef>
              <c:f>Sheet1!$B$2:$B$4</c:f>
              <c:numCache>
                <c:formatCode>General</c:formatCode>
                <c:ptCount val="3"/>
                <c:pt idx="0">
                  <c:v>0.94699999999999995</c:v>
                </c:pt>
                <c:pt idx="1">
                  <c:v>0.93799999999999994</c:v>
                </c:pt>
                <c:pt idx="2">
                  <c:v>1.1200000000000001</c:v>
                </c:pt>
              </c:numCache>
            </c:numRef>
          </c:yVal>
          <c:bubbleSize>
            <c:numRef>
              <c:f>Sheet1!$C$2:$C$4</c:f>
              <c:numCache>
                <c:formatCode>General</c:formatCode>
                <c:ptCount val="3"/>
                <c:pt idx="0">
                  <c:v>30427</c:v>
                </c:pt>
                <c:pt idx="1">
                  <c:v>22620</c:v>
                </c:pt>
                <c:pt idx="2">
                  <c:v>18895</c:v>
                </c:pt>
              </c:numCache>
            </c:numRef>
          </c:bubbleSize>
          <c:bubble3D val="0"/>
          <c:extLst>
            <c:ext xmlns:c15="http://schemas.microsoft.com/office/drawing/2012/chart" uri="{02D57815-91ED-43cb-92C2-25804820EDAC}">
              <c15:datalabelsRange>
                <c15:f>Sheet1!$E$2:$E$10</c15:f>
                <c15:dlblRangeCache>
                  <c:ptCount val="9"/>
                  <c:pt idx="0">
                    <c:v>Chateau Moncontour</c:v>
                  </c:pt>
                  <c:pt idx="1">
                    <c:v>Bouvet-Ladubay</c:v>
                  </c:pt>
                  <c:pt idx="2">
                    <c:v>De Chancen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6"/>
          <c:min val="9"/>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9E7063E7-8426-447E-98A1-332AFA259E9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48EF-49EC-8B4D-EC25A4464CE3}"/>
                </c:ext>
              </c:extLst>
            </c:dLbl>
            <c:dLbl>
              <c:idx val="2"/>
              <c:tx>
                <c:rich>
                  <a:bodyPr/>
                  <a:lstStyle/>
                  <a:p>
                    <a:fld id="{D441A996-DFA6-4E3B-BA46-3B2DB659248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48EF-49EC-8B4D-EC25A4464CE3}"/>
                </c:ext>
              </c:extLst>
            </c:dLbl>
            <c:dLbl>
              <c:idx val="3"/>
              <c:tx>
                <c:rich>
                  <a:bodyPr/>
                  <a:lstStyle/>
                  <a:p>
                    <a:fld id="{3A46774C-CDF8-4A9E-B294-EF40C52AD5C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48EF-49EC-8B4D-EC25A4464CE3}"/>
                </c:ext>
              </c:extLst>
            </c:dLbl>
            <c:dLbl>
              <c:idx val="4"/>
              <c:tx>
                <c:rich>
                  <a:bodyPr/>
                  <a:lstStyle/>
                  <a:p>
                    <a:fld id="{00F6801E-21D9-423B-8964-2238F37169E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48EF-49EC-8B4D-EC25A4464CE3}"/>
                </c:ext>
              </c:extLst>
            </c:dLbl>
            <c:dLbl>
              <c:idx val="5"/>
              <c:tx>
                <c:rich>
                  <a:bodyPr/>
                  <a:lstStyle/>
                  <a:p>
                    <a:fld id="{E62792C1-51A8-4AFC-AD91-E84770E987C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48EF-49EC-8B4D-EC25A4464CE3}"/>
                </c:ext>
              </c:extLst>
            </c:dLbl>
            <c:dLbl>
              <c:idx val="6"/>
              <c:tx>
                <c:rich>
                  <a:bodyPr/>
                  <a:lstStyle/>
                  <a:p>
                    <a:fld id="{2B1D81D4-7E50-4732-92E2-866F0302D8D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48EF-49EC-8B4D-EC25A4464CE3}"/>
                </c:ext>
              </c:extLst>
            </c:dLbl>
            <c:dLbl>
              <c:idx val="7"/>
              <c:tx>
                <c:rich>
                  <a:bodyPr/>
                  <a:lstStyle/>
                  <a:p>
                    <a:fld id="{99BF6465-E98A-4851-AC00-2BF383EA071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48EF-49EC-8B4D-EC25A4464CE3}"/>
                </c:ext>
              </c:extLst>
            </c:dLbl>
            <c:dLbl>
              <c:idx val="8"/>
              <c:tx>
                <c:rich>
                  <a:bodyPr/>
                  <a:lstStyle/>
                  <a:p>
                    <a:fld id="{BD4BFDB0-2471-44D9-9353-2A19C71FE44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7.555099999999999</c:v>
                </c:pt>
              </c:numCache>
            </c:numRef>
          </c:xVal>
          <c:yVal>
            <c:numRef>
              <c:f>Sheet1!$B$2:$B$2</c:f>
              <c:numCache>
                <c:formatCode>General</c:formatCode>
                <c:ptCount val="1"/>
                <c:pt idx="0">
                  <c:v>1.2589999999999999</c:v>
                </c:pt>
              </c:numCache>
            </c:numRef>
          </c:yVal>
          <c:bubbleSize>
            <c:numRef>
              <c:f>Sheet1!$C$2:$C$2</c:f>
              <c:numCache>
                <c:formatCode>General</c:formatCode>
                <c:ptCount val="1"/>
                <c:pt idx="0">
                  <c:v>51331</c:v>
                </c:pt>
              </c:numCache>
            </c:numRef>
          </c:bubbleSize>
          <c:bubble3D val="0"/>
          <c:extLst>
            <c:ext xmlns:c15="http://schemas.microsoft.com/office/drawing/2012/chart" uri="{02D57815-91ED-43cb-92C2-25804820EDAC}">
              <c15:datalabelsRange>
                <c15:f>Sheet1!$E$2:$E$10</c15:f>
                <c15:dlblRangeCache>
                  <c:ptCount val="9"/>
                  <c:pt idx="0">
                    <c:v>Mure</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
          <c:min val="14"/>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80B2DC6D-3484-4AE2-BDD0-D9158BCC96D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AF6525C8-F29A-4A78-89F0-BCB76A07BFB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D871-46D6-BBFE-7C00E0D51738}"/>
                </c:ext>
              </c:extLst>
            </c:dLbl>
            <c:dLbl>
              <c:idx val="3"/>
              <c:tx>
                <c:rich>
                  <a:bodyPr/>
                  <a:lstStyle/>
                  <a:p>
                    <a:fld id="{3FAB101B-B8FC-429B-BA35-BBBAA0F4332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D871-46D6-BBFE-7C00E0D51738}"/>
                </c:ext>
              </c:extLst>
            </c:dLbl>
            <c:dLbl>
              <c:idx val="4"/>
              <c:tx>
                <c:rich>
                  <a:bodyPr/>
                  <a:lstStyle/>
                  <a:p>
                    <a:fld id="{FFEC2548-0E47-44CC-A8D0-B8D2BC0676C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D871-46D6-BBFE-7C00E0D51738}"/>
                </c:ext>
              </c:extLst>
            </c:dLbl>
            <c:dLbl>
              <c:idx val="5"/>
              <c:tx>
                <c:rich>
                  <a:bodyPr/>
                  <a:lstStyle/>
                  <a:p>
                    <a:fld id="{9D8D54F5-4307-48FA-9EFE-3A4C9463BCD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71-46D6-BBFE-7C00E0D51738}"/>
                </c:ext>
              </c:extLst>
            </c:dLbl>
            <c:dLbl>
              <c:idx val="6"/>
              <c:tx>
                <c:rich>
                  <a:bodyPr/>
                  <a:lstStyle/>
                  <a:p>
                    <a:fld id="{D3BE6068-31A5-4A2D-959A-A50BC900132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71-46D6-BBFE-7C00E0D51738}"/>
                </c:ext>
              </c:extLst>
            </c:dLbl>
            <c:dLbl>
              <c:idx val="7"/>
              <c:tx>
                <c:rich>
                  <a:bodyPr/>
                  <a:lstStyle/>
                  <a:p>
                    <a:fld id="{53116D2D-80D8-4D3E-9EC7-6B4FE2ACC15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71-46D6-BBFE-7C00E0D51738}"/>
                </c:ext>
              </c:extLst>
            </c:dLbl>
            <c:dLbl>
              <c:idx val="8"/>
              <c:tx>
                <c:rich>
                  <a:bodyPr/>
                  <a:lstStyle/>
                  <a:p>
                    <a:fld id="{7F6F030D-9FA6-41BF-97EC-4F119F3DB17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10.9194</c:v>
                </c:pt>
                <c:pt idx="1">
                  <c:v>9.7117000000000004</c:v>
                </c:pt>
              </c:numCache>
            </c:numRef>
          </c:xVal>
          <c:yVal>
            <c:numRef>
              <c:f>Sheet1!$B$2:$B$3</c:f>
              <c:numCache>
                <c:formatCode>General</c:formatCode>
                <c:ptCount val="2"/>
                <c:pt idx="0">
                  <c:v>1.034</c:v>
                </c:pt>
                <c:pt idx="1">
                  <c:v>0.82399999999999995</c:v>
                </c:pt>
              </c:numCache>
            </c:numRef>
          </c:yVal>
          <c:bubbleSize>
            <c:numRef>
              <c:f>Sheet1!$C$2:$C$3</c:f>
              <c:numCache>
                <c:formatCode>General</c:formatCode>
                <c:ptCount val="2"/>
                <c:pt idx="0">
                  <c:v>7043</c:v>
                </c:pt>
                <c:pt idx="1">
                  <c:v>1078</c:v>
                </c:pt>
              </c:numCache>
            </c:numRef>
          </c:bubbleSize>
          <c:bubble3D val="0"/>
          <c:extLst>
            <c:ext xmlns:c15="http://schemas.microsoft.com/office/drawing/2012/chart" uri="{02D57815-91ED-43cb-92C2-25804820EDAC}">
              <c15:datalabelsRange>
                <c15:f>Sheet1!$E$2:$E$10</c15:f>
                <c15:dlblRangeCache>
                  <c:ptCount val="9"/>
                  <c:pt idx="0">
                    <c:v>Cru La Maqueline</c:v>
                  </c:pt>
                  <c:pt idx="1">
                    <c:v>Celene</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3"/>
          <c:min val="8"/>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BC34467-CABE-4127-ADA6-173C1055F3E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770D31B-7D3B-4C20-9F41-BFACF071DDE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27DC72B-B434-4897-8FBB-7CBAB02166C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9A82888-9F04-44BC-B29E-2893E2AC80F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823E1B8-A46C-4FD0-ADAD-6C24FA552DE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FA7174D-D01E-4CA2-857E-0B17131FF8B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20CB6727-0050-45DB-AD28-32F85EE1C56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1501D887-D2F7-4E1D-81EF-4A6A06B2B4D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96.436099999999996</c:v>
                </c:pt>
                <c:pt idx="1">
                  <c:v>38.432400000000001</c:v>
                </c:pt>
                <c:pt idx="2">
                  <c:v>84.719300000000004</c:v>
                </c:pt>
                <c:pt idx="3">
                  <c:v>35.465499999999999</c:v>
                </c:pt>
                <c:pt idx="4">
                  <c:v>47.244599999999998</c:v>
                </c:pt>
                <c:pt idx="5">
                  <c:v>59.281199999999998</c:v>
                </c:pt>
                <c:pt idx="6">
                  <c:v>52.890099999999997</c:v>
                </c:pt>
                <c:pt idx="7">
                  <c:v>185.72460000000001</c:v>
                </c:pt>
              </c:numCache>
            </c:numRef>
          </c:xVal>
          <c:yVal>
            <c:numRef>
              <c:f>Sheet1!$B$2:$B$9</c:f>
              <c:numCache>
                <c:formatCode>General</c:formatCode>
                <c:ptCount val="8"/>
                <c:pt idx="0">
                  <c:v>1.151</c:v>
                </c:pt>
                <c:pt idx="1">
                  <c:v>0.497</c:v>
                </c:pt>
                <c:pt idx="2">
                  <c:v>0.997</c:v>
                </c:pt>
                <c:pt idx="3">
                  <c:v>0.42599999999999999</c:v>
                </c:pt>
                <c:pt idx="4">
                  <c:v>0.55700000000000005</c:v>
                </c:pt>
                <c:pt idx="5">
                  <c:v>0.76100000000000001</c:v>
                </c:pt>
                <c:pt idx="6">
                  <c:v>0.624</c:v>
                </c:pt>
                <c:pt idx="7">
                  <c:v>2.1640000000000001</c:v>
                </c:pt>
              </c:numCache>
            </c:numRef>
          </c:yVal>
          <c:bubbleSize>
            <c:numRef>
              <c:f>Sheet1!$C$2:$C$9</c:f>
              <c:numCache>
                <c:formatCode>General</c:formatCode>
                <c:ptCount val="8"/>
                <c:pt idx="0">
                  <c:v>745644</c:v>
                </c:pt>
                <c:pt idx="1">
                  <c:v>32706</c:v>
                </c:pt>
                <c:pt idx="2">
                  <c:v>31092</c:v>
                </c:pt>
                <c:pt idx="3">
                  <c:v>28798</c:v>
                </c:pt>
                <c:pt idx="4">
                  <c:v>24142</c:v>
                </c:pt>
                <c:pt idx="5">
                  <c:v>22349</c:v>
                </c:pt>
                <c:pt idx="6">
                  <c:v>14915</c:v>
                </c:pt>
                <c:pt idx="7">
                  <c:v>12815</c:v>
                </c:pt>
              </c:numCache>
            </c:numRef>
          </c:bubbleSize>
          <c:bubble3D val="0"/>
          <c:extLst>
            <c:ext xmlns:c15="http://schemas.microsoft.com/office/drawing/2012/chart" uri="{02D57815-91ED-43cb-92C2-25804820EDAC}">
              <c15:datalabelsRange>
                <c15:f>Sheet1!$E$2:$E$10</c15:f>
                <c15:dlblRangeCache>
                  <c:ptCount val="9"/>
                  <c:pt idx="0">
                    <c:v>Ruinart</c:v>
                  </c:pt>
                  <c:pt idx="1">
                    <c:v>Nicolas</c:v>
                  </c:pt>
                  <c:pt idx="2">
                    <c:v>Perrier Jouet</c:v>
                  </c:pt>
                  <c:pt idx="3">
                    <c:v>Malard</c:v>
                  </c:pt>
                  <c:pt idx="4">
                    <c:v>Henriot</c:v>
                  </c:pt>
                  <c:pt idx="5">
                    <c:v>Besserat De Bellefon</c:v>
                  </c:pt>
                  <c:pt idx="6">
                    <c:v>Delamotte</c:v>
                  </c:pt>
                  <c:pt idx="7">
                    <c:v>Deutz</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23"/>
          <c:min val="28"/>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0CDED2C9-6D6C-437C-B233-42BAB0DFD94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39FF9F81-C12F-498A-BF2A-EA28B7D9E1A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0D067F5D-71BB-4B5C-B01D-B06974C6C7E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732E65E4-B369-45CE-97E0-886D7389964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8B1D77A9-F0DC-4172-9665-AA465182C3E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CEC5C932-7925-4160-B276-63840FAF884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F2966517-CB96-424C-A525-F93A7CDD94C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188D3575-C769-4877-9541-2B11AF6503C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58.607399999999998</c:v>
                </c:pt>
                <c:pt idx="1">
                  <c:v>48.682899999999997</c:v>
                </c:pt>
                <c:pt idx="2">
                  <c:v>49.257599999999996</c:v>
                </c:pt>
                <c:pt idx="3">
                  <c:v>22.162800000000001</c:v>
                </c:pt>
                <c:pt idx="4">
                  <c:v>52.6676</c:v>
                </c:pt>
                <c:pt idx="5">
                  <c:v>37.256599999999999</c:v>
                </c:pt>
                <c:pt idx="6">
                  <c:v>29.456499999999998</c:v>
                </c:pt>
                <c:pt idx="7">
                  <c:v>52.234499999999997</c:v>
                </c:pt>
              </c:numCache>
            </c:numRef>
          </c:xVal>
          <c:yVal>
            <c:numRef>
              <c:f>Sheet1!$B$2:$B$9</c:f>
              <c:numCache>
                <c:formatCode>General</c:formatCode>
                <c:ptCount val="8"/>
                <c:pt idx="0">
                  <c:v>1.3660000000000001</c:v>
                </c:pt>
                <c:pt idx="1">
                  <c:v>1.1140000000000001</c:v>
                </c:pt>
                <c:pt idx="2">
                  <c:v>1.042</c:v>
                </c:pt>
                <c:pt idx="3">
                  <c:v>0.52800000000000002</c:v>
                </c:pt>
                <c:pt idx="4">
                  <c:v>1.2549999999999999</c:v>
                </c:pt>
                <c:pt idx="5">
                  <c:v>0.88700000000000001</c:v>
                </c:pt>
                <c:pt idx="6">
                  <c:v>0.70199999999999996</c:v>
                </c:pt>
                <c:pt idx="7">
                  <c:v>1.089</c:v>
                </c:pt>
              </c:numCache>
            </c:numRef>
          </c:yVal>
          <c:bubbleSize>
            <c:numRef>
              <c:f>Sheet1!$C$2:$C$9</c:f>
              <c:numCache>
                <c:formatCode>General</c:formatCode>
                <c:ptCount val="8"/>
                <c:pt idx="0">
                  <c:v>711670</c:v>
                </c:pt>
                <c:pt idx="1">
                  <c:v>373933</c:v>
                </c:pt>
                <c:pt idx="2">
                  <c:v>288354</c:v>
                </c:pt>
                <c:pt idx="3">
                  <c:v>275838</c:v>
                </c:pt>
                <c:pt idx="4">
                  <c:v>157792</c:v>
                </c:pt>
                <c:pt idx="5">
                  <c:v>136061</c:v>
                </c:pt>
                <c:pt idx="6">
                  <c:v>133821</c:v>
                </c:pt>
                <c:pt idx="7">
                  <c:v>133198</c:v>
                </c:pt>
              </c:numCache>
            </c:numRef>
          </c:bubbleSize>
          <c:bubble3D val="0"/>
          <c:extLst>
            <c:ext xmlns:c15="http://schemas.microsoft.com/office/drawing/2012/chart" uri="{02D57815-91ED-43cb-92C2-25804820EDAC}">
              <c15:datalabelsRange>
                <c15:f>Sheet1!$E$2:$E$10</c15:f>
                <c15:dlblRangeCache>
                  <c:ptCount val="9"/>
                  <c:pt idx="0">
                    <c:v>Ruinart</c:v>
                  </c:pt>
                  <c:pt idx="1">
                    <c:v>Deutz</c:v>
                  </c:pt>
                  <c:pt idx="2">
                    <c:v>Laurent Perrier</c:v>
                  </c:pt>
                  <c:pt idx="3">
                    <c:v>Nicolas</c:v>
                  </c:pt>
                  <c:pt idx="4">
                    <c:v>Veuve Clicquot</c:v>
                  </c:pt>
                  <c:pt idx="5">
                    <c:v>Ayala</c:v>
                  </c:pt>
                  <c:pt idx="6">
                    <c:v>Heidsieck &amp; Co Monopole</c:v>
                  </c:pt>
                  <c:pt idx="7">
                    <c:v>Taittinger</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0"/>
          <c:min val="18"/>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17BE918-6A25-408F-8D3C-59AC71F08A2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0C0A40D-13B0-4BEF-9DD0-F3400CB2EA3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06891E5-8AF4-43F7-8110-B871A19D6B8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FF57E06-C65E-4D49-8F27-81DC42E15F7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02DA109-E728-40BD-AB58-2AF32341490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CEC1729C-62A8-4106-9703-96B13DA03B7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ECD23298-6135-4E10-B8B8-D6E73928812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BE6ECC62-FED6-4EDE-92AF-36E44BB2B92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71.709699999999998</c:v>
                </c:pt>
                <c:pt idx="1">
                  <c:v>23.626300000000001</c:v>
                </c:pt>
                <c:pt idx="2">
                  <c:v>50.448099999999997</c:v>
                </c:pt>
                <c:pt idx="3">
                  <c:v>53.660699999999999</c:v>
                </c:pt>
                <c:pt idx="4">
                  <c:v>31.505700000000001</c:v>
                </c:pt>
                <c:pt idx="5">
                  <c:v>88.677499999999995</c:v>
                </c:pt>
                <c:pt idx="6">
                  <c:v>32.752200000000002</c:v>
                </c:pt>
                <c:pt idx="7">
                  <c:v>291.98700000000002</c:v>
                </c:pt>
              </c:numCache>
            </c:numRef>
          </c:xVal>
          <c:yVal>
            <c:numRef>
              <c:f>Sheet1!$B$2:$B$9</c:f>
              <c:numCache>
                <c:formatCode>General</c:formatCode>
                <c:ptCount val="8"/>
                <c:pt idx="0">
                  <c:v>1.847</c:v>
                </c:pt>
                <c:pt idx="1">
                  <c:v>0.61499999999999999</c:v>
                </c:pt>
                <c:pt idx="2">
                  <c:v>1.2869999999999999</c:v>
                </c:pt>
                <c:pt idx="3">
                  <c:v>1.254</c:v>
                </c:pt>
                <c:pt idx="4">
                  <c:v>0.81699999999999995</c:v>
                </c:pt>
                <c:pt idx="5">
                  <c:v>2.3119999999999998</c:v>
                </c:pt>
                <c:pt idx="6">
                  <c:v>0.83899999999999997</c:v>
                </c:pt>
                <c:pt idx="7">
                  <c:v>7.4649999999999999</c:v>
                </c:pt>
              </c:numCache>
            </c:numRef>
          </c:yVal>
          <c:bubbleSize>
            <c:numRef>
              <c:f>Sheet1!$C$2:$C$9</c:f>
              <c:numCache>
                <c:formatCode>General</c:formatCode>
                <c:ptCount val="8"/>
                <c:pt idx="0">
                  <c:v>4907450</c:v>
                </c:pt>
                <c:pt idx="1">
                  <c:v>1463201</c:v>
                </c:pt>
                <c:pt idx="2">
                  <c:v>1419306</c:v>
                </c:pt>
                <c:pt idx="3">
                  <c:v>1119576</c:v>
                </c:pt>
                <c:pt idx="4">
                  <c:v>828914</c:v>
                </c:pt>
                <c:pt idx="5">
                  <c:v>791269</c:v>
                </c:pt>
                <c:pt idx="6">
                  <c:v>634868</c:v>
                </c:pt>
                <c:pt idx="7">
                  <c:v>585726</c:v>
                </c:pt>
              </c:numCache>
            </c:numRef>
          </c:bubbleSize>
          <c:bubble3D val="0"/>
          <c:extLst>
            <c:ext xmlns:c15="http://schemas.microsoft.com/office/drawing/2012/chart" uri="{02D57815-91ED-43cb-92C2-25804820EDAC}">
              <c15:datalabelsRange>
                <c15:f>Sheet1!$E$2:$E$10</c15:f>
                <c15:dlblRangeCache>
                  <c:ptCount val="9"/>
                  <c:pt idx="0">
                    <c:v>Ruinart</c:v>
                  </c:pt>
                  <c:pt idx="1">
                    <c:v>Nicolas</c:v>
                  </c:pt>
                  <c:pt idx="2">
                    <c:v>Deutz</c:v>
                  </c:pt>
                  <c:pt idx="3">
                    <c:v>Laurent Perrier</c:v>
                  </c:pt>
                  <c:pt idx="4">
                    <c:v>Malard</c:v>
                  </c:pt>
                  <c:pt idx="5">
                    <c:v>Roederer</c:v>
                  </c:pt>
                  <c:pt idx="6">
                    <c:v>Nicolas Feuillatte</c:v>
                  </c:pt>
                  <c:pt idx="7">
                    <c:v>Dom Perigno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50"/>
          <c:min val="19"/>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F35974CE-53BA-4A01-B812-EE43CE6FCD0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20721991-D395-4BAD-93C0-385044F3650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71-46D6-BBFE-7C00E0D51738}"/>
                </c:ext>
              </c:extLst>
            </c:dLbl>
            <c:dLbl>
              <c:idx val="3"/>
              <c:tx>
                <c:rich>
                  <a:bodyPr/>
                  <a:lstStyle/>
                  <a:p>
                    <a:fld id="{31331661-A530-42E2-97A0-6F5F840581D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71-46D6-BBFE-7C00E0D51738}"/>
                </c:ext>
              </c:extLst>
            </c:dLbl>
            <c:dLbl>
              <c:idx val="4"/>
              <c:tx>
                <c:rich>
                  <a:bodyPr/>
                  <a:lstStyle/>
                  <a:p>
                    <a:fld id="{946DF646-F677-4D86-A8DC-476EBC5D055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D871-46D6-BBFE-7C00E0D51738}"/>
                </c:ext>
              </c:extLst>
            </c:dLbl>
            <c:dLbl>
              <c:idx val="5"/>
              <c:tx>
                <c:rich>
                  <a:bodyPr/>
                  <a:lstStyle/>
                  <a:p>
                    <a:fld id="{AB493CC3-280C-46E9-BC62-304E8426D20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71-46D6-BBFE-7C00E0D51738}"/>
                </c:ext>
              </c:extLst>
            </c:dLbl>
            <c:dLbl>
              <c:idx val="6"/>
              <c:tx>
                <c:rich>
                  <a:bodyPr/>
                  <a:lstStyle/>
                  <a:p>
                    <a:fld id="{5683B240-9AA9-4358-9CAF-3B92B205A6C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71-46D6-BBFE-7C00E0D51738}"/>
                </c:ext>
              </c:extLst>
            </c:dLbl>
            <c:dLbl>
              <c:idx val="7"/>
              <c:tx>
                <c:rich>
                  <a:bodyPr/>
                  <a:lstStyle/>
                  <a:p>
                    <a:fld id="{36DAC038-F2A2-4218-9660-578C449D34B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71-46D6-BBFE-7C00E0D51738}"/>
                </c:ext>
              </c:extLst>
            </c:dLbl>
            <c:dLbl>
              <c:idx val="8"/>
              <c:tx>
                <c:rich>
                  <a:bodyPr/>
                  <a:lstStyle/>
                  <a:p>
                    <a:fld id="{9E265C96-983F-4E6A-8452-BC0CE7E04DA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29.914100000000001</c:v>
                </c:pt>
                <c:pt idx="1">
                  <c:v>30.693300000000001</c:v>
                </c:pt>
                <c:pt idx="2">
                  <c:v>31.7714</c:v>
                </c:pt>
                <c:pt idx="3">
                  <c:v>36.119399999999999</c:v>
                </c:pt>
              </c:numCache>
            </c:numRef>
          </c:xVal>
          <c:yVal>
            <c:numRef>
              <c:f>Sheet1!$B$2:$B$5</c:f>
              <c:numCache>
                <c:formatCode>General</c:formatCode>
                <c:ptCount val="4"/>
                <c:pt idx="0">
                  <c:v>0.99</c:v>
                </c:pt>
                <c:pt idx="1">
                  <c:v>1.012</c:v>
                </c:pt>
                <c:pt idx="2">
                  <c:v>1.048</c:v>
                </c:pt>
                <c:pt idx="3">
                  <c:v>1.0640000000000001</c:v>
                </c:pt>
              </c:numCache>
            </c:numRef>
          </c:yVal>
          <c:bubbleSize>
            <c:numRef>
              <c:f>Sheet1!$C$2:$C$5</c:f>
              <c:numCache>
                <c:formatCode>General</c:formatCode>
                <c:ptCount val="4"/>
                <c:pt idx="0">
                  <c:v>133357</c:v>
                </c:pt>
                <c:pt idx="1">
                  <c:v>22314</c:v>
                </c:pt>
                <c:pt idx="2">
                  <c:v>15981</c:v>
                </c:pt>
                <c:pt idx="3">
                  <c:v>4840</c:v>
                </c:pt>
              </c:numCache>
            </c:numRef>
          </c:bubbleSize>
          <c:bubble3D val="0"/>
          <c:extLst>
            <c:ext xmlns:c15="http://schemas.microsoft.com/office/drawing/2012/chart" uri="{02D57815-91ED-43cb-92C2-25804820EDAC}">
              <c15:datalabelsRange>
                <c15:f>Sheet1!$E$2:$E$10</c15:f>
                <c15:dlblRangeCache>
                  <c:ptCount val="9"/>
                  <c:pt idx="0">
                    <c:v>Malard</c:v>
                  </c:pt>
                  <c:pt idx="1">
                    <c:v>Vesselle</c:v>
                  </c:pt>
                  <c:pt idx="2">
                    <c:v>Louis Martin</c:v>
                  </c:pt>
                  <c:pt idx="3">
                    <c:v>Nicolas</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3"/>
          <c:min val="24"/>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CA-4C16-90F6-A0D9A3D8DA8E}"/>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CA-4C16-90F6-A0D9A3D8DA8E}"/>
                </c:ext>
              </c:extLst>
            </c:dLbl>
            <c:dLbl>
              <c:idx val="1"/>
              <c:tx>
                <c:rich>
                  <a:bodyPr/>
                  <a:lstStyle/>
                  <a:p>
                    <a:fld id="{5A606B1D-EDD0-4527-ABDB-27FDAFD8C36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CA-4C16-90F6-A0D9A3D8DA8E}"/>
                </c:ext>
              </c:extLst>
            </c:dLbl>
            <c:dLbl>
              <c:idx val="2"/>
              <c:tx>
                <c:rich>
                  <a:bodyPr/>
                  <a:lstStyle/>
                  <a:p>
                    <a:fld id="{E642399A-8ABC-4D1B-8A6C-43A6FD9F197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D8CA-4C16-90F6-A0D9A3D8DA8E}"/>
                </c:ext>
              </c:extLst>
            </c:dLbl>
            <c:dLbl>
              <c:idx val="3"/>
              <c:tx>
                <c:rich>
                  <a:bodyPr/>
                  <a:lstStyle/>
                  <a:p>
                    <a:fld id="{B80221D6-DBA0-4F99-8283-75FA581A4E9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D8CA-4C16-90F6-A0D9A3D8DA8E}"/>
                </c:ext>
              </c:extLst>
            </c:dLbl>
            <c:dLbl>
              <c:idx val="4"/>
              <c:tx>
                <c:rich>
                  <a:bodyPr/>
                  <a:lstStyle/>
                  <a:p>
                    <a:fld id="{35B4BA8E-22C1-4338-9971-8A4B08DCE32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D8CA-4C16-90F6-A0D9A3D8DA8E}"/>
                </c:ext>
              </c:extLst>
            </c:dLbl>
            <c:dLbl>
              <c:idx val="5"/>
              <c:tx>
                <c:rich>
                  <a:bodyPr/>
                  <a:lstStyle/>
                  <a:p>
                    <a:fld id="{C4361DA0-5C16-4A83-9A2D-78809EF7AE6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CA-4C16-90F6-A0D9A3D8DA8E}"/>
                </c:ext>
              </c:extLst>
            </c:dLbl>
            <c:dLbl>
              <c:idx val="6"/>
              <c:tx>
                <c:rich>
                  <a:bodyPr/>
                  <a:lstStyle/>
                  <a:p>
                    <a:fld id="{D12AA8A4-3224-4534-B587-2A3ECBA11C4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CA-4C16-90F6-A0D9A3D8DA8E}"/>
                </c:ext>
              </c:extLst>
            </c:dLbl>
            <c:dLbl>
              <c:idx val="7"/>
              <c:tx>
                <c:rich>
                  <a:bodyPr/>
                  <a:lstStyle/>
                  <a:p>
                    <a:fld id="{F2E0844C-1AE5-40CF-AA65-19B17B1445F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CA-4C16-90F6-A0D9A3D8DA8E}"/>
                </c:ext>
              </c:extLst>
            </c:dLbl>
            <c:dLbl>
              <c:idx val="8"/>
              <c:tx>
                <c:rich>
                  <a:bodyPr/>
                  <a:lstStyle/>
                  <a:p>
                    <a:fld id="{4FC8DBC2-A034-4BF2-9129-EDD6445E6E2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CA-4C16-90F6-A0D9A3D8DA8E}"/>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31.242999999999999</c:v>
                </c:pt>
                <c:pt idx="1">
                  <c:v>42.777900000000002</c:v>
                </c:pt>
              </c:numCache>
            </c:numRef>
          </c:xVal>
          <c:yVal>
            <c:numRef>
              <c:f>Sheet1!$B$2:$B$3</c:f>
              <c:numCache>
                <c:formatCode>General</c:formatCode>
                <c:ptCount val="2"/>
                <c:pt idx="0">
                  <c:v>0.92200000000000004</c:v>
                </c:pt>
                <c:pt idx="1">
                  <c:v>1.2669999999999999</c:v>
                </c:pt>
              </c:numCache>
            </c:numRef>
          </c:yVal>
          <c:bubbleSize>
            <c:numRef>
              <c:f>Sheet1!$C$2:$C$3</c:f>
              <c:numCache>
                <c:formatCode>General</c:formatCode>
                <c:ptCount val="2"/>
                <c:pt idx="0">
                  <c:v>161589</c:v>
                </c:pt>
                <c:pt idx="1">
                  <c:v>64894</c:v>
                </c:pt>
              </c:numCache>
            </c:numRef>
          </c:bubbleSize>
          <c:bubble3D val="0"/>
          <c:extLst>
            <c:ext xmlns:c15="http://schemas.microsoft.com/office/drawing/2012/chart" uri="{02D57815-91ED-43cb-92C2-25804820EDAC}">
              <c15:datalabelsRange>
                <c15:f>Sheet1!$E$2:$E$10</c15:f>
                <c15:dlblRangeCache>
                  <c:ptCount val="9"/>
                  <c:pt idx="0">
                    <c:v>Nicolas Feuillatte</c:v>
                  </c:pt>
                  <c:pt idx="1">
                    <c:v>Moët &amp; Chandon</c:v>
                  </c:pt>
                </c15:dlblRangeCache>
              </c15:datalabelsRange>
            </c:ext>
            <c:ext xmlns:c16="http://schemas.microsoft.com/office/drawing/2014/chart" uri="{C3380CC4-5D6E-409C-BE32-E72D297353CC}">
              <c16:uniqueId val="{00000009-D8CA-4C16-90F6-A0D9A3D8DA8E}"/>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1"/>
          <c:min val="25"/>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BA13AF3-3A80-49AC-A4C7-C5322955311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9661ED3-32DE-4ED1-9E85-D45AFDB2096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B1F5C42-7024-4433-A713-32DD952E5BC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157263F-4695-462A-BA05-13535C3C4BE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425D7A1-D629-4DE6-BD67-5EDD1463711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08B80FB-6D07-4677-BAD7-A6DFC7B2064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79576E8A-EBA1-4C7E-8F2E-4C0B39DFD61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373363A0-6410-4678-A9D6-AB6E0629BBA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67.822</c:v>
                </c:pt>
                <c:pt idx="1">
                  <c:v>198.53919999999999</c:v>
                </c:pt>
                <c:pt idx="2">
                  <c:v>97.008700000000005</c:v>
                </c:pt>
                <c:pt idx="3">
                  <c:v>196.3896</c:v>
                </c:pt>
                <c:pt idx="4">
                  <c:v>37.771700000000003</c:v>
                </c:pt>
                <c:pt idx="5">
                  <c:v>285.23329999999999</c:v>
                </c:pt>
                <c:pt idx="6">
                  <c:v>66.152000000000001</c:v>
                </c:pt>
                <c:pt idx="7">
                  <c:v>259.58330000000001</c:v>
                </c:pt>
              </c:numCache>
            </c:numRef>
          </c:xVal>
          <c:yVal>
            <c:numRef>
              <c:f>Sheet1!$B$2:$B$9</c:f>
              <c:numCache>
                <c:formatCode>General</c:formatCode>
                <c:ptCount val="8"/>
                <c:pt idx="0">
                  <c:v>1.6060000000000001</c:v>
                </c:pt>
                <c:pt idx="1">
                  <c:v>1.056</c:v>
                </c:pt>
                <c:pt idx="2">
                  <c:v>0.55400000000000005</c:v>
                </c:pt>
                <c:pt idx="3">
                  <c:v>1.1890000000000001</c:v>
                </c:pt>
                <c:pt idx="4">
                  <c:v>0.23100000000000001</c:v>
                </c:pt>
                <c:pt idx="5">
                  <c:v>1.47</c:v>
                </c:pt>
                <c:pt idx="6">
                  <c:v>0.38400000000000001</c:v>
                </c:pt>
                <c:pt idx="7">
                  <c:v>1.3140000000000001</c:v>
                </c:pt>
              </c:numCache>
            </c:numRef>
          </c:yVal>
          <c:bubbleSize>
            <c:numRef>
              <c:f>Sheet1!$C$2:$C$9</c:f>
              <c:numCache>
                <c:formatCode>General</c:formatCode>
                <c:ptCount val="8"/>
                <c:pt idx="0">
                  <c:v>160961</c:v>
                </c:pt>
                <c:pt idx="1">
                  <c:v>60753</c:v>
                </c:pt>
                <c:pt idx="2">
                  <c:v>22215</c:v>
                </c:pt>
                <c:pt idx="3">
                  <c:v>15122</c:v>
                </c:pt>
                <c:pt idx="4">
                  <c:v>11747</c:v>
                </c:pt>
                <c:pt idx="5">
                  <c:v>8557</c:v>
                </c:pt>
                <c:pt idx="6">
                  <c:v>8269</c:v>
                </c:pt>
                <c:pt idx="7">
                  <c:v>3115</c:v>
                </c:pt>
              </c:numCache>
            </c:numRef>
          </c:bubbleSize>
          <c:bubble3D val="0"/>
          <c:extLst>
            <c:ext xmlns:c15="http://schemas.microsoft.com/office/drawing/2012/chart" uri="{02D57815-91ED-43cb-92C2-25804820EDAC}">
              <c15:datalabelsRange>
                <c15:f>Sheet1!$E$2:$E$10</c15:f>
                <c15:dlblRangeCache>
                  <c:ptCount val="9"/>
                  <c:pt idx="0">
                    <c:v>Dom Perignon</c:v>
                  </c:pt>
                  <c:pt idx="1">
                    <c:v>Roederer</c:v>
                  </c:pt>
                  <c:pt idx="2">
                    <c:v>Ruinart</c:v>
                  </c:pt>
                  <c:pt idx="3">
                    <c:v>Veuve Clicquot</c:v>
                  </c:pt>
                  <c:pt idx="4">
                    <c:v>Malard</c:v>
                  </c:pt>
                  <c:pt idx="5">
                    <c:v>Bollinger</c:v>
                  </c:pt>
                  <c:pt idx="6">
                    <c:v>Laurent Perrier</c:v>
                  </c:pt>
                  <c:pt idx="7">
                    <c:v>Perrier Jouet</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42"/>
          <c:min val="30"/>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308E2D85-2F6D-4978-BEBF-41E03BF6040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9F59B002-7EAE-4F47-8E67-384E735ED3C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7457FB34-000D-493F-81DB-24B7541BB4F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96FAB295-67C0-4ABD-AE01-9E4AD8D1ED4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539C408D-74B8-45D2-B17B-39C7841DFF3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A5818647-E7CD-4F5C-BFDD-46635A9A9E5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CD083C94-E904-4221-9D04-5032D7838D9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E3E3E2EE-D8B0-49CD-AAE3-326FDDFF257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91.372799999999998</c:v>
                </c:pt>
                <c:pt idx="1">
                  <c:v>644.48720000000003</c:v>
                </c:pt>
                <c:pt idx="2">
                  <c:v>53.254899999999999</c:v>
                </c:pt>
                <c:pt idx="3">
                  <c:v>80.4315</c:v>
                </c:pt>
                <c:pt idx="4">
                  <c:v>27.0364</c:v>
                </c:pt>
                <c:pt idx="5">
                  <c:v>38.076900000000002</c:v>
                </c:pt>
                <c:pt idx="6">
                  <c:v>634.11429999999996</c:v>
                </c:pt>
                <c:pt idx="7">
                  <c:v>37.879600000000003</c:v>
                </c:pt>
              </c:numCache>
            </c:numRef>
          </c:xVal>
          <c:yVal>
            <c:numRef>
              <c:f>Sheet1!$B$2:$B$9</c:f>
              <c:numCache>
                <c:formatCode>General</c:formatCode>
                <c:ptCount val="8"/>
                <c:pt idx="0">
                  <c:v>1.355</c:v>
                </c:pt>
                <c:pt idx="1">
                  <c:v>8.3819999999999997</c:v>
                </c:pt>
                <c:pt idx="2">
                  <c:v>0.85899999999999999</c:v>
                </c:pt>
                <c:pt idx="3">
                  <c:v>1.1399999999999999</c:v>
                </c:pt>
                <c:pt idx="4">
                  <c:v>0.40899999999999997</c:v>
                </c:pt>
                <c:pt idx="5">
                  <c:v>0.53700000000000003</c:v>
                </c:pt>
                <c:pt idx="6">
                  <c:v>9.4730000000000008</c:v>
                </c:pt>
                <c:pt idx="7">
                  <c:v>0.53500000000000003</c:v>
                </c:pt>
              </c:numCache>
            </c:numRef>
          </c:yVal>
          <c:bubbleSize>
            <c:numRef>
              <c:f>Sheet1!$C$2:$C$9</c:f>
              <c:numCache>
                <c:formatCode>General</c:formatCode>
                <c:ptCount val="8"/>
                <c:pt idx="0">
                  <c:v>111018</c:v>
                </c:pt>
                <c:pt idx="1">
                  <c:v>50270</c:v>
                </c:pt>
                <c:pt idx="2">
                  <c:v>43882</c:v>
                </c:pt>
                <c:pt idx="3">
                  <c:v>38768</c:v>
                </c:pt>
                <c:pt idx="4">
                  <c:v>26712</c:v>
                </c:pt>
                <c:pt idx="5">
                  <c:v>24750</c:v>
                </c:pt>
                <c:pt idx="6">
                  <c:v>22194</c:v>
                </c:pt>
                <c:pt idx="7">
                  <c:v>19508</c:v>
                </c:pt>
              </c:numCache>
            </c:numRef>
          </c:bubbleSize>
          <c:bubble3D val="0"/>
          <c:extLst>
            <c:ext xmlns:c15="http://schemas.microsoft.com/office/drawing/2012/chart" uri="{02D57815-91ED-43cb-92C2-25804820EDAC}">
              <c15:datalabelsRange>
                <c15:f>Sheet1!$E$2:$E$10</c15:f>
                <c15:dlblRangeCache>
                  <c:ptCount val="9"/>
                  <c:pt idx="0">
                    <c:v>Ruinart</c:v>
                  </c:pt>
                  <c:pt idx="1">
                    <c:v>Roederer</c:v>
                  </c:pt>
                  <c:pt idx="2">
                    <c:v>Deutz</c:v>
                  </c:pt>
                  <c:pt idx="3">
                    <c:v>Laurent Perrier</c:v>
                  </c:pt>
                  <c:pt idx="4">
                    <c:v>Nicolas</c:v>
                  </c:pt>
                  <c:pt idx="5">
                    <c:v>Demoiselle</c:v>
                  </c:pt>
                  <c:pt idx="6">
                    <c:v>Dom Perignon</c:v>
                  </c:pt>
                  <c:pt idx="7">
                    <c:v>Nicolas Feuillatte</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73"/>
          <c:min val="22"/>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F9AEF3F1-F544-4A09-97E0-9EA12B9D41A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D871-46D6-BBFE-7C00E0D51738}"/>
                </c:ext>
              </c:extLst>
            </c:dLbl>
            <c:dLbl>
              <c:idx val="2"/>
              <c:tx>
                <c:rich>
                  <a:bodyPr/>
                  <a:lstStyle/>
                  <a:p>
                    <a:fld id="{12AD7BF3-B46F-4F75-B2A6-8CE7606F944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D871-46D6-BBFE-7C00E0D51738}"/>
                </c:ext>
              </c:extLst>
            </c:dLbl>
            <c:dLbl>
              <c:idx val="3"/>
              <c:tx>
                <c:rich>
                  <a:bodyPr/>
                  <a:lstStyle/>
                  <a:p>
                    <a:fld id="{A4346A91-A469-48BE-9FD9-6BD72484E70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D871-46D6-BBFE-7C00E0D51738}"/>
                </c:ext>
              </c:extLst>
            </c:dLbl>
            <c:dLbl>
              <c:idx val="4"/>
              <c:tx>
                <c:rich>
                  <a:bodyPr/>
                  <a:lstStyle/>
                  <a:p>
                    <a:fld id="{5C1BD56A-791B-49D2-A06A-14AAE01F9D5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D871-46D6-BBFE-7C00E0D51738}"/>
                </c:ext>
              </c:extLst>
            </c:dLbl>
            <c:dLbl>
              <c:idx val="5"/>
              <c:tx>
                <c:rich>
                  <a:bodyPr/>
                  <a:lstStyle/>
                  <a:p>
                    <a:fld id="{44A71300-0AF3-4BB9-A14B-805DFB3E921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71-46D6-BBFE-7C00E0D51738}"/>
                </c:ext>
              </c:extLst>
            </c:dLbl>
            <c:dLbl>
              <c:idx val="6"/>
              <c:tx>
                <c:rich>
                  <a:bodyPr/>
                  <a:lstStyle/>
                  <a:p>
                    <a:fld id="{E256DBCD-25AB-4928-86C5-E28DBE9DFF5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71-46D6-BBFE-7C00E0D51738}"/>
                </c:ext>
              </c:extLst>
            </c:dLbl>
            <c:dLbl>
              <c:idx val="7"/>
              <c:tx>
                <c:rich>
                  <a:bodyPr/>
                  <a:lstStyle/>
                  <a:p>
                    <a:fld id="{CB731D38-7AFE-4397-9DD6-5071314183B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71-46D6-BBFE-7C00E0D51738}"/>
                </c:ext>
              </c:extLst>
            </c:dLbl>
            <c:dLbl>
              <c:idx val="8"/>
              <c:tx>
                <c:rich>
                  <a:bodyPr/>
                  <a:lstStyle/>
                  <a:p>
                    <a:fld id="{D1E4E6A7-8E4B-4A30-AD12-B8E60599A97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2.857200000000001</c:v>
                </c:pt>
              </c:numCache>
            </c:numRef>
          </c:xVal>
          <c:yVal>
            <c:numRef>
              <c:f>Sheet1!$B$2:$B$2</c:f>
              <c:numCache>
                <c:formatCode>General</c:formatCode>
                <c:ptCount val="1"/>
                <c:pt idx="0">
                  <c:v>1</c:v>
                </c:pt>
              </c:numCache>
            </c:numRef>
          </c:yVal>
          <c:bubbleSize>
            <c:numRef>
              <c:f>Sheet1!$C$2:$C$2</c:f>
              <c:numCache>
                <c:formatCode>General</c:formatCode>
                <c:ptCount val="1"/>
                <c:pt idx="0">
                  <c:v>24043</c:v>
                </c:pt>
              </c:numCache>
            </c:numRef>
          </c:bubbleSize>
          <c:bubble3D val="0"/>
          <c:extLst>
            <c:ext xmlns:c15="http://schemas.microsoft.com/office/drawing/2012/chart" uri="{02D57815-91ED-43cb-92C2-25804820EDAC}">
              <c15:datalabelsRange>
                <c15:f>Sheet1!$E$2:$E$10</c15:f>
                <c15:dlblRangeCache>
                  <c:ptCount val="9"/>
                  <c:pt idx="0">
                    <c:v>Patriarche</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5"/>
          <c:min val="10"/>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CA-4C16-90F6-A0D9A3D8DA8E}"/>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CA-4C16-90F6-A0D9A3D8DA8E}"/>
                </c:ext>
              </c:extLst>
            </c:dLbl>
            <c:dLbl>
              <c:idx val="1"/>
              <c:tx>
                <c:rich>
                  <a:bodyPr/>
                  <a:lstStyle/>
                  <a:p>
                    <a:fld id="{C8D4AD1F-8879-43F9-A3BC-8B7F23C93C2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CA-4C16-90F6-A0D9A3D8DA8E}"/>
                </c:ext>
              </c:extLst>
            </c:dLbl>
            <c:dLbl>
              <c:idx val="2"/>
              <c:tx>
                <c:rich>
                  <a:bodyPr/>
                  <a:lstStyle/>
                  <a:p>
                    <a:fld id="{57BECC4C-4043-4948-8B5B-7574800DE2A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CA-4C16-90F6-A0D9A3D8DA8E}"/>
                </c:ext>
              </c:extLst>
            </c:dLbl>
            <c:dLbl>
              <c:idx val="3"/>
              <c:tx>
                <c:rich>
                  <a:bodyPr/>
                  <a:lstStyle/>
                  <a:p>
                    <a:fld id="{48DF5EDD-603F-401E-8E1D-A6E17324D97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D8CA-4C16-90F6-A0D9A3D8DA8E}"/>
                </c:ext>
              </c:extLst>
            </c:dLbl>
            <c:dLbl>
              <c:idx val="4"/>
              <c:tx>
                <c:rich>
                  <a:bodyPr/>
                  <a:lstStyle/>
                  <a:p>
                    <a:fld id="{E3743CA5-9A5C-464D-B48E-A94472AB29F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D8CA-4C16-90F6-A0D9A3D8DA8E}"/>
                </c:ext>
              </c:extLst>
            </c:dLbl>
            <c:dLbl>
              <c:idx val="5"/>
              <c:tx>
                <c:rich>
                  <a:bodyPr/>
                  <a:lstStyle/>
                  <a:p>
                    <a:fld id="{F5E68A06-3687-43F8-B1BD-172C86CF1BC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CA-4C16-90F6-A0D9A3D8DA8E}"/>
                </c:ext>
              </c:extLst>
            </c:dLbl>
            <c:dLbl>
              <c:idx val="6"/>
              <c:tx>
                <c:rich>
                  <a:bodyPr/>
                  <a:lstStyle/>
                  <a:p>
                    <a:fld id="{F39BBD93-492D-40B1-9874-D782D8DF6C0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CA-4C16-90F6-A0D9A3D8DA8E}"/>
                </c:ext>
              </c:extLst>
            </c:dLbl>
            <c:dLbl>
              <c:idx val="7"/>
              <c:tx>
                <c:rich>
                  <a:bodyPr/>
                  <a:lstStyle/>
                  <a:p>
                    <a:fld id="{15019C1C-5606-4681-B797-2B85239FF28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CA-4C16-90F6-A0D9A3D8DA8E}"/>
                </c:ext>
              </c:extLst>
            </c:dLbl>
            <c:dLbl>
              <c:idx val="8"/>
              <c:tx>
                <c:rich>
                  <a:bodyPr/>
                  <a:lstStyle/>
                  <a:p>
                    <a:fld id="{D0E11D84-196A-43A7-A8AA-8C3803D3127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CA-4C16-90F6-A0D9A3D8DA8E}"/>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1.524699999999999</c:v>
                </c:pt>
                <c:pt idx="1">
                  <c:v>9.1434999999999995</c:v>
                </c:pt>
                <c:pt idx="2">
                  <c:v>11.5547</c:v>
                </c:pt>
              </c:numCache>
            </c:numRef>
          </c:xVal>
          <c:yVal>
            <c:numRef>
              <c:f>Sheet1!$B$2:$B$4</c:f>
              <c:numCache>
                <c:formatCode>General</c:formatCode>
                <c:ptCount val="3"/>
                <c:pt idx="0">
                  <c:v>1.258</c:v>
                </c:pt>
                <c:pt idx="1">
                  <c:v>1.0009999999999999</c:v>
                </c:pt>
                <c:pt idx="2">
                  <c:v>1.06</c:v>
                </c:pt>
              </c:numCache>
            </c:numRef>
          </c:yVal>
          <c:bubbleSize>
            <c:numRef>
              <c:f>Sheet1!$C$2:$C$4</c:f>
              <c:numCache>
                <c:formatCode>General</c:formatCode>
                <c:ptCount val="3"/>
                <c:pt idx="0">
                  <c:v>34574</c:v>
                </c:pt>
                <c:pt idx="1">
                  <c:v>19558</c:v>
                </c:pt>
                <c:pt idx="2">
                  <c:v>4437</c:v>
                </c:pt>
              </c:numCache>
            </c:numRef>
          </c:bubbleSize>
          <c:bubble3D val="0"/>
          <c:extLst>
            <c:ext xmlns:c15="http://schemas.microsoft.com/office/drawing/2012/chart" uri="{02D57815-91ED-43cb-92C2-25804820EDAC}">
              <c15:datalabelsRange>
                <c15:f>Sheet1!$E$2:$E$10</c15:f>
                <c15:dlblRangeCache>
                  <c:ptCount val="9"/>
                  <c:pt idx="0">
                    <c:v>Bottega</c:v>
                  </c:pt>
                  <c:pt idx="1">
                    <c:v>Savian</c:v>
                  </c:pt>
                  <c:pt idx="2">
                    <c:v>Contarini</c:v>
                  </c:pt>
                </c15:dlblRangeCache>
              </c15:datalabelsRange>
            </c:ext>
            <c:ext xmlns:c16="http://schemas.microsoft.com/office/drawing/2014/chart" uri="{C3380CC4-5D6E-409C-BE32-E72D297353CC}">
              <c16:uniqueId val="{00000009-D8CA-4C16-90F6-A0D9A3D8DA8E}"/>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4"/>
          <c:min val="7"/>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0089B5B-6746-44C3-AC6E-7312BBAA1C6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7CB6BFE-1383-49FA-9D06-3C643A20EB4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59D2A26-9949-41D7-BCC1-AEDC721322A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168A0898-F744-4AB0-A12A-362599DD9E9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2B33285A-557D-4FF0-A3DC-BDBEE116A5A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FC38B897-66AE-47D8-ABA7-B8EAD3DF480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7A921556-C4AC-4671-A636-D6D2597B9CB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59F940B9-D73D-4DD8-A7D7-8354E6A663F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1.817299999999999</c:v>
                </c:pt>
                <c:pt idx="1">
                  <c:v>11.5405</c:v>
                </c:pt>
                <c:pt idx="2">
                  <c:v>13.3918</c:v>
                </c:pt>
              </c:numCache>
            </c:numRef>
          </c:xVal>
          <c:yVal>
            <c:numRef>
              <c:f>Sheet1!$B$2:$B$4</c:f>
              <c:numCache>
                <c:formatCode>General</c:formatCode>
                <c:ptCount val="3"/>
                <c:pt idx="0">
                  <c:v>0.95799999999999996</c:v>
                </c:pt>
                <c:pt idx="1">
                  <c:v>0.97899999999999998</c:v>
                </c:pt>
                <c:pt idx="2">
                  <c:v>1.1259999999999999</c:v>
                </c:pt>
              </c:numCache>
            </c:numRef>
          </c:yVal>
          <c:bubbleSize>
            <c:numRef>
              <c:f>Sheet1!$C$2:$C$4</c:f>
              <c:numCache>
                <c:formatCode>General</c:formatCode>
                <c:ptCount val="3"/>
                <c:pt idx="0">
                  <c:v>20314</c:v>
                </c:pt>
                <c:pt idx="1">
                  <c:v>16376</c:v>
                </c:pt>
                <c:pt idx="2">
                  <c:v>5571</c:v>
                </c:pt>
              </c:numCache>
            </c:numRef>
          </c:bubbleSize>
          <c:bubble3D val="0"/>
          <c:extLst>
            <c:ext xmlns:c15="http://schemas.microsoft.com/office/drawing/2012/chart" uri="{02D57815-91ED-43cb-92C2-25804820EDAC}">
              <c15:datalabelsRange>
                <c15:f>Sheet1!$E$2:$E$10</c15:f>
                <c15:dlblRangeCache>
                  <c:ptCount val="9"/>
                  <c:pt idx="0">
                    <c:v>Bouvet-Ladubay</c:v>
                  </c:pt>
                  <c:pt idx="1">
                    <c:v>Chateau Moncontour</c:v>
                  </c:pt>
                  <c:pt idx="2">
                    <c:v>De Chancen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6"/>
          <c:min val="9"/>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3998951C-0BD1-4898-A785-1E63026498D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48EF-49EC-8B4D-EC25A4464CE3}"/>
                </c:ext>
              </c:extLst>
            </c:dLbl>
            <c:dLbl>
              <c:idx val="2"/>
              <c:tx>
                <c:rich>
                  <a:bodyPr/>
                  <a:lstStyle/>
                  <a:p>
                    <a:fld id="{57389D73-9DE5-488E-91C3-7E709ED9805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48EF-49EC-8B4D-EC25A4464CE3}"/>
                </c:ext>
              </c:extLst>
            </c:dLbl>
            <c:dLbl>
              <c:idx val="3"/>
              <c:tx>
                <c:rich>
                  <a:bodyPr/>
                  <a:lstStyle/>
                  <a:p>
                    <a:fld id="{FAE76D8E-219A-468E-A664-B15F9986889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48EF-49EC-8B4D-EC25A4464CE3}"/>
                </c:ext>
              </c:extLst>
            </c:dLbl>
            <c:dLbl>
              <c:idx val="4"/>
              <c:tx>
                <c:rich>
                  <a:bodyPr/>
                  <a:lstStyle/>
                  <a:p>
                    <a:fld id="{F32FFA45-02A6-4B22-B883-7C984ADFD75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48EF-49EC-8B4D-EC25A4464CE3}"/>
                </c:ext>
              </c:extLst>
            </c:dLbl>
            <c:dLbl>
              <c:idx val="5"/>
              <c:tx>
                <c:rich>
                  <a:bodyPr/>
                  <a:lstStyle/>
                  <a:p>
                    <a:fld id="{35CA5648-47CB-4E03-B85C-5946CD06F86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48EF-49EC-8B4D-EC25A4464CE3}"/>
                </c:ext>
              </c:extLst>
            </c:dLbl>
            <c:dLbl>
              <c:idx val="6"/>
              <c:tx>
                <c:rich>
                  <a:bodyPr/>
                  <a:lstStyle/>
                  <a:p>
                    <a:fld id="{AFAC645A-BF22-447F-9B30-DB27388FA47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48EF-49EC-8B4D-EC25A4464CE3}"/>
                </c:ext>
              </c:extLst>
            </c:dLbl>
            <c:dLbl>
              <c:idx val="7"/>
              <c:tx>
                <c:rich>
                  <a:bodyPr/>
                  <a:lstStyle/>
                  <a:p>
                    <a:fld id="{0CD64709-5527-4E64-B0CE-38267F6CA72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48EF-49EC-8B4D-EC25A4464CE3}"/>
                </c:ext>
              </c:extLst>
            </c:dLbl>
            <c:dLbl>
              <c:idx val="8"/>
              <c:tx>
                <c:rich>
                  <a:bodyPr/>
                  <a:lstStyle/>
                  <a:p>
                    <a:fld id="{B131B730-3567-4510-9EE1-ED0F42E0A38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7.4514</c:v>
                </c:pt>
              </c:numCache>
            </c:numRef>
          </c:xVal>
          <c:yVal>
            <c:numRef>
              <c:f>Sheet1!$B$2:$B$2</c:f>
              <c:numCache>
                <c:formatCode>General</c:formatCode>
                <c:ptCount val="1"/>
                <c:pt idx="0">
                  <c:v>1</c:v>
                </c:pt>
              </c:numCache>
            </c:numRef>
          </c:yVal>
          <c:bubbleSize>
            <c:numRef>
              <c:f>Sheet1!$C$2:$C$2</c:f>
              <c:numCache>
                <c:formatCode>General</c:formatCode>
                <c:ptCount val="1"/>
                <c:pt idx="0">
                  <c:v>16893</c:v>
                </c:pt>
              </c:numCache>
            </c:numRef>
          </c:bubbleSize>
          <c:bubble3D val="0"/>
          <c:extLst>
            <c:ext xmlns:c15="http://schemas.microsoft.com/office/drawing/2012/chart" uri="{02D57815-91ED-43cb-92C2-25804820EDAC}">
              <c15:datalabelsRange>
                <c15:f>Sheet1!$E$2:$E$10</c15:f>
                <c15:dlblRangeCache>
                  <c:ptCount val="9"/>
                  <c:pt idx="0">
                    <c:v>Mure</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
          <c:min val="14"/>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9DEDA865-B5E6-4268-90E1-24AD23B5322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A1546D43-1CD8-4BFA-BE0C-BBB7B593FDB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D871-46D6-BBFE-7C00E0D51738}"/>
                </c:ext>
              </c:extLst>
            </c:dLbl>
            <c:dLbl>
              <c:idx val="3"/>
              <c:tx>
                <c:rich>
                  <a:bodyPr/>
                  <a:lstStyle/>
                  <a:p>
                    <a:fld id="{064F209A-AB6C-45D0-AACC-6EA21ADB48D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D871-46D6-BBFE-7C00E0D51738}"/>
                </c:ext>
              </c:extLst>
            </c:dLbl>
            <c:dLbl>
              <c:idx val="4"/>
              <c:tx>
                <c:rich>
                  <a:bodyPr/>
                  <a:lstStyle/>
                  <a:p>
                    <a:fld id="{13AD86F7-46A3-4F0B-8A18-11E0C184B35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D871-46D6-BBFE-7C00E0D51738}"/>
                </c:ext>
              </c:extLst>
            </c:dLbl>
            <c:dLbl>
              <c:idx val="5"/>
              <c:tx>
                <c:rich>
                  <a:bodyPr/>
                  <a:lstStyle/>
                  <a:p>
                    <a:fld id="{8A84A978-50B6-48A9-AE60-E36C51FD19C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71-46D6-BBFE-7C00E0D51738}"/>
                </c:ext>
              </c:extLst>
            </c:dLbl>
            <c:dLbl>
              <c:idx val="6"/>
              <c:tx>
                <c:rich>
                  <a:bodyPr/>
                  <a:lstStyle/>
                  <a:p>
                    <a:fld id="{1EC4B0CF-1F82-4F7F-B4AE-44C51DFE9E7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71-46D6-BBFE-7C00E0D51738}"/>
                </c:ext>
              </c:extLst>
            </c:dLbl>
            <c:dLbl>
              <c:idx val="7"/>
              <c:tx>
                <c:rich>
                  <a:bodyPr/>
                  <a:lstStyle/>
                  <a:p>
                    <a:fld id="{F9D4E7BE-9334-4133-85EC-9E9DAF060EA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71-46D6-BBFE-7C00E0D51738}"/>
                </c:ext>
              </c:extLst>
            </c:dLbl>
            <c:dLbl>
              <c:idx val="8"/>
              <c:tx>
                <c:rich>
                  <a:bodyPr/>
                  <a:lstStyle/>
                  <a:p>
                    <a:fld id="{7E9083BD-5596-4503-B84B-C3101F0534E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10.9282</c:v>
                </c:pt>
                <c:pt idx="1">
                  <c:v>10.235300000000001</c:v>
                </c:pt>
              </c:numCache>
            </c:numRef>
          </c:xVal>
          <c:yVal>
            <c:numRef>
              <c:f>Sheet1!$B$2:$B$3</c:f>
              <c:numCache>
                <c:formatCode>General</c:formatCode>
                <c:ptCount val="2"/>
                <c:pt idx="0">
                  <c:v>1.0429999999999999</c:v>
                </c:pt>
                <c:pt idx="1">
                  <c:v>0.80900000000000005</c:v>
                </c:pt>
              </c:numCache>
            </c:numRef>
          </c:yVal>
          <c:bubbleSize>
            <c:numRef>
              <c:f>Sheet1!$C$2:$C$3</c:f>
              <c:numCache>
                <c:formatCode>General</c:formatCode>
                <c:ptCount val="2"/>
                <c:pt idx="0">
                  <c:v>1978</c:v>
                </c:pt>
                <c:pt idx="1">
                  <c:v>348</c:v>
                </c:pt>
              </c:numCache>
            </c:numRef>
          </c:bubbleSize>
          <c:bubble3D val="0"/>
          <c:extLst>
            <c:ext xmlns:c15="http://schemas.microsoft.com/office/drawing/2012/chart" uri="{02D57815-91ED-43cb-92C2-25804820EDAC}">
              <c15:datalabelsRange>
                <c15:f>Sheet1!$E$2:$E$10</c15:f>
                <c15:dlblRangeCache>
                  <c:ptCount val="9"/>
                  <c:pt idx="0">
                    <c:v>Cru La Maqueline</c:v>
                  </c:pt>
                  <c:pt idx="1">
                    <c:v>Celene</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3"/>
          <c:min val="8"/>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C6DD413-3570-4C41-8D21-06BF7FDF30D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2E91CA7-3EB8-4E76-AB7F-BDDEB02F34C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3C0A493-F05C-4B06-A661-D6D349931FE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BBE8ED7-8094-4986-ABDF-EF2F94A88B6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87E8B17-D653-4F00-B5EB-A3B3373378C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0249A4E-353B-4684-88DA-566A63CA577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8F1C1ACC-02AF-4C86-BA2B-5899193DD17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4B775C0E-31F5-42C8-8BE1-6DE61375998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92.375500000000002</c:v>
                </c:pt>
                <c:pt idx="1">
                  <c:v>42.073</c:v>
                </c:pt>
                <c:pt idx="2">
                  <c:v>35.363399999999999</c:v>
                </c:pt>
                <c:pt idx="3">
                  <c:v>60.463999999999999</c:v>
                </c:pt>
                <c:pt idx="4">
                  <c:v>78.006</c:v>
                </c:pt>
                <c:pt idx="5">
                  <c:v>183.55930000000001</c:v>
                </c:pt>
                <c:pt idx="6">
                  <c:v>72.110299999999995</c:v>
                </c:pt>
                <c:pt idx="7">
                  <c:v>48.165100000000002</c:v>
                </c:pt>
              </c:numCache>
            </c:numRef>
          </c:xVal>
          <c:yVal>
            <c:numRef>
              <c:f>Sheet1!$B$2:$B$9</c:f>
              <c:numCache>
                <c:formatCode>General</c:formatCode>
                <c:ptCount val="8"/>
                <c:pt idx="0">
                  <c:v>1.23</c:v>
                </c:pt>
                <c:pt idx="1">
                  <c:v>0.52600000000000002</c:v>
                </c:pt>
                <c:pt idx="2">
                  <c:v>0.44400000000000001</c:v>
                </c:pt>
                <c:pt idx="3">
                  <c:v>0.80200000000000005</c:v>
                </c:pt>
                <c:pt idx="4">
                  <c:v>0.94399999999999995</c:v>
                </c:pt>
                <c:pt idx="5">
                  <c:v>2.2999999999999998</c:v>
                </c:pt>
                <c:pt idx="6">
                  <c:v>0.85</c:v>
                </c:pt>
                <c:pt idx="7">
                  <c:v>0.58499999999999996</c:v>
                </c:pt>
              </c:numCache>
            </c:numRef>
          </c:yVal>
          <c:bubbleSize>
            <c:numRef>
              <c:f>Sheet1!$C$2:$C$9</c:f>
              <c:numCache>
                <c:formatCode>General</c:formatCode>
                <c:ptCount val="8"/>
                <c:pt idx="0">
                  <c:v>432687</c:v>
                </c:pt>
                <c:pt idx="1">
                  <c:v>27095</c:v>
                </c:pt>
                <c:pt idx="2">
                  <c:v>25497</c:v>
                </c:pt>
                <c:pt idx="3">
                  <c:v>16809</c:v>
                </c:pt>
                <c:pt idx="4">
                  <c:v>13027</c:v>
                </c:pt>
                <c:pt idx="5">
                  <c:v>10830</c:v>
                </c:pt>
                <c:pt idx="6">
                  <c:v>10456</c:v>
                </c:pt>
                <c:pt idx="7">
                  <c:v>10211</c:v>
                </c:pt>
              </c:numCache>
            </c:numRef>
          </c:bubbleSize>
          <c:bubble3D val="0"/>
          <c:extLst>
            <c:ext xmlns:c15="http://schemas.microsoft.com/office/drawing/2012/chart" uri="{02D57815-91ED-43cb-92C2-25804820EDAC}">
              <c15:datalabelsRange>
                <c15:f>Sheet1!$E$2:$E$10</c15:f>
                <c15:dlblRangeCache>
                  <c:ptCount val="9"/>
                  <c:pt idx="0">
                    <c:v>Ruinart</c:v>
                  </c:pt>
                  <c:pt idx="1">
                    <c:v>Nicolas</c:v>
                  </c:pt>
                  <c:pt idx="2">
                    <c:v>Malard</c:v>
                  </c:pt>
                  <c:pt idx="3">
                    <c:v>Besserat De Bellefon</c:v>
                  </c:pt>
                  <c:pt idx="4">
                    <c:v>Ayala</c:v>
                  </c:pt>
                  <c:pt idx="5">
                    <c:v>Deutz</c:v>
                  </c:pt>
                  <c:pt idx="6">
                    <c:v>De Venoge</c:v>
                  </c:pt>
                  <c:pt idx="7">
                    <c:v>Henriot</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20"/>
          <c:min val="28"/>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C258BE3-2524-4AFC-B77B-66EE542B3FB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39F94C1-F1CF-4388-8A6A-F23DC372D8C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2170A36-5A7B-470B-B7F6-746AC4AEC8A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AB8A465-02F9-4C4E-B61A-DFA207B1160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E079147-8DB9-433B-AC7D-20432B87745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BA616CD-0A85-43C2-A8DC-903BE3141FD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E01A1BE4-4124-46EF-A0D8-42176F5DE3F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21850F87-5901-41C8-BF11-F9286A83D80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68.133499999999998</c:v>
                </c:pt>
                <c:pt idx="1">
                  <c:v>23.392900000000001</c:v>
                </c:pt>
                <c:pt idx="2">
                  <c:v>48.761299999999999</c:v>
                </c:pt>
                <c:pt idx="3">
                  <c:v>51.302199999999999</c:v>
                </c:pt>
                <c:pt idx="4">
                  <c:v>31.512499999999999</c:v>
                </c:pt>
                <c:pt idx="5">
                  <c:v>32.631799999999998</c:v>
                </c:pt>
                <c:pt idx="6">
                  <c:v>29.2836</c:v>
                </c:pt>
                <c:pt idx="7">
                  <c:v>71.167199999999994</c:v>
                </c:pt>
              </c:numCache>
            </c:numRef>
          </c:xVal>
          <c:yVal>
            <c:numRef>
              <c:f>Sheet1!$B$2:$B$9</c:f>
              <c:numCache>
                <c:formatCode>General</c:formatCode>
                <c:ptCount val="8"/>
                <c:pt idx="0">
                  <c:v>1.9450000000000001</c:v>
                </c:pt>
                <c:pt idx="1">
                  <c:v>0.67900000000000005</c:v>
                </c:pt>
                <c:pt idx="2">
                  <c:v>1.393</c:v>
                </c:pt>
                <c:pt idx="3">
                  <c:v>1.3380000000000001</c:v>
                </c:pt>
                <c:pt idx="4">
                  <c:v>0.91100000000000003</c:v>
                </c:pt>
                <c:pt idx="5">
                  <c:v>0.92800000000000005</c:v>
                </c:pt>
                <c:pt idx="6">
                  <c:v>0.84499999999999997</c:v>
                </c:pt>
                <c:pt idx="7">
                  <c:v>2.0619999999999998</c:v>
                </c:pt>
              </c:numCache>
            </c:numRef>
          </c:yVal>
          <c:bubbleSize>
            <c:numRef>
              <c:f>Sheet1!$C$2:$C$9</c:f>
              <c:numCache>
                <c:formatCode>General</c:formatCode>
                <c:ptCount val="8"/>
                <c:pt idx="0">
                  <c:v>2147840</c:v>
                </c:pt>
                <c:pt idx="1">
                  <c:v>849490</c:v>
                </c:pt>
                <c:pt idx="2">
                  <c:v>757750</c:v>
                </c:pt>
                <c:pt idx="3">
                  <c:v>524411</c:v>
                </c:pt>
                <c:pt idx="4">
                  <c:v>464085</c:v>
                </c:pt>
                <c:pt idx="5">
                  <c:v>324491</c:v>
                </c:pt>
                <c:pt idx="6">
                  <c:v>304491</c:v>
                </c:pt>
                <c:pt idx="7">
                  <c:v>281324</c:v>
                </c:pt>
              </c:numCache>
            </c:numRef>
          </c:bubbleSize>
          <c:bubble3D val="0"/>
          <c:extLst>
            <c:ext xmlns:c15="http://schemas.microsoft.com/office/drawing/2012/chart" uri="{02D57815-91ED-43cb-92C2-25804820EDAC}">
              <c15:datalabelsRange>
                <c15:f>Sheet1!$E$2:$E$10</c15:f>
                <c15:dlblRangeCache>
                  <c:ptCount val="9"/>
                  <c:pt idx="0">
                    <c:v>Ruinart</c:v>
                  </c:pt>
                  <c:pt idx="1">
                    <c:v>Nicolas</c:v>
                  </c:pt>
                  <c:pt idx="2">
                    <c:v>Deutz</c:v>
                  </c:pt>
                  <c:pt idx="3">
                    <c:v>Laurent Perrier</c:v>
                  </c:pt>
                  <c:pt idx="4">
                    <c:v>Malard</c:v>
                  </c:pt>
                  <c:pt idx="5">
                    <c:v>Nicolas Feuillatte</c:v>
                  </c:pt>
                  <c:pt idx="6">
                    <c:v>Heidsieck &amp; Co Monopole</c:v>
                  </c:pt>
                  <c:pt idx="7">
                    <c:v>Roederer</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5"/>
          <c:min val="19"/>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47DA9F80-9745-4EB9-B937-384B9925F6E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7B993D2E-AF80-489D-8FCA-863F4DACEBB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5666F751-8C96-4AF5-8DB9-713C1C2C916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73A8355E-A474-4134-8D9C-CD996B980BC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EF4CEF9A-BC7E-4592-B6B5-C6DE56D8AF8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6DE7BFAC-C95E-4250-ACC7-4E0B6D589F5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7A116417-C5DB-42BB-AD91-D7759ACCEC2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86497A69-FB33-47FF-A210-6277A93AB31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59.397500000000001</c:v>
                </c:pt>
                <c:pt idx="1">
                  <c:v>22.198699999999999</c:v>
                </c:pt>
                <c:pt idx="2">
                  <c:v>50.509</c:v>
                </c:pt>
                <c:pt idx="3">
                  <c:v>51.907299999999999</c:v>
                </c:pt>
                <c:pt idx="4">
                  <c:v>55.335500000000003</c:v>
                </c:pt>
                <c:pt idx="5">
                  <c:v>33.5107</c:v>
                </c:pt>
                <c:pt idx="6">
                  <c:v>29.222100000000001</c:v>
                </c:pt>
                <c:pt idx="7">
                  <c:v>29.836300000000001</c:v>
                </c:pt>
              </c:numCache>
            </c:numRef>
          </c:xVal>
          <c:yVal>
            <c:numRef>
              <c:f>Sheet1!$B$2:$B$9</c:f>
              <c:numCache>
                <c:formatCode>General</c:formatCode>
                <c:ptCount val="8"/>
                <c:pt idx="0">
                  <c:v>1.4079999999999999</c:v>
                </c:pt>
                <c:pt idx="1">
                  <c:v>0.53800000000000003</c:v>
                </c:pt>
                <c:pt idx="2">
                  <c:v>1.1399999999999999</c:v>
                </c:pt>
                <c:pt idx="3">
                  <c:v>1.056</c:v>
                </c:pt>
                <c:pt idx="4">
                  <c:v>1.1160000000000001</c:v>
                </c:pt>
                <c:pt idx="5">
                  <c:v>0.78300000000000003</c:v>
                </c:pt>
                <c:pt idx="6">
                  <c:v>0.71599999999999997</c:v>
                </c:pt>
                <c:pt idx="7">
                  <c:v>0.73</c:v>
                </c:pt>
              </c:numCache>
            </c:numRef>
          </c:yVal>
          <c:bubbleSize>
            <c:numRef>
              <c:f>Sheet1!$C$2:$C$9</c:f>
              <c:numCache>
                <c:formatCode>General</c:formatCode>
                <c:ptCount val="8"/>
                <c:pt idx="0">
                  <c:v>556970</c:v>
                </c:pt>
                <c:pt idx="1">
                  <c:v>195127</c:v>
                </c:pt>
                <c:pt idx="2">
                  <c:v>188853</c:v>
                </c:pt>
                <c:pt idx="3">
                  <c:v>95146</c:v>
                </c:pt>
                <c:pt idx="4">
                  <c:v>92687</c:v>
                </c:pt>
                <c:pt idx="5">
                  <c:v>91015</c:v>
                </c:pt>
                <c:pt idx="6">
                  <c:v>83429</c:v>
                </c:pt>
                <c:pt idx="7">
                  <c:v>74531</c:v>
                </c:pt>
              </c:numCache>
            </c:numRef>
          </c:bubbleSize>
          <c:bubble3D val="0"/>
          <c:extLst>
            <c:ext xmlns:c15="http://schemas.microsoft.com/office/drawing/2012/chart" uri="{02D57815-91ED-43cb-92C2-25804820EDAC}">
              <c15:datalabelsRange>
                <c15:f>Sheet1!$E$2:$E$10</c15:f>
                <c15:dlblRangeCache>
                  <c:ptCount val="9"/>
                  <c:pt idx="0">
                    <c:v>Ruinart</c:v>
                  </c:pt>
                  <c:pt idx="1">
                    <c:v>Nicolas</c:v>
                  </c:pt>
                  <c:pt idx="2">
                    <c:v>Deutz</c:v>
                  </c:pt>
                  <c:pt idx="3">
                    <c:v>Laurent Perrier</c:v>
                  </c:pt>
                  <c:pt idx="4">
                    <c:v>Taittinger</c:v>
                  </c:pt>
                  <c:pt idx="5">
                    <c:v>Canard Duchêne</c:v>
                  </c:pt>
                  <c:pt idx="6">
                    <c:v>Heidsieck &amp; Co Monopole</c:v>
                  </c:pt>
                  <c:pt idx="7">
                    <c:v>De Bligny</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1"/>
          <c:min val="18"/>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72074D19-5067-4F03-8FF3-B85EF162566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C5CBA100-EBF7-4405-9FE7-0DB4FE533F2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71-46D6-BBFE-7C00E0D51738}"/>
                </c:ext>
              </c:extLst>
            </c:dLbl>
            <c:dLbl>
              <c:idx val="3"/>
              <c:tx>
                <c:rich>
                  <a:bodyPr/>
                  <a:lstStyle/>
                  <a:p>
                    <a:fld id="{B1EBDA61-2A1F-4C49-9964-AB9E88B8DB3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71-46D6-BBFE-7C00E0D51738}"/>
                </c:ext>
              </c:extLst>
            </c:dLbl>
            <c:dLbl>
              <c:idx val="4"/>
              <c:tx>
                <c:rich>
                  <a:bodyPr/>
                  <a:lstStyle/>
                  <a:p>
                    <a:fld id="{3EDC0602-D924-49EE-8E99-8D6B05C5382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D871-46D6-BBFE-7C00E0D51738}"/>
                </c:ext>
              </c:extLst>
            </c:dLbl>
            <c:dLbl>
              <c:idx val="5"/>
              <c:tx>
                <c:rich>
                  <a:bodyPr/>
                  <a:lstStyle/>
                  <a:p>
                    <a:fld id="{E13436D4-7C3E-43D0-8D23-C0FB2DC33BD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71-46D6-BBFE-7C00E0D51738}"/>
                </c:ext>
              </c:extLst>
            </c:dLbl>
            <c:dLbl>
              <c:idx val="6"/>
              <c:tx>
                <c:rich>
                  <a:bodyPr/>
                  <a:lstStyle/>
                  <a:p>
                    <a:fld id="{B7C04CD8-2496-4850-9E07-ADB00185BE0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71-46D6-BBFE-7C00E0D51738}"/>
                </c:ext>
              </c:extLst>
            </c:dLbl>
            <c:dLbl>
              <c:idx val="7"/>
              <c:tx>
                <c:rich>
                  <a:bodyPr/>
                  <a:lstStyle/>
                  <a:p>
                    <a:fld id="{AED3722C-B2E3-4ED7-ACA1-57303E58D9D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71-46D6-BBFE-7C00E0D51738}"/>
                </c:ext>
              </c:extLst>
            </c:dLbl>
            <c:dLbl>
              <c:idx val="8"/>
              <c:tx>
                <c:rich>
                  <a:bodyPr/>
                  <a:lstStyle/>
                  <a:p>
                    <a:fld id="{228D68C5-7F3E-4A7A-BCEF-60C24667D22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29.4651</c:v>
                </c:pt>
                <c:pt idx="1">
                  <c:v>30.619399999999999</c:v>
                </c:pt>
                <c:pt idx="2">
                  <c:v>32.537999999999997</c:v>
                </c:pt>
                <c:pt idx="3">
                  <c:v>38.537300000000002</c:v>
                </c:pt>
              </c:numCache>
            </c:numRef>
          </c:xVal>
          <c:yVal>
            <c:numRef>
              <c:f>Sheet1!$B$2:$B$5</c:f>
              <c:numCache>
                <c:formatCode>General</c:formatCode>
                <c:ptCount val="4"/>
                <c:pt idx="0">
                  <c:v>0.98799999999999999</c:v>
                </c:pt>
                <c:pt idx="1">
                  <c:v>1.028</c:v>
                </c:pt>
                <c:pt idx="2">
                  <c:v>1.044</c:v>
                </c:pt>
                <c:pt idx="3">
                  <c:v>1.03</c:v>
                </c:pt>
              </c:numCache>
            </c:numRef>
          </c:yVal>
          <c:bubbleSize>
            <c:numRef>
              <c:f>Sheet1!$C$2:$C$5</c:f>
              <c:numCache>
                <c:formatCode>General</c:formatCode>
                <c:ptCount val="4"/>
                <c:pt idx="0">
                  <c:v>74193</c:v>
                </c:pt>
                <c:pt idx="1">
                  <c:v>21158</c:v>
                </c:pt>
                <c:pt idx="2">
                  <c:v>5564</c:v>
                </c:pt>
                <c:pt idx="3">
                  <c:v>2582</c:v>
                </c:pt>
              </c:numCache>
            </c:numRef>
          </c:bubbleSize>
          <c:bubble3D val="0"/>
          <c:extLst>
            <c:ext xmlns:c15="http://schemas.microsoft.com/office/drawing/2012/chart" uri="{02D57815-91ED-43cb-92C2-25804820EDAC}">
              <c15:datalabelsRange>
                <c15:f>Sheet1!$E$2:$E$10</c15:f>
                <c15:dlblRangeCache>
                  <c:ptCount val="9"/>
                  <c:pt idx="0">
                    <c:v>Malard</c:v>
                  </c:pt>
                  <c:pt idx="1">
                    <c:v>Vesselle</c:v>
                  </c:pt>
                  <c:pt idx="2">
                    <c:v>Louis Martin</c:v>
                  </c:pt>
                  <c:pt idx="3">
                    <c:v>Nicolas</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6"/>
          <c:min val="24"/>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CA-4C16-90F6-A0D9A3D8DA8E}"/>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CA-4C16-90F6-A0D9A3D8DA8E}"/>
                </c:ext>
              </c:extLst>
            </c:dLbl>
            <c:dLbl>
              <c:idx val="1"/>
              <c:tx>
                <c:rich>
                  <a:bodyPr/>
                  <a:lstStyle/>
                  <a:p>
                    <a:fld id="{31CF5D27-5082-4126-B722-055589F0BBA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CA-4C16-90F6-A0D9A3D8DA8E}"/>
                </c:ext>
              </c:extLst>
            </c:dLbl>
            <c:dLbl>
              <c:idx val="2"/>
              <c:tx>
                <c:rich>
                  <a:bodyPr/>
                  <a:lstStyle/>
                  <a:p>
                    <a:fld id="{422777F4-F829-47A1-BAFE-E298165293C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D8CA-4C16-90F6-A0D9A3D8DA8E}"/>
                </c:ext>
              </c:extLst>
            </c:dLbl>
            <c:dLbl>
              <c:idx val="3"/>
              <c:tx>
                <c:rich>
                  <a:bodyPr/>
                  <a:lstStyle/>
                  <a:p>
                    <a:fld id="{DE9F2E27-641B-4D76-B554-AAB06787D2F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D8CA-4C16-90F6-A0D9A3D8DA8E}"/>
                </c:ext>
              </c:extLst>
            </c:dLbl>
            <c:dLbl>
              <c:idx val="4"/>
              <c:tx>
                <c:rich>
                  <a:bodyPr/>
                  <a:lstStyle/>
                  <a:p>
                    <a:fld id="{DFF7D090-C681-44B2-83DA-CD171C061CE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D8CA-4C16-90F6-A0D9A3D8DA8E}"/>
                </c:ext>
              </c:extLst>
            </c:dLbl>
            <c:dLbl>
              <c:idx val="5"/>
              <c:tx>
                <c:rich>
                  <a:bodyPr/>
                  <a:lstStyle/>
                  <a:p>
                    <a:fld id="{C8E6FFAC-BB7F-43EE-ACB3-79A82305C6C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CA-4C16-90F6-A0D9A3D8DA8E}"/>
                </c:ext>
              </c:extLst>
            </c:dLbl>
            <c:dLbl>
              <c:idx val="6"/>
              <c:tx>
                <c:rich>
                  <a:bodyPr/>
                  <a:lstStyle/>
                  <a:p>
                    <a:fld id="{EB2F98D0-E301-4B70-A0A1-47449D1EA7F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CA-4C16-90F6-A0D9A3D8DA8E}"/>
                </c:ext>
              </c:extLst>
            </c:dLbl>
            <c:dLbl>
              <c:idx val="7"/>
              <c:tx>
                <c:rich>
                  <a:bodyPr/>
                  <a:lstStyle/>
                  <a:p>
                    <a:fld id="{CBC32E34-1B04-416D-830E-FDD8FB8DC7A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CA-4C16-90F6-A0D9A3D8DA8E}"/>
                </c:ext>
              </c:extLst>
            </c:dLbl>
            <c:dLbl>
              <c:idx val="8"/>
              <c:tx>
                <c:rich>
                  <a:bodyPr/>
                  <a:lstStyle/>
                  <a:p>
                    <a:fld id="{F7408F68-D251-4D6C-996A-B25088E2101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CA-4C16-90F6-A0D9A3D8DA8E}"/>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30.879000000000001</c:v>
                </c:pt>
                <c:pt idx="1">
                  <c:v>44.436199999999999</c:v>
                </c:pt>
              </c:numCache>
            </c:numRef>
          </c:xVal>
          <c:yVal>
            <c:numRef>
              <c:f>Sheet1!$B$2:$B$3</c:f>
              <c:numCache>
                <c:formatCode>General</c:formatCode>
                <c:ptCount val="2"/>
                <c:pt idx="0">
                  <c:v>0.92900000000000005</c:v>
                </c:pt>
                <c:pt idx="1">
                  <c:v>1.3420000000000001</c:v>
                </c:pt>
              </c:numCache>
            </c:numRef>
          </c:yVal>
          <c:bubbleSize>
            <c:numRef>
              <c:f>Sheet1!$C$2:$C$3</c:f>
              <c:numCache>
                <c:formatCode>General</c:formatCode>
                <c:ptCount val="2"/>
                <c:pt idx="0">
                  <c:v>79359</c:v>
                </c:pt>
                <c:pt idx="1">
                  <c:v>23329</c:v>
                </c:pt>
              </c:numCache>
            </c:numRef>
          </c:bubbleSize>
          <c:bubble3D val="0"/>
          <c:extLst>
            <c:ext xmlns:c15="http://schemas.microsoft.com/office/drawing/2012/chart" uri="{02D57815-91ED-43cb-92C2-25804820EDAC}">
              <c15:datalabelsRange>
                <c15:f>Sheet1!$E$2:$E$10</c15:f>
                <c15:dlblRangeCache>
                  <c:ptCount val="9"/>
                  <c:pt idx="0">
                    <c:v>Nicolas Feuillatte</c:v>
                  </c:pt>
                  <c:pt idx="1">
                    <c:v>Moët &amp; Chandon</c:v>
                  </c:pt>
                </c15:dlblRangeCache>
              </c15:datalabelsRange>
            </c:ext>
            <c:ext xmlns:c16="http://schemas.microsoft.com/office/drawing/2014/chart" uri="{C3380CC4-5D6E-409C-BE32-E72D297353CC}">
              <c16:uniqueId val="{00000009-D8CA-4C16-90F6-A0D9A3D8DA8E}"/>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3"/>
          <c:min val="25"/>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5D04928-29AF-4B39-87E7-6DB721CAC32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96D0008-9BC9-465C-8298-F4549267DFA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6836C40-DB2E-4E76-8F0E-053BA73C60C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DC34F92-1030-49D4-AF7E-D23317D1925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C07D4C2-D9B5-4838-B0DA-5B6C36B6C73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C035B57A-611C-4CA1-BE92-C968D2663FB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4BC248D-0462-4645-B543-CA8DCCC2723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74E3A67A-4A96-4A4B-82D9-CE0A8112D07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62.61360000000002</c:v>
                </c:pt>
                <c:pt idx="1">
                  <c:v>157.7688</c:v>
                </c:pt>
                <c:pt idx="2">
                  <c:v>97.39</c:v>
                </c:pt>
                <c:pt idx="3">
                  <c:v>39.217599999999997</c:v>
                </c:pt>
                <c:pt idx="4">
                  <c:v>241.33330000000001</c:v>
                </c:pt>
                <c:pt idx="5">
                  <c:v>65.263900000000007</c:v>
                </c:pt>
                <c:pt idx="6">
                  <c:v>300.57139999999998</c:v>
                </c:pt>
                <c:pt idx="7">
                  <c:v>253.21430000000001</c:v>
                </c:pt>
              </c:numCache>
            </c:numRef>
          </c:xVal>
          <c:yVal>
            <c:numRef>
              <c:f>Sheet1!$B$2:$B$9</c:f>
              <c:numCache>
                <c:formatCode>General</c:formatCode>
                <c:ptCount val="8"/>
                <c:pt idx="0">
                  <c:v>1.825</c:v>
                </c:pt>
                <c:pt idx="1">
                  <c:v>0.94199999999999995</c:v>
                </c:pt>
                <c:pt idx="2">
                  <c:v>0.63200000000000001</c:v>
                </c:pt>
                <c:pt idx="3">
                  <c:v>0.26800000000000002</c:v>
                </c:pt>
                <c:pt idx="4">
                  <c:v>1.3640000000000001</c:v>
                </c:pt>
                <c:pt idx="5">
                  <c:v>0.432</c:v>
                </c:pt>
                <c:pt idx="6">
                  <c:v>1.754</c:v>
                </c:pt>
                <c:pt idx="7">
                  <c:v>1.4770000000000001</c:v>
                </c:pt>
              </c:numCache>
            </c:numRef>
          </c:yVal>
          <c:bubbleSize>
            <c:numRef>
              <c:f>Sheet1!$C$2:$C$9</c:f>
              <c:numCache>
                <c:formatCode>General</c:formatCode>
                <c:ptCount val="8"/>
                <c:pt idx="0">
                  <c:v>77471</c:v>
                </c:pt>
                <c:pt idx="1">
                  <c:v>27294</c:v>
                </c:pt>
                <c:pt idx="2">
                  <c:v>19478</c:v>
                </c:pt>
                <c:pt idx="3">
                  <c:v>7569</c:v>
                </c:pt>
                <c:pt idx="4">
                  <c:v>5792</c:v>
                </c:pt>
                <c:pt idx="5">
                  <c:v>4699</c:v>
                </c:pt>
                <c:pt idx="6">
                  <c:v>4208</c:v>
                </c:pt>
                <c:pt idx="7">
                  <c:v>3545</c:v>
                </c:pt>
              </c:numCache>
            </c:numRef>
          </c:bubbleSize>
          <c:bubble3D val="0"/>
          <c:extLst>
            <c:ext xmlns:c15="http://schemas.microsoft.com/office/drawing/2012/chart" uri="{02D57815-91ED-43cb-92C2-25804820EDAC}">
              <c15:datalabelsRange>
                <c15:f>Sheet1!$E$2:$E$10</c15:f>
                <c15:dlblRangeCache>
                  <c:ptCount val="9"/>
                  <c:pt idx="0">
                    <c:v>Dom Perignon</c:v>
                  </c:pt>
                  <c:pt idx="1">
                    <c:v>Roederer</c:v>
                  </c:pt>
                  <c:pt idx="2">
                    <c:v>Ruinart</c:v>
                  </c:pt>
                  <c:pt idx="3">
                    <c:v>Malard</c:v>
                  </c:pt>
                  <c:pt idx="4">
                    <c:v>Bollinger</c:v>
                  </c:pt>
                  <c:pt idx="5">
                    <c:v>Laurent Perrier</c:v>
                  </c:pt>
                  <c:pt idx="6">
                    <c:v>Piper Heidsieck</c:v>
                  </c:pt>
                  <c:pt idx="7">
                    <c:v>Pommer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61"/>
          <c:min val="31"/>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B859427F-8E29-4FEB-B85F-C4BB0BF6FD1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9CAF629B-651F-4ABE-BDA8-1FE3AFDCCB8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4F6EE89F-DE71-467E-A818-FE780018819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B44D2956-6BAC-4988-A1D2-3D6CD21BCD7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6169867D-FD07-40CA-B05B-F519BEBFCA1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C345D624-CBAC-4184-BE79-868E995C604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6466C061-580F-419F-A951-BF70339A6F5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5E90400B-7F30-48A4-A2B5-4DE7AED85A5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94.533199999999994</c:v>
                </c:pt>
                <c:pt idx="1">
                  <c:v>56.6633</c:v>
                </c:pt>
                <c:pt idx="2">
                  <c:v>37.4512</c:v>
                </c:pt>
                <c:pt idx="3">
                  <c:v>27.365200000000002</c:v>
                </c:pt>
                <c:pt idx="4">
                  <c:v>82.421099999999996</c:v>
                </c:pt>
                <c:pt idx="5">
                  <c:v>38.498600000000003</c:v>
                </c:pt>
                <c:pt idx="6">
                  <c:v>42.989699999999999</c:v>
                </c:pt>
                <c:pt idx="7">
                  <c:v>37.436</c:v>
                </c:pt>
              </c:numCache>
            </c:numRef>
          </c:xVal>
          <c:yVal>
            <c:numRef>
              <c:f>Sheet1!$B$2:$B$9</c:f>
              <c:numCache>
                <c:formatCode>General</c:formatCode>
                <c:ptCount val="8"/>
                <c:pt idx="0">
                  <c:v>1.633</c:v>
                </c:pt>
                <c:pt idx="1">
                  <c:v>1.0780000000000001</c:v>
                </c:pt>
                <c:pt idx="2">
                  <c:v>0.64200000000000002</c:v>
                </c:pt>
                <c:pt idx="3">
                  <c:v>0.49299999999999999</c:v>
                </c:pt>
                <c:pt idx="4">
                  <c:v>1.3740000000000001</c:v>
                </c:pt>
                <c:pt idx="5">
                  <c:v>0.66900000000000004</c:v>
                </c:pt>
                <c:pt idx="6">
                  <c:v>0.85</c:v>
                </c:pt>
                <c:pt idx="7">
                  <c:v>0.63500000000000001</c:v>
                </c:pt>
              </c:numCache>
            </c:numRef>
          </c:yVal>
          <c:bubbleSize>
            <c:numRef>
              <c:f>Sheet1!$C$2:$C$9</c:f>
              <c:numCache>
                <c:formatCode>General</c:formatCode>
                <c:ptCount val="8"/>
                <c:pt idx="0">
                  <c:v>89712</c:v>
                </c:pt>
                <c:pt idx="1">
                  <c:v>39381</c:v>
                </c:pt>
                <c:pt idx="2">
                  <c:v>27639</c:v>
                </c:pt>
                <c:pt idx="3">
                  <c:v>19484</c:v>
                </c:pt>
                <c:pt idx="4">
                  <c:v>18792</c:v>
                </c:pt>
                <c:pt idx="5">
                  <c:v>13744</c:v>
                </c:pt>
                <c:pt idx="6">
                  <c:v>8340</c:v>
                </c:pt>
                <c:pt idx="7">
                  <c:v>7899</c:v>
                </c:pt>
              </c:numCache>
            </c:numRef>
          </c:bubbleSize>
          <c:bubble3D val="0"/>
          <c:extLst>
            <c:ext xmlns:c15="http://schemas.microsoft.com/office/drawing/2012/chart" uri="{02D57815-91ED-43cb-92C2-25804820EDAC}">
              <c15:datalabelsRange>
                <c15:f>Sheet1!$E$2:$E$10</c15:f>
                <c15:dlblRangeCache>
                  <c:ptCount val="9"/>
                  <c:pt idx="0">
                    <c:v>Ruinart</c:v>
                  </c:pt>
                  <c:pt idx="1">
                    <c:v>Deutz</c:v>
                  </c:pt>
                  <c:pt idx="2">
                    <c:v>Demoiselle</c:v>
                  </c:pt>
                  <c:pt idx="3">
                    <c:v>Nicolas</c:v>
                  </c:pt>
                  <c:pt idx="4">
                    <c:v>Laurent Perrier</c:v>
                  </c:pt>
                  <c:pt idx="5">
                    <c:v>Nicolas Feuillatte</c:v>
                  </c:pt>
                  <c:pt idx="6">
                    <c:v>Besserat De Bellefon</c:v>
                  </c:pt>
                  <c:pt idx="7">
                    <c:v>Malard</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13"/>
          <c:min val="22"/>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865BFF28-01C4-45E7-A996-53FB85747AD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D871-46D6-BBFE-7C00E0D51738}"/>
                </c:ext>
              </c:extLst>
            </c:dLbl>
            <c:dLbl>
              <c:idx val="2"/>
              <c:tx>
                <c:rich>
                  <a:bodyPr/>
                  <a:lstStyle/>
                  <a:p>
                    <a:fld id="{15071533-6DD1-44E6-89D9-7F2FC74C4B8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D871-46D6-BBFE-7C00E0D51738}"/>
                </c:ext>
              </c:extLst>
            </c:dLbl>
            <c:dLbl>
              <c:idx val="3"/>
              <c:tx>
                <c:rich>
                  <a:bodyPr/>
                  <a:lstStyle/>
                  <a:p>
                    <a:fld id="{5FB05131-BDA6-4F52-BB71-6429D263141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D871-46D6-BBFE-7C00E0D51738}"/>
                </c:ext>
              </c:extLst>
            </c:dLbl>
            <c:dLbl>
              <c:idx val="4"/>
              <c:tx>
                <c:rich>
                  <a:bodyPr/>
                  <a:lstStyle/>
                  <a:p>
                    <a:fld id="{3A2185F4-E517-4EF5-9BD9-42775AA313F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D871-46D6-BBFE-7C00E0D51738}"/>
                </c:ext>
              </c:extLst>
            </c:dLbl>
            <c:dLbl>
              <c:idx val="5"/>
              <c:tx>
                <c:rich>
                  <a:bodyPr/>
                  <a:lstStyle/>
                  <a:p>
                    <a:fld id="{9C9ACD30-7D29-4E5E-BF39-DE98EA6D754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71-46D6-BBFE-7C00E0D51738}"/>
                </c:ext>
              </c:extLst>
            </c:dLbl>
            <c:dLbl>
              <c:idx val="6"/>
              <c:tx>
                <c:rich>
                  <a:bodyPr/>
                  <a:lstStyle/>
                  <a:p>
                    <a:fld id="{51DBF82D-A2AD-40C6-B98B-99400EB1B08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71-46D6-BBFE-7C00E0D51738}"/>
                </c:ext>
              </c:extLst>
            </c:dLbl>
            <c:dLbl>
              <c:idx val="7"/>
              <c:tx>
                <c:rich>
                  <a:bodyPr/>
                  <a:lstStyle/>
                  <a:p>
                    <a:fld id="{E7143C8A-A878-424F-BEC8-20339308EAD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71-46D6-BBFE-7C00E0D51738}"/>
                </c:ext>
              </c:extLst>
            </c:dLbl>
            <c:dLbl>
              <c:idx val="8"/>
              <c:tx>
                <c:rich>
                  <a:bodyPr/>
                  <a:lstStyle/>
                  <a:p>
                    <a:fld id="{86FC5E36-7637-41D6-80C6-A2C1D3DCCF0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2.435700000000001</c:v>
                </c:pt>
              </c:numCache>
            </c:numRef>
          </c:xVal>
          <c:yVal>
            <c:numRef>
              <c:f>Sheet1!$B$2:$B$2</c:f>
              <c:numCache>
                <c:formatCode>General</c:formatCode>
                <c:ptCount val="1"/>
                <c:pt idx="0">
                  <c:v>1</c:v>
                </c:pt>
              </c:numCache>
            </c:numRef>
          </c:yVal>
          <c:bubbleSize>
            <c:numRef>
              <c:f>Sheet1!$C$2:$C$2</c:f>
              <c:numCache>
                <c:formatCode>General</c:formatCode>
                <c:ptCount val="1"/>
                <c:pt idx="0">
                  <c:v>20606</c:v>
                </c:pt>
              </c:numCache>
            </c:numRef>
          </c:bubbleSize>
          <c:bubble3D val="0"/>
          <c:extLst>
            <c:ext xmlns:c15="http://schemas.microsoft.com/office/drawing/2012/chart" uri="{02D57815-91ED-43cb-92C2-25804820EDAC}">
              <c15:datalabelsRange>
                <c15:f>Sheet1!$E$2:$E$10</c15:f>
                <c15:dlblRangeCache>
                  <c:ptCount val="9"/>
                  <c:pt idx="0">
                    <c:v>Patriarche</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5"/>
          <c:min val="10"/>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CA-4C16-90F6-A0D9A3D8DA8E}"/>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CA-4C16-90F6-A0D9A3D8DA8E}"/>
                </c:ext>
              </c:extLst>
            </c:dLbl>
            <c:dLbl>
              <c:idx val="1"/>
              <c:tx>
                <c:rich>
                  <a:bodyPr/>
                  <a:lstStyle/>
                  <a:p>
                    <a:fld id="{E8E48D5D-C707-496C-AD20-B7E809AFAB1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CA-4C16-90F6-A0D9A3D8DA8E}"/>
                </c:ext>
              </c:extLst>
            </c:dLbl>
            <c:dLbl>
              <c:idx val="2"/>
              <c:tx>
                <c:rich>
                  <a:bodyPr/>
                  <a:lstStyle/>
                  <a:p>
                    <a:fld id="{AFA97F91-FC1E-4A0A-B1E3-40A0F24E4B8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CA-4C16-90F6-A0D9A3D8DA8E}"/>
                </c:ext>
              </c:extLst>
            </c:dLbl>
            <c:dLbl>
              <c:idx val="3"/>
              <c:tx>
                <c:rich>
                  <a:bodyPr/>
                  <a:lstStyle/>
                  <a:p>
                    <a:fld id="{60BDBB0F-0760-4357-AE8A-84F55B4BE1B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CA-4C16-90F6-A0D9A3D8DA8E}"/>
                </c:ext>
              </c:extLst>
            </c:dLbl>
            <c:dLbl>
              <c:idx val="4"/>
              <c:tx>
                <c:rich>
                  <a:bodyPr/>
                  <a:lstStyle/>
                  <a:p>
                    <a:fld id="{D4D6DDDA-8162-4595-9B5E-14031F6EE17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D8CA-4C16-90F6-A0D9A3D8DA8E}"/>
                </c:ext>
              </c:extLst>
            </c:dLbl>
            <c:dLbl>
              <c:idx val="5"/>
              <c:tx>
                <c:rich>
                  <a:bodyPr/>
                  <a:lstStyle/>
                  <a:p>
                    <a:fld id="{3FA1A3E9-DCAD-405C-941C-CF67F6A6A0A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CA-4C16-90F6-A0D9A3D8DA8E}"/>
                </c:ext>
              </c:extLst>
            </c:dLbl>
            <c:dLbl>
              <c:idx val="6"/>
              <c:tx>
                <c:rich>
                  <a:bodyPr/>
                  <a:lstStyle/>
                  <a:p>
                    <a:fld id="{4C63326C-C213-4522-94E2-0F817023295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CA-4C16-90F6-A0D9A3D8DA8E}"/>
                </c:ext>
              </c:extLst>
            </c:dLbl>
            <c:dLbl>
              <c:idx val="7"/>
              <c:tx>
                <c:rich>
                  <a:bodyPr/>
                  <a:lstStyle/>
                  <a:p>
                    <a:fld id="{8D5C93BD-956D-4C5B-8072-66BE7F58DC7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CA-4C16-90F6-A0D9A3D8DA8E}"/>
                </c:ext>
              </c:extLst>
            </c:dLbl>
            <c:dLbl>
              <c:idx val="8"/>
              <c:tx>
                <c:rich>
                  <a:bodyPr/>
                  <a:lstStyle/>
                  <a:p>
                    <a:fld id="{7597953D-2019-44CB-9848-1B1FDA8E44E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CA-4C16-90F6-A0D9A3D8DA8E}"/>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11.4154</c:v>
                </c:pt>
                <c:pt idx="1">
                  <c:v>9.2040000000000006</c:v>
                </c:pt>
                <c:pt idx="2">
                  <c:v>12.408200000000001</c:v>
                </c:pt>
                <c:pt idx="3">
                  <c:v>6.5754999999999999</c:v>
                </c:pt>
              </c:numCache>
            </c:numRef>
          </c:xVal>
          <c:yVal>
            <c:numRef>
              <c:f>Sheet1!$B$2:$B$5</c:f>
              <c:numCache>
                <c:formatCode>General</c:formatCode>
                <c:ptCount val="4"/>
                <c:pt idx="0">
                  <c:v>1.325</c:v>
                </c:pt>
                <c:pt idx="1">
                  <c:v>1.06</c:v>
                </c:pt>
                <c:pt idx="2">
                  <c:v>1.109</c:v>
                </c:pt>
                <c:pt idx="3">
                  <c:v>0.73799999999999999</c:v>
                </c:pt>
              </c:numCache>
            </c:numRef>
          </c:yVal>
          <c:bubbleSize>
            <c:numRef>
              <c:f>Sheet1!$C$2:$C$5</c:f>
              <c:numCache>
                <c:formatCode>General</c:formatCode>
                <c:ptCount val="4"/>
                <c:pt idx="0">
                  <c:v>29406</c:v>
                </c:pt>
                <c:pt idx="1">
                  <c:v>12361</c:v>
                </c:pt>
                <c:pt idx="2">
                  <c:v>5472</c:v>
                </c:pt>
                <c:pt idx="3">
                  <c:v>2525</c:v>
                </c:pt>
              </c:numCache>
            </c:numRef>
          </c:bubbleSize>
          <c:bubble3D val="0"/>
          <c:extLst>
            <c:ext xmlns:c15="http://schemas.microsoft.com/office/drawing/2012/chart" uri="{02D57815-91ED-43cb-92C2-25804820EDAC}">
              <c15:datalabelsRange>
                <c15:f>Sheet1!$E$2:$E$10</c15:f>
                <c15:dlblRangeCache>
                  <c:ptCount val="9"/>
                  <c:pt idx="0">
                    <c:v>Bottega</c:v>
                  </c:pt>
                  <c:pt idx="1">
                    <c:v>Savian</c:v>
                  </c:pt>
                  <c:pt idx="2">
                    <c:v>Contarini</c:v>
                  </c:pt>
                  <c:pt idx="3">
                    <c:v>Vilaveroni</c:v>
                  </c:pt>
                </c15:dlblRangeCache>
              </c15:datalabelsRange>
            </c:ext>
            <c:ext xmlns:c16="http://schemas.microsoft.com/office/drawing/2014/chart" uri="{C3380CC4-5D6E-409C-BE32-E72D297353CC}">
              <c16:uniqueId val="{00000009-D8CA-4C16-90F6-A0D9A3D8DA8E}"/>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5"/>
          <c:min val="5"/>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0B3CB21-4452-4C83-93DA-B3F78FF3E8A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ACA8157-FFF9-47D5-9E39-38A5F28AD16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8F5D736-47A5-4C9A-A3D9-48D62BF1BBE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1F3F4BC8-4631-4AB8-9084-3AE1629560D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15553BC7-13F3-427A-9B79-641C79EFA51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B69F89A0-0F82-4A13-AD32-DC5974EEA5D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714A1B78-6D84-4A04-AF0A-5417E323FC8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670610CA-20DB-4816-98E2-E0B059EA3E8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1.672000000000001</c:v>
                </c:pt>
                <c:pt idx="1">
                  <c:v>11.5655</c:v>
                </c:pt>
                <c:pt idx="2">
                  <c:v>13.4473</c:v>
                </c:pt>
              </c:numCache>
            </c:numRef>
          </c:xVal>
          <c:yVal>
            <c:numRef>
              <c:f>Sheet1!$B$2:$B$4</c:f>
              <c:numCache>
                <c:formatCode>General</c:formatCode>
                <c:ptCount val="3"/>
                <c:pt idx="0">
                  <c:v>0.97799999999999998</c:v>
                </c:pt>
                <c:pt idx="1">
                  <c:v>1.0169999999999999</c:v>
                </c:pt>
                <c:pt idx="2">
                  <c:v>1.171</c:v>
                </c:pt>
              </c:numCache>
            </c:numRef>
          </c:yVal>
          <c:bubbleSize>
            <c:numRef>
              <c:f>Sheet1!$C$2:$C$4</c:f>
              <c:numCache>
                <c:formatCode>General</c:formatCode>
                <c:ptCount val="3"/>
                <c:pt idx="0">
                  <c:v>15337</c:v>
                </c:pt>
                <c:pt idx="1">
                  <c:v>8304</c:v>
                </c:pt>
                <c:pt idx="2">
                  <c:v>4720</c:v>
                </c:pt>
              </c:numCache>
            </c:numRef>
          </c:bubbleSize>
          <c:bubble3D val="0"/>
          <c:extLst>
            <c:ext xmlns:c15="http://schemas.microsoft.com/office/drawing/2012/chart" uri="{02D57815-91ED-43cb-92C2-25804820EDAC}">
              <c15:datalabelsRange>
                <c15:f>Sheet1!$E$2:$E$10</c15:f>
                <c15:dlblRangeCache>
                  <c:ptCount val="9"/>
                  <c:pt idx="0">
                    <c:v>Bouvet-Ladubay</c:v>
                  </c:pt>
                  <c:pt idx="1">
                    <c:v>Chateau Moncontour</c:v>
                  </c:pt>
                  <c:pt idx="2">
                    <c:v>De Chancen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6"/>
          <c:min val="9"/>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896DA9B3-EF7B-47D6-B35F-B97C1F360FF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48EF-49EC-8B4D-EC25A4464CE3}"/>
                </c:ext>
              </c:extLst>
            </c:dLbl>
            <c:dLbl>
              <c:idx val="2"/>
              <c:tx>
                <c:rich>
                  <a:bodyPr/>
                  <a:lstStyle/>
                  <a:p>
                    <a:fld id="{A6041A3E-EA86-4209-9651-D0C7E10FDC5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48EF-49EC-8B4D-EC25A4464CE3}"/>
                </c:ext>
              </c:extLst>
            </c:dLbl>
            <c:dLbl>
              <c:idx val="3"/>
              <c:tx>
                <c:rich>
                  <a:bodyPr/>
                  <a:lstStyle/>
                  <a:p>
                    <a:fld id="{A533A23D-47FE-472E-92F8-D75F8D2C1F1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48EF-49EC-8B4D-EC25A4464CE3}"/>
                </c:ext>
              </c:extLst>
            </c:dLbl>
            <c:dLbl>
              <c:idx val="4"/>
              <c:tx>
                <c:rich>
                  <a:bodyPr/>
                  <a:lstStyle/>
                  <a:p>
                    <a:fld id="{9C3FF919-0455-409C-B2F3-B7F7BFC344B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48EF-49EC-8B4D-EC25A4464CE3}"/>
                </c:ext>
              </c:extLst>
            </c:dLbl>
            <c:dLbl>
              <c:idx val="5"/>
              <c:tx>
                <c:rich>
                  <a:bodyPr/>
                  <a:lstStyle/>
                  <a:p>
                    <a:fld id="{DE7288DF-9568-4B44-A8E0-3E8D1F5BF07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48EF-49EC-8B4D-EC25A4464CE3}"/>
                </c:ext>
              </c:extLst>
            </c:dLbl>
            <c:dLbl>
              <c:idx val="6"/>
              <c:tx>
                <c:rich>
                  <a:bodyPr/>
                  <a:lstStyle/>
                  <a:p>
                    <a:fld id="{C50F6F58-9268-4235-AB9E-124D86EF7B7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48EF-49EC-8B4D-EC25A4464CE3}"/>
                </c:ext>
              </c:extLst>
            </c:dLbl>
            <c:dLbl>
              <c:idx val="7"/>
              <c:tx>
                <c:rich>
                  <a:bodyPr/>
                  <a:lstStyle/>
                  <a:p>
                    <a:fld id="{2099B48B-06B8-4F7B-AAFD-21D3BC4D2AB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48EF-49EC-8B4D-EC25A4464CE3}"/>
                </c:ext>
              </c:extLst>
            </c:dLbl>
            <c:dLbl>
              <c:idx val="8"/>
              <c:tx>
                <c:rich>
                  <a:bodyPr/>
                  <a:lstStyle/>
                  <a:p>
                    <a:fld id="{CDE51542-9EA5-40D7-AA03-EDAE8F91ACB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7.843299999999999</c:v>
                </c:pt>
              </c:numCache>
            </c:numRef>
          </c:xVal>
          <c:yVal>
            <c:numRef>
              <c:f>Sheet1!$B$2:$B$2</c:f>
              <c:numCache>
                <c:formatCode>General</c:formatCode>
                <c:ptCount val="1"/>
                <c:pt idx="0">
                  <c:v>1.3560000000000001</c:v>
                </c:pt>
              </c:numCache>
            </c:numRef>
          </c:yVal>
          <c:bubbleSize>
            <c:numRef>
              <c:f>Sheet1!$C$2:$C$2</c:f>
              <c:numCache>
                <c:formatCode>General</c:formatCode>
                <c:ptCount val="1"/>
                <c:pt idx="0">
                  <c:v>21519</c:v>
                </c:pt>
              </c:numCache>
            </c:numRef>
          </c:bubbleSize>
          <c:bubble3D val="0"/>
          <c:extLst>
            <c:ext xmlns:c15="http://schemas.microsoft.com/office/drawing/2012/chart" uri="{02D57815-91ED-43cb-92C2-25804820EDAC}">
              <c15:datalabelsRange>
                <c15:f>Sheet1!$E$2:$E$10</c15:f>
                <c15:dlblRangeCache>
                  <c:ptCount val="9"/>
                  <c:pt idx="0">
                    <c:v>Mure</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
          <c:min val="14"/>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00409681-41CD-40ED-BF50-329E11E4CB5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C40629CF-A2B5-404F-8106-3D944C61E15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D871-46D6-BBFE-7C00E0D51738}"/>
                </c:ext>
              </c:extLst>
            </c:dLbl>
            <c:dLbl>
              <c:idx val="3"/>
              <c:tx>
                <c:rich>
                  <a:bodyPr/>
                  <a:lstStyle/>
                  <a:p>
                    <a:fld id="{B3B7D533-F400-42CE-B0FE-B44D2D7C665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D871-46D6-BBFE-7C00E0D51738}"/>
                </c:ext>
              </c:extLst>
            </c:dLbl>
            <c:dLbl>
              <c:idx val="4"/>
              <c:tx>
                <c:rich>
                  <a:bodyPr/>
                  <a:lstStyle/>
                  <a:p>
                    <a:fld id="{9DC6DCDB-760B-4B48-B688-7D6048B4337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D871-46D6-BBFE-7C00E0D51738}"/>
                </c:ext>
              </c:extLst>
            </c:dLbl>
            <c:dLbl>
              <c:idx val="5"/>
              <c:tx>
                <c:rich>
                  <a:bodyPr/>
                  <a:lstStyle/>
                  <a:p>
                    <a:fld id="{6D22CC26-F1DC-4E70-9881-F0B46B0A680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71-46D6-BBFE-7C00E0D51738}"/>
                </c:ext>
              </c:extLst>
            </c:dLbl>
            <c:dLbl>
              <c:idx val="6"/>
              <c:tx>
                <c:rich>
                  <a:bodyPr/>
                  <a:lstStyle/>
                  <a:p>
                    <a:fld id="{D42CE453-5D4D-482F-BBE5-C3D54000124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71-46D6-BBFE-7C00E0D51738}"/>
                </c:ext>
              </c:extLst>
            </c:dLbl>
            <c:dLbl>
              <c:idx val="7"/>
              <c:tx>
                <c:rich>
                  <a:bodyPr/>
                  <a:lstStyle/>
                  <a:p>
                    <a:fld id="{AD1F0873-D1FE-4BF1-812B-CD245B49B7C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71-46D6-BBFE-7C00E0D51738}"/>
                </c:ext>
              </c:extLst>
            </c:dLbl>
            <c:dLbl>
              <c:idx val="8"/>
              <c:tx>
                <c:rich>
                  <a:bodyPr/>
                  <a:lstStyle/>
                  <a:p>
                    <a:fld id="{6F46BA1C-B163-4C9B-B33C-97E30741D51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11.115</c:v>
                </c:pt>
                <c:pt idx="1">
                  <c:v>10.521699999999999</c:v>
                </c:pt>
              </c:numCache>
            </c:numRef>
          </c:xVal>
          <c:yVal>
            <c:numRef>
              <c:f>Sheet1!$B$2:$B$3</c:f>
              <c:numCache>
                <c:formatCode>General</c:formatCode>
                <c:ptCount val="2"/>
                <c:pt idx="0">
                  <c:v>1.0229999999999999</c:v>
                </c:pt>
                <c:pt idx="1">
                  <c:v>0.80800000000000005</c:v>
                </c:pt>
              </c:numCache>
            </c:numRef>
          </c:yVal>
          <c:bubbleSize>
            <c:numRef>
              <c:f>Sheet1!$C$2:$C$3</c:f>
              <c:numCache>
                <c:formatCode>General</c:formatCode>
                <c:ptCount val="2"/>
                <c:pt idx="0">
                  <c:v>2512</c:v>
                </c:pt>
                <c:pt idx="1">
                  <c:v>242</c:v>
                </c:pt>
              </c:numCache>
            </c:numRef>
          </c:bubbleSize>
          <c:bubble3D val="0"/>
          <c:extLst>
            <c:ext xmlns:c15="http://schemas.microsoft.com/office/drawing/2012/chart" uri="{02D57815-91ED-43cb-92C2-25804820EDAC}">
              <c15:datalabelsRange>
                <c15:f>Sheet1!$E$2:$E$10</c15:f>
                <c15:dlblRangeCache>
                  <c:ptCount val="9"/>
                  <c:pt idx="0">
                    <c:v>Cru La Maqueline</c:v>
                  </c:pt>
                  <c:pt idx="1">
                    <c:v>Celene</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3"/>
          <c:min val="8"/>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62633D9-471D-438B-B3B1-EEC48BDFFC3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F6276FC-DBF7-407E-B2AD-59BD4FB9B92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19A0A58-456B-422B-8F6F-34C52A99711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455BE28-DB66-48E1-95EF-DD8BF7B94D6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F458413-0572-485B-A78E-85D963DB756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6C555B2-DB38-457E-9EBE-3AC434D29E2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3C20672F-9855-4437-A038-F99F4C3CEFF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0D7F1BB0-5442-47E9-ACC4-09FE186CF29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69.275000000000006</c:v>
                </c:pt>
                <c:pt idx="1">
                  <c:v>23.590299999999999</c:v>
                </c:pt>
                <c:pt idx="2">
                  <c:v>50.235199999999999</c:v>
                </c:pt>
                <c:pt idx="3">
                  <c:v>31.48</c:v>
                </c:pt>
                <c:pt idx="4">
                  <c:v>52.412700000000001</c:v>
                </c:pt>
                <c:pt idx="5">
                  <c:v>32.894399999999997</c:v>
                </c:pt>
                <c:pt idx="6">
                  <c:v>29.253399999999999</c:v>
                </c:pt>
                <c:pt idx="7">
                  <c:v>38.716000000000001</c:v>
                </c:pt>
              </c:numCache>
            </c:numRef>
          </c:xVal>
          <c:yVal>
            <c:numRef>
              <c:f>Sheet1!$B$2:$B$9</c:f>
              <c:numCache>
                <c:formatCode>General</c:formatCode>
                <c:ptCount val="8"/>
                <c:pt idx="0">
                  <c:v>1.9550000000000001</c:v>
                </c:pt>
                <c:pt idx="1">
                  <c:v>0.67800000000000005</c:v>
                </c:pt>
                <c:pt idx="2">
                  <c:v>1.403</c:v>
                </c:pt>
                <c:pt idx="3">
                  <c:v>0.90100000000000002</c:v>
                </c:pt>
                <c:pt idx="4">
                  <c:v>1.34</c:v>
                </c:pt>
                <c:pt idx="5">
                  <c:v>0.91600000000000004</c:v>
                </c:pt>
                <c:pt idx="6">
                  <c:v>0.83599999999999997</c:v>
                </c:pt>
                <c:pt idx="7">
                  <c:v>1.107</c:v>
                </c:pt>
              </c:numCache>
            </c:numRef>
          </c:yVal>
          <c:bubbleSize>
            <c:numRef>
              <c:f>Sheet1!$C$2:$C$9</c:f>
              <c:numCache>
                <c:formatCode>General</c:formatCode>
                <c:ptCount val="8"/>
                <c:pt idx="0">
                  <c:v>3453150</c:v>
                </c:pt>
                <c:pt idx="1">
                  <c:v>1317521</c:v>
                </c:pt>
                <c:pt idx="2">
                  <c:v>1108641</c:v>
                </c:pt>
                <c:pt idx="3">
                  <c:v>730304</c:v>
                </c:pt>
                <c:pt idx="4">
                  <c:v>682885</c:v>
                </c:pt>
                <c:pt idx="5">
                  <c:v>520981</c:v>
                </c:pt>
                <c:pt idx="6">
                  <c:v>468611</c:v>
                </c:pt>
                <c:pt idx="7">
                  <c:v>467844</c:v>
                </c:pt>
              </c:numCache>
            </c:numRef>
          </c:bubbleSize>
          <c:bubble3D val="0"/>
          <c:extLst>
            <c:ext xmlns:c15="http://schemas.microsoft.com/office/drawing/2012/chart" uri="{02D57815-91ED-43cb-92C2-25804820EDAC}">
              <c15:datalabelsRange>
                <c15:f>Sheet1!$E$2:$E$10</c15:f>
                <c15:dlblRangeCache>
                  <c:ptCount val="9"/>
                  <c:pt idx="0">
                    <c:v>Ruinart</c:v>
                  </c:pt>
                  <c:pt idx="1">
                    <c:v>Nicolas</c:v>
                  </c:pt>
                  <c:pt idx="2">
                    <c:v>Deutz</c:v>
                  </c:pt>
                  <c:pt idx="3">
                    <c:v>Malard</c:v>
                  </c:pt>
                  <c:pt idx="4">
                    <c:v>Laurent Perrier</c:v>
                  </c:pt>
                  <c:pt idx="5">
                    <c:v>Nicolas Feuillatte</c:v>
                  </c:pt>
                  <c:pt idx="6">
                    <c:v>Heidsieck &amp; Co Monopole</c:v>
                  </c:pt>
                  <c:pt idx="7">
                    <c:v>Ayala</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3"/>
          <c:min val="19"/>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4929021-BB9E-4C5E-B3DE-D756CFD2E89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E7D1186-4BDA-4B35-87DD-2ED4783E33D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2C8D91D-B64B-4D8D-9F8C-8B873BB4488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9B09A0E-2F72-4705-BEE1-FF4C906DAF0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AE74F43-871A-4166-93F2-4528EC9989D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FDFE64E-0171-4BD4-9C1A-9B45E3352CE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C14599D-D309-427E-8ED4-77C52AA867C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E0A14C1C-AB73-405E-9161-80150F51FF1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97.277500000000003</c:v>
                </c:pt>
                <c:pt idx="1">
                  <c:v>39.03</c:v>
                </c:pt>
                <c:pt idx="2">
                  <c:v>35.237200000000001</c:v>
                </c:pt>
                <c:pt idx="3">
                  <c:v>58.893099999999997</c:v>
                </c:pt>
                <c:pt idx="4">
                  <c:v>46.434600000000003</c:v>
                </c:pt>
                <c:pt idx="5">
                  <c:v>52.797199999999997</c:v>
                </c:pt>
                <c:pt idx="6">
                  <c:v>37.828899999999997</c:v>
                </c:pt>
                <c:pt idx="7">
                  <c:v>75.531400000000005</c:v>
                </c:pt>
              </c:numCache>
            </c:numRef>
          </c:xVal>
          <c:yVal>
            <c:numRef>
              <c:f>Sheet1!$B$2:$B$9</c:f>
              <c:numCache>
                <c:formatCode>General</c:formatCode>
                <c:ptCount val="8"/>
                <c:pt idx="0">
                  <c:v>1.3140000000000001</c:v>
                </c:pt>
                <c:pt idx="1">
                  <c:v>0.54800000000000004</c:v>
                </c:pt>
                <c:pt idx="2">
                  <c:v>0.47499999999999998</c:v>
                </c:pt>
                <c:pt idx="3">
                  <c:v>0.82</c:v>
                </c:pt>
                <c:pt idx="4">
                  <c:v>0.626</c:v>
                </c:pt>
                <c:pt idx="5">
                  <c:v>0.70899999999999996</c:v>
                </c:pt>
                <c:pt idx="6">
                  <c:v>0.51</c:v>
                </c:pt>
                <c:pt idx="7">
                  <c:v>1.016</c:v>
                </c:pt>
              </c:numCache>
            </c:numRef>
          </c:yVal>
          <c:bubbleSize>
            <c:numRef>
              <c:f>Sheet1!$C$2:$C$9</c:f>
              <c:numCache>
                <c:formatCode>General</c:formatCode>
                <c:ptCount val="8"/>
                <c:pt idx="0">
                  <c:v>3647322</c:v>
                </c:pt>
                <c:pt idx="1">
                  <c:v>359310</c:v>
                </c:pt>
                <c:pt idx="2">
                  <c:v>311285</c:v>
                </c:pt>
                <c:pt idx="3">
                  <c:v>215961</c:v>
                </c:pt>
                <c:pt idx="4">
                  <c:v>195397</c:v>
                </c:pt>
                <c:pt idx="5">
                  <c:v>139279</c:v>
                </c:pt>
                <c:pt idx="6">
                  <c:v>115643</c:v>
                </c:pt>
                <c:pt idx="7">
                  <c:v>102194</c:v>
                </c:pt>
              </c:numCache>
            </c:numRef>
          </c:bubbleSize>
          <c:bubble3D val="0"/>
          <c:extLst>
            <c:ext xmlns:c15="http://schemas.microsoft.com/office/drawing/2012/chart" uri="{02D57815-91ED-43cb-92C2-25804820EDAC}">
              <c15:datalabelsRange>
                <c15:f>Sheet1!$E$2:$E$10</c15:f>
                <c15:dlblRangeCache>
                  <c:ptCount val="9"/>
                  <c:pt idx="0">
                    <c:v>Ruinart</c:v>
                  </c:pt>
                  <c:pt idx="1">
                    <c:v>Nicolas</c:v>
                  </c:pt>
                  <c:pt idx="2">
                    <c:v>Malard</c:v>
                  </c:pt>
                  <c:pt idx="3">
                    <c:v>Besserat De Bellefon</c:v>
                  </c:pt>
                  <c:pt idx="4">
                    <c:v>Henriot</c:v>
                  </c:pt>
                  <c:pt idx="5">
                    <c:v>Delamotte</c:v>
                  </c:pt>
                  <c:pt idx="6">
                    <c:v>De Bligny</c:v>
                  </c:pt>
                  <c:pt idx="7">
                    <c:v>Ayala</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17"/>
          <c:min val="28"/>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EE98DBDB-CE8A-4DD2-A58B-04B0B7FFC7B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DEBEA2B2-49FA-4160-B623-D15B6FEB719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8D714C0F-DA10-4D42-A96A-0A3DD22687F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881199FD-9F0E-4C36-8B36-EACF3832B9B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4098121A-38DB-4F70-B74C-F6B93A96739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C1C1B2DC-3948-4D1A-87B7-0764BD7FE2E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6501FFDB-ED09-4A56-AB66-3E195E821F0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E088EB44-6EA2-46DB-885C-440D4E88F35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57.156300000000002</c:v>
                </c:pt>
                <c:pt idx="1">
                  <c:v>22.1584</c:v>
                </c:pt>
                <c:pt idx="2">
                  <c:v>47.828200000000002</c:v>
                </c:pt>
                <c:pt idx="3">
                  <c:v>48.481099999999998</c:v>
                </c:pt>
                <c:pt idx="4">
                  <c:v>29.301100000000002</c:v>
                </c:pt>
                <c:pt idx="5">
                  <c:v>37.0914</c:v>
                </c:pt>
                <c:pt idx="6">
                  <c:v>51.601100000000002</c:v>
                </c:pt>
                <c:pt idx="7">
                  <c:v>29.787600000000001</c:v>
                </c:pt>
              </c:numCache>
            </c:numRef>
          </c:xVal>
          <c:yVal>
            <c:numRef>
              <c:f>Sheet1!$B$2:$B$9</c:f>
              <c:numCache>
                <c:formatCode>General</c:formatCode>
                <c:ptCount val="8"/>
                <c:pt idx="0">
                  <c:v>1.4279999999999999</c:v>
                </c:pt>
                <c:pt idx="1">
                  <c:v>0.56100000000000005</c:v>
                </c:pt>
                <c:pt idx="2">
                  <c:v>1.179</c:v>
                </c:pt>
                <c:pt idx="3">
                  <c:v>1.0920000000000001</c:v>
                </c:pt>
                <c:pt idx="4">
                  <c:v>0.74</c:v>
                </c:pt>
                <c:pt idx="5">
                  <c:v>0.93700000000000006</c:v>
                </c:pt>
                <c:pt idx="6">
                  <c:v>1.151</c:v>
                </c:pt>
                <c:pt idx="7">
                  <c:v>0.78400000000000003</c:v>
                </c:pt>
              </c:numCache>
            </c:numRef>
          </c:yVal>
          <c:bubbleSize>
            <c:numRef>
              <c:f>Sheet1!$C$2:$C$9</c:f>
              <c:numCache>
                <c:formatCode>General</c:formatCode>
                <c:ptCount val="8"/>
                <c:pt idx="0">
                  <c:v>6106691</c:v>
                </c:pt>
                <c:pt idx="1">
                  <c:v>3088765</c:v>
                </c:pt>
                <c:pt idx="2">
                  <c:v>2973050</c:v>
                </c:pt>
                <c:pt idx="3">
                  <c:v>1954226</c:v>
                </c:pt>
                <c:pt idx="4">
                  <c:v>1391478</c:v>
                </c:pt>
                <c:pt idx="5">
                  <c:v>1230508</c:v>
                </c:pt>
                <c:pt idx="6">
                  <c:v>1142706</c:v>
                </c:pt>
                <c:pt idx="7">
                  <c:v>1141224</c:v>
                </c:pt>
              </c:numCache>
            </c:numRef>
          </c:bubbleSize>
          <c:bubble3D val="0"/>
          <c:extLst>
            <c:ext xmlns:c15="http://schemas.microsoft.com/office/drawing/2012/chart" uri="{02D57815-91ED-43cb-92C2-25804820EDAC}">
              <c15:datalabelsRange>
                <c15:f>Sheet1!$E$2:$E$10</c15:f>
                <c15:dlblRangeCache>
                  <c:ptCount val="9"/>
                  <c:pt idx="0">
                    <c:v>Ruinart</c:v>
                  </c:pt>
                  <c:pt idx="1">
                    <c:v>Nicolas</c:v>
                  </c:pt>
                  <c:pt idx="2">
                    <c:v>Deutz</c:v>
                  </c:pt>
                  <c:pt idx="3">
                    <c:v>Laurent Perrier</c:v>
                  </c:pt>
                  <c:pt idx="4">
                    <c:v>Heidsieck &amp; Co Monopole</c:v>
                  </c:pt>
                  <c:pt idx="5">
                    <c:v>Ayala</c:v>
                  </c:pt>
                  <c:pt idx="6">
                    <c:v>Taittinger</c:v>
                  </c:pt>
                  <c:pt idx="7">
                    <c:v>Canard Duchêne</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9"/>
          <c:min val="18"/>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7F1B3E2F-5EDA-4C69-96BC-FBC0E261F43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0A07FB30-4B75-45D3-9102-CCDE3E19566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71-46D6-BBFE-7C00E0D51738}"/>
                </c:ext>
              </c:extLst>
            </c:dLbl>
            <c:dLbl>
              <c:idx val="3"/>
              <c:tx>
                <c:rich>
                  <a:bodyPr/>
                  <a:lstStyle/>
                  <a:p>
                    <a:fld id="{B28CCC5B-0774-440B-B424-367606E7C30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71-46D6-BBFE-7C00E0D51738}"/>
                </c:ext>
              </c:extLst>
            </c:dLbl>
            <c:dLbl>
              <c:idx val="4"/>
              <c:tx>
                <c:rich>
                  <a:bodyPr/>
                  <a:lstStyle/>
                  <a:p>
                    <a:fld id="{60397894-1036-404C-A99F-8447ECBF75E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D871-46D6-BBFE-7C00E0D51738}"/>
                </c:ext>
              </c:extLst>
            </c:dLbl>
            <c:dLbl>
              <c:idx val="5"/>
              <c:tx>
                <c:rich>
                  <a:bodyPr/>
                  <a:lstStyle/>
                  <a:p>
                    <a:fld id="{5E36329B-93A0-470F-9E68-DA4EA49F872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71-46D6-BBFE-7C00E0D51738}"/>
                </c:ext>
              </c:extLst>
            </c:dLbl>
            <c:dLbl>
              <c:idx val="6"/>
              <c:tx>
                <c:rich>
                  <a:bodyPr/>
                  <a:lstStyle/>
                  <a:p>
                    <a:fld id="{CB81C1FA-F3CA-492B-B79F-DA740058CB0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71-46D6-BBFE-7C00E0D51738}"/>
                </c:ext>
              </c:extLst>
            </c:dLbl>
            <c:dLbl>
              <c:idx val="7"/>
              <c:tx>
                <c:rich>
                  <a:bodyPr/>
                  <a:lstStyle/>
                  <a:p>
                    <a:fld id="{AC841926-26AF-474F-990A-D7E0D30A280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71-46D6-BBFE-7C00E0D51738}"/>
                </c:ext>
              </c:extLst>
            </c:dLbl>
            <c:dLbl>
              <c:idx val="8"/>
              <c:tx>
                <c:rich>
                  <a:bodyPr/>
                  <a:lstStyle/>
                  <a:p>
                    <a:fld id="{BC11450D-C2FD-45AF-B74A-4152AFE9CBA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29.6662</c:v>
                </c:pt>
                <c:pt idx="1">
                  <c:v>30.448499999999999</c:v>
                </c:pt>
                <c:pt idx="2">
                  <c:v>31.352499999999999</c:v>
                </c:pt>
                <c:pt idx="3">
                  <c:v>34.601999999999997</c:v>
                </c:pt>
              </c:numCache>
            </c:numRef>
          </c:xVal>
          <c:yVal>
            <c:numRef>
              <c:f>Sheet1!$B$2:$B$5</c:f>
              <c:numCache>
                <c:formatCode>General</c:formatCode>
                <c:ptCount val="4"/>
                <c:pt idx="0">
                  <c:v>0.98799999999999999</c:v>
                </c:pt>
                <c:pt idx="1">
                  <c:v>1.014</c:v>
                </c:pt>
                <c:pt idx="2">
                  <c:v>1.044</c:v>
                </c:pt>
                <c:pt idx="3">
                  <c:v>1.097</c:v>
                </c:pt>
              </c:numCache>
            </c:numRef>
          </c:yVal>
          <c:bubbleSize>
            <c:numRef>
              <c:f>Sheet1!$C$2:$C$5</c:f>
              <c:numCache>
                <c:formatCode>General</c:formatCode>
                <c:ptCount val="4"/>
                <c:pt idx="0">
                  <c:v>1479719</c:v>
                </c:pt>
                <c:pt idx="1">
                  <c:v>386635</c:v>
                </c:pt>
                <c:pt idx="2">
                  <c:v>205547</c:v>
                </c:pt>
                <c:pt idx="3">
                  <c:v>45640</c:v>
                </c:pt>
              </c:numCache>
            </c:numRef>
          </c:bubbleSize>
          <c:bubble3D val="0"/>
          <c:extLst>
            <c:ext xmlns:c15="http://schemas.microsoft.com/office/drawing/2012/chart" uri="{02D57815-91ED-43cb-92C2-25804820EDAC}">
              <c15:datalabelsRange>
                <c15:f>Sheet1!$E$2:$E$10</c15:f>
                <c15:dlblRangeCache>
                  <c:ptCount val="9"/>
                  <c:pt idx="0">
                    <c:v>Malard</c:v>
                  </c:pt>
                  <c:pt idx="1">
                    <c:v>Vesselle</c:v>
                  </c:pt>
                  <c:pt idx="2">
                    <c:v>Louis Martin</c:v>
                  </c:pt>
                  <c:pt idx="3">
                    <c:v>Nicolas</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2"/>
          <c:min val="24"/>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CA-4C16-90F6-A0D9A3D8DA8E}"/>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CA-4C16-90F6-A0D9A3D8DA8E}"/>
                </c:ext>
              </c:extLst>
            </c:dLbl>
            <c:dLbl>
              <c:idx val="1"/>
              <c:tx>
                <c:rich>
                  <a:bodyPr/>
                  <a:lstStyle/>
                  <a:p>
                    <a:fld id="{A0D1E74F-BF65-4AC8-B129-2768564782E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CA-4C16-90F6-A0D9A3D8DA8E}"/>
                </c:ext>
              </c:extLst>
            </c:dLbl>
            <c:dLbl>
              <c:idx val="2"/>
              <c:tx>
                <c:rich>
                  <a:bodyPr/>
                  <a:lstStyle/>
                  <a:p>
                    <a:fld id="{2E1807CE-7B05-4004-9989-63A7F16C542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CA-4C16-90F6-A0D9A3D8DA8E}"/>
                </c:ext>
              </c:extLst>
            </c:dLbl>
            <c:dLbl>
              <c:idx val="3"/>
              <c:tx>
                <c:rich>
                  <a:bodyPr/>
                  <a:lstStyle/>
                  <a:p>
                    <a:fld id="{61DF959E-7213-4082-967C-B47E268A2DB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D8CA-4C16-90F6-A0D9A3D8DA8E}"/>
                </c:ext>
              </c:extLst>
            </c:dLbl>
            <c:dLbl>
              <c:idx val="4"/>
              <c:tx>
                <c:rich>
                  <a:bodyPr/>
                  <a:lstStyle/>
                  <a:p>
                    <a:fld id="{DB59F546-BE9E-4884-94AD-D16B0DD90F0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D8CA-4C16-90F6-A0D9A3D8DA8E}"/>
                </c:ext>
              </c:extLst>
            </c:dLbl>
            <c:dLbl>
              <c:idx val="5"/>
              <c:tx>
                <c:rich>
                  <a:bodyPr/>
                  <a:lstStyle/>
                  <a:p>
                    <a:fld id="{4F1F8FD4-8DA5-41AA-9118-37F93494FA3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CA-4C16-90F6-A0D9A3D8DA8E}"/>
                </c:ext>
              </c:extLst>
            </c:dLbl>
            <c:dLbl>
              <c:idx val="6"/>
              <c:tx>
                <c:rich>
                  <a:bodyPr/>
                  <a:lstStyle/>
                  <a:p>
                    <a:fld id="{B2B8AECD-00F2-4442-8F65-5363AB48326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CA-4C16-90F6-A0D9A3D8DA8E}"/>
                </c:ext>
              </c:extLst>
            </c:dLbl>
            <c:dLbl>
              <c:idx val="7"/>
              <c:tx>
                <c:rich>
                  <a:bodyPr/>
                  <a:lstStyle/>
                  <a:p>
                    <a:fld id="{C327E925-76E1-4A18-97B1-DF9EECE6745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CA-4C16-90F6-A0D9A3D8DA8E}"/>
                </c:ext>
              </c:extLst>
            </c:dLbl>
            <c:dLbl>
              <c:idx val="8"/>
              <c:tx>
                <c:rich>
                  <a:bodyPr/>
                  <a:lstStyle/>
                  <a:p>
                    <a:fld id="{9DCDA325-9EDC-41D4-99F7-6EAA0AEB1CA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CA-4C16-90F6-A0D9A3D8DA8E}"/>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31.1982</c:v>
                </c:pt>
                <c:pt idx="1">
                  <c:v>43.2714</c:v>
                </c:pt>
                <c:pt idx="2">
                  <c:v>38.2958</c:v>
                </c:pt>
              </c:numCache>
            </c:numRef>
          </c:xVal>
          <c:yVal>
            <c:numRef>
              <c:f>Sheet1!$B$2:$B$4</c:f>
              <c:numCache>
                <c:formatCode>General</c:formatCode>
                <c:ptCount val="3"/>
                <c:pt idx="0">
                  <c:v>0.93600000000000005</c:v>
                </c:pt>
                <c:pt idx="1">
                  <c:v>1.298</c:v>
                </c:pt>
                <c:pt idx="2">
                  <c:v>1.1539999999999999</c:v>
                </c:pt>
              </c:numCache>
            </c:numRef>
          </c:yVal>
          <c:bubbleSize>
            <c:numRef>
              <c:f>Sheet1!$C$2:$C$4</c:f>
              <c:numCache>
                <c:formatCode>General</c:formatCode>
                <c:ptCount val="3"/>
                <c:pt idx="0">
                  <c:v>1328637</c:v>
                </c:pt>
                <c:pt idx="1">
                  <c:v>380745</c:v>
                </c:pt>
                <c:pt idx="2">
                  <c:v>21752</c:v>
                </c:pt>
              </c:numCache>
            </c:numRef>
          </c:bubbleSize>
          <c:bubble3D val="0"/>
          <c:extLst>
            <c:ext xmlns:c15="http://schemas.microsoft.com/office/drawing/2012/chart" uri="{02D57815-91ED-43cb-92C2-25804820EDAC}">
              <c15:datalabelsRange>
                <c15:f>Sheet1!$E$2:$E$10</c15:f>
                <c15:dlblRangeCache>
                  <c:ptCount val="9"/>
                  <c:pt idx="0">
                    <c:v>Nicolas Feuillatte</c:v>
                  </c:pt>
                  <c:pt idx="1">
                    <c:v>Moët &amp; Chandon</c:v>
                  </c:pt>
                  <c:pt idx="2">
                    <c:v>Canard Duchêne</c:v>
                  </c:pt>
                </c15:dlblRangeCache>
              </c15:datalabelsRange>
            </c:ext>
            <c:ext xmlns:c16="http://schemas.microsoft.com/office/drawing/2014/chart" uri="{C3380CC4-5D6E-409C-BE32-E72D297353CC}">
              <c16:uniqueId val="{00000009-D8CA-4C16-90F6-A0D9A3D8DA8E}"/>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2"/>
          <c:min val="25"/>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83EEE5F-085F-48C9-BDBF-62A500A5551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9AFC4C2-ADB3-4BA3-9574-EC42AAC3EC7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F072BF5-4D05-4256-B899-A67DF481CF1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D6F1B03-5857-49DF-B7C7-A9B14A7B01C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29FBADF-2A3A-493A-AB86-76E44397C5D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DE86D18-1166-4856-B7AC-58BB0DE9A72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1B4BA984-9CF1-44A5-905E-2AEFE403F7C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368912C1-F500-4C33-BCEE-7E74C6889F2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60.2851</c:v>
                </c:pt>
                <c:pt idx="1">
                  <c:v>167.43950000000001</c:v>
                </c:pt>
                <c:pt idx="2">
                  <c:v>92.243399999999994</c:v>
                </c:pt>
                <c:pt idx="3">
                  <c:v>37.205300000000001</c:v>
                </c:pt>
                <c:pt idx="4">
                  <c:v>236.89070000000001</c:v>
                </c:pt>
                <c:pt idx="5">
                  <c:v>62.492800000000003</c:v>
                </c:pt>
                <c:pt idx="6">
                  <c:v>199.75</c:v>
                </c:pt>
                <c:pt idx="7">
                  <c:v>262.91759999999999</c:v>
                </c:pt>
              </c:numCache>
            </c:numRef>
          </c:xVal>
          <c:yVal>
            <c:numRef>
              <c:f>Sheet1!$B$2:$B$9</c:f>
              <c:numCache>
                <c:formatCode>General</c:formatCode>
                <c:ptCount val="8"/>
                <c:pt idx="0">
                  <c:v>1.927</c:v>
                </c:pt>
                <c:pt idx="1">
                  <c:v>1.2230000000000001</c:v>
                </c:pt>
                <c:pt idx="2">
                  <c:v>0.68899999999999995</c:v>
                </c:pt>
                <c:pt idx="3">
                  <c:v>0.27700000000000002</c:v>
                </c:pt>
                <c:pt idx="4">
                  <c:v>1.69</c:v>
                </c:pt>
                <c:pt idx="5">
                  <c:v>0.46300000000000002</c:v>
                </c:pt>
                <c:pt idx="6">
                  <c:v>1.421</c:v>
                </c:pt>
                <c:pt idx="7">
                  <c:v>1.605</c:v>
                </c:pt>
              </c:numCache>
            </c:numRef>
          </c:yVal>
          <c:bubbleSize>
            <c:numRef>
              <c:f>Sheet1!$C$2:$C$9</c:f>
              <c:numCache>
                <c:formatCode>General</c:formatCode>
                <c:ptCount val="8"/>
                <c:pt idx="0">
                  <c:v>723853</c:v>
                </c:pt>
                <c:pt idx="1">
                  <c:v>455603</c:v>
                </c:pt>
                <c:pt idx="2">
                  <c:v>160319</c:v>
                </c:pt>
                <c:pt idx="3">
                  <c:v>138478</c:v>
                </c:pt>
                <c:pt idx="4">
                  <c:v>58512</c:v>
                </c:pt>
                <c:pt idx="5">
                  <c:v>51869</c:v>
                </c:pt>
                <c:pt idx="6">
                  <c:v>31960</c:v>
                </c:pt>
                <c:pt idx="7">
                  <c:v>22348</c:v>
                </c:pt>
              </c:numCache>
            </c:numRef>
          </c:bubbleSize>
          <c:bubble3D val="0"/>
          <c:extLst>
            <c:ext xmlns:c15="http://schemas.microsoft.com/office/drawing/2012/chart" uri="{02D57815-91ED-43cb-92C2-25804820EDAC}">
              <c15:datalabelsRange>
                <c15:f>Sheet1!$E$2:$E$10</c15:f>
                <c15:dlblRangeCache>
                  <c:ptCount val="9"/>
                  <c:pt idx="0">
                    <c:v>Dom Perignon</c:v>
                  </c:pt>
                  <c:pt idx="1">
                    <c:v>Roederer</c:v>
                  </c:pt>
                  <c:pt idx="2">
                    <c:v>Ruinart</c:v>
                  </c:pt>
                  <c:pt idx="3">
                    <c:v>Malard</c:v>
                  </c:pt>
                  <c:pt idx="4">
                    <c:v>Bollinger</c:v>
                  </c:pt>
                  <c:pt idx="5">
                    <c:v>Laurent Perrier</c:v>
                  </c:pt>
                  <c:pt idx="6">
                    <c:v>Veuve Clicquot</c:v>
                  </c:pt>
                  <c:pt idx="7">
                    <c:v>Pommer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16"/>
          <c:min val="30"/>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A88C502C-191E-42F6-80BA-B6DA68C22F3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A5772324-A87C-437A-9F91-1516C5B3A7B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6BE155EF-F60E-4BC3-924D-C519FD38999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1860AE17-045D-44F8-A136-90BFA547D7E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9F209BCF-FEDF-42CD-8429-401CC9EFAB7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1A609B61-FD21-4703-8018-E6281ABEFDF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D959C021-09AC-45AE-B2E2-C6FE4DBDB41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65880A13-EB95-4B98-88E9-0B720557956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90.459900000000005</c:v>
                </c:pt>
                <c:pt idx="1">
                  <c:v>52.298299999999998</c:v>
                </c:pt>
                <c:pt idx="2">
                  <c:v>37.457799999999999</c:v>
                </c:pt>
                <c:pt idx="3">
                  <c:v>26.686</c:v>
                </c:pt>
                <c:pt idx="4">
                  <c:v>80.477099999999993</c:v>
                </c:pt>
                <c:pt idx="5">
                  <c:v>37.464500000000001</c:v>
                </c:pt>
                <c:pt idx="6">
                  <c:v>40.722099999999998</c:v>
                </c:pt>
                <c:pt idx="7">
                  <c:v>36.009099999999997</c:v>
                </c:pt>
              </c:numCache>
            </c:numRef>
          </c:xVal>
          <c:yVal>
            <c:numRef>
              <c:f>Sheet1!$B$2:$B$9</c:f>
              <c:numCache>
                <c:formatCode>General</c:formatCode>
                <c:ptCount val="8"/>
                <c:pt idx="0">
                  <c:v>1.6060000000000001</c:v>
                </c:pt>
                <c:pt idx="1">
                  <c:v>1.0249999999999999</c:v>
                </c:pt>
                <c:pt idx="2">
                  <c:v>0.64900000000000002</c:v>
                </c:pt>
                <c:pt idx="3">
                  <c:v>0.499</c:v>
                </c:pt>
                <c:pt idx="4">
                  <c:v>1.393</c:v>
                </c:pt>
                <c:pt idx="5">
                  <c:v>0.64900000000000002</c:v>
                </c:pt>
                <c:pt idx="6">
                  <c:v>0.83799999999999997</c:v>
                </c:pt>
                <c:pt idx="7">
                  <c:v>0.624</c:v>
                </c:pt>
              </c:numCache>
            </c:numRef>
          </c:yVal>
          <c:bubbleSize>
            <c:numRef>
              <c:f>Sheet1!$C$2:$C$9</c:f>
              <c:numCache>
                <c:formatCode>General</c:formatCode>
                <c:ptCount val="8"/>
                <c:pt idx="0">
                  <c:v>846795</c:v>
                </c:pt>
                <c:pt idx="1">
                  <c:v>409757</c:v>
                </c:pt>
                <c:pt idx="2">
                  <c:v>299063</c:v>
                </c:pt>
                <c:pt idx="3">
                  <c:v>268461</c:v>
                </c:pt>
                <c:pt idx="4">
                  <c:v>258734</c:v>
                </c:pt>
                <c:pt idx="5">
                  <c:v>163645</c:v>
                </c:pt>
                <c:pt idx="6">
                  <c:v>140369</c:v>
                </c:pt>
                <c:pt idx="7">
                  <c:v>130497</c:v>
                </c:pt>
              </c:numCache>
            </c:numRef>
          </c:bubbleSize>
          <c:bubble3D val="0"/>
          <c:extLst>
            <c:ext xmlns:c15="http://schemas.microsoft.com/office/drawing/2012/chart" uri="{02D57815-91ED-43cb-92C2-25804820EDAC}">
              <c15:datalabelsRange>
                <c15:f>Sheet1!$E$2:$E$10</c15:f>
                <c15:dlblRangeCache>
                  <c:ptCount val="9"/>
                  <c:pt idx="0">
                    <c:v>Ruinart</c:v>
                  </c:pt>
                  <c:pt idx="1">
                    <c:v>Deutz</c:v>
                  </c:pt>
                  <c:pt idx="2">
                    <c:v>Demoiselle</c:v>
                  </c:pt>
                  <c:pt idx="3">
                    <c:v>Nicolas</c:v>
                  </c:pt>
                  <c:pt idx="4">
                    <c:v>Laurent Perrier</c:v>
                  </c:pt>
                  <c:pt idx="5">
                    <c:v>Nicolas Feuillatte</c:v>
                  </c:pt>
                  <c:pt idx="6">
                    <c:v>Besserat De Bellefon</c:v>
                  </c:pt>
                  <c:pt idx="7">
                    <c:v>Malard</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09"/>
          <c:min val="21"/>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2D37A390-4108-410E-9D45-3DECEF0006A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D871-46D6-BBFE-7C00E0D51738}"/>
                </c:ext>
              </c:extLst>
            </c:dLbl>
            <c:dLbl>
              <c:idx val="2"/>
              <c:tx>
                <c:rich>
                  <a:bodyPr/>
                  <a:lstStyle/>
                  <a:p>
                    <a:fld id="{92AAC8AB-6286-4F95-87DF-64C0E5961C7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D871-46D6-BBFE-7C00E0D51738}"/>
                </c:ext>
              </c:extLst>
            </c:dLbl>
            <c:dLbl>
              <c:idx val="3"/>
              <c:tx>
                <c:rich>
                  <a:bodyPr/>
                  <a:lstStyle/>
                  <a:p>
                    <a:fld id="{0E8F3A70-FC59-44BA-99EB-17FFD5E5571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D871-46D6-BBFE-7C00E0D51738}"/>
                </c:ext>
              </c:extLst>
            </c:dLbl>
            <c:dLbl>
              <c:idx val="4"/>
              <c:tx>
                <c:rich>
                  <a:bodyPr/>
                  <a:lstStyle/>
                  <a:p>
                    <a:fld id="{569A11D7-AAB0-4459-965D-030118E9D97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D871-46D6-BBFE-7C00E0D51738}"/>
                </c:ext>
              </c:extLst>
            </c:dLbl>
            <c:dLbl>
              <c:idx val="5"/>
              <c:tx>
                <c:rich>
                  <a:bodyPr/>
                  <a:lstStyle/>
                  <a:p>
                    <a:fld id="{62BEA9A1-D30F-4328-8EA2-9E3564D1796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71-46D6-BBFE-7C00E0D51738}"/>
                </c:ext>
              </c:extLst>
            </c:dLbl>
            <c:dLbl>
              <c:idx val="6"/>
              <c:tx>
                <c:rich>
                  <a:bodyPr/>
                  <a:lstStyle/>
                  <a:p>
                    <a:fld id="{B466C135-2891-4915-B5B6-C3ECECAA1FF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71-46D6-BBFE-7C00E0D51738}"/>
                </c:ext>
              </c:extLst>
            </c:dLbl>
            <c:dLbl>
              <c:idx val="7"/>
              <c:tx>
                <c:rich>
                  <a:bodyPr/>
                  <a:lstStyle/>
                  <a:p>
                    <a:fld id="{B32882FC-7F42-4E39-B71C-87C66F9ABE6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71-46D6-BBFE-7C00E0D51738}"/>
                </c:ext>
              </c:extLst>
            </c:dLbl>
            <c:dLbl>
              <c:idx val="8"/>
              <c:tx>
                <c:rich>
                  <a:bodyPr/>
                  <a:lstStyle/>
                  <a:p>
                    <a:fld id="{2EA42AEB-4CBD-4838-B992-DC63E28F174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2.776999999999999</c:v>
                </c:pt>
              </c:numCache>
            </c:numRef>
          </c:xVal>
          <c:yVal>
            <c:numRef>
              <c:f>Sheet1!$B$2:$B$2</c:f>
              <c:numCache>
                <c:formatCode>General</c:formatCode>
                <c:ptCount val="1"/>
                <c:pt idx="0">
                  <c:v>1</c:v>
                </c:pt>
              </c:numCache>
            </c:numRef>
          </c:yVal>
          <c:bubbleSize>
            <c:numRef>
              <c:f>Sheet1!$C$2:$C$2</c:f>
              <c:numCache>
                <c:formatCode>General</c:formatCode>
                <c:ptCount val="1"/>
                <c:pt idx="0">
                  <c:v>352518</c:v>
                </c:pt>
              </c:numCache>
            </c:numRef>
          </c:bubbleSize>
          <c:bubble3D val="0"/>
          <c:extLst>
            <c:ext xmlns:c15="http://schemas.microsoft.com/office/drawing/2012/chart" uri="{02D57815-91ED-43cb-92C2-25804820EDAC}">
              <c15:datalabelsRange>
                <c15:f>Sheet1!$E$2:$E$10</c15:f>
                <c15:dlblRangeCache>
                  <c:ptCount val="9"/>
                  <c:pt idx="0">
                    <c:v>Patriarche</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5"/>
          <c:min val="10"/>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CA-4C16-90F6-A0D9A3D8DA8E}"/>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CA-4C16-90F6-A0D9A3D8DA8E}"/>
                </c:ext>
              </c:extLst>
            </c:dLbl>
            <c:dLbl>
              <c:idx val="1"/>
              <c:tx>
                <c:rich>
                  <a:bodyPr/>
                  <a:lstStyle/>
                  <a:p>
                    <a:fld id="{14579674-457F-4FFF-B207-4B76C0D8CAB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CA-4C16-90F6-A0D9A3D8DA8E}"/>
                </c:ext>
              </c:extLst>
            </c:dLbl>
            <c:dLbl>
              <c:idx val="2"/>
              <c:tx>
                <c:rich>
                  <a:bodyPr/>
                  <a:lstStyle/>
                  <a:p>
                    <a:fld id="{9AABF59C-E169-463D-922F-EB44CA2CD49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CA-4C16-90F6-A0D9A3D8DA8E}"/>
                </c:ext>
              </c:extLst>
            </c:dLbl>
            <c:dLbl>
              <c:idx val="3"/>
              <c:tx>
                <c:rich>
                  <a:bodyPr/>
                  <a:lstStyle/>
                  <a:p>
                    <a:fld id="{73953CFE-195F-4DA8-ADB3-A5A701C6D4B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D8CA-4C16-90F6-A0D9A3D8DA8E}"/>
                </c:ext>
              </c:extLst>
            </c:dLbl>
            <c:dLbl>
              <c:idx val="4"/>
              <c:tx>
                <c:rich>
                  <a:bodyPr/>
                  <a:lstStyle/>
                  <a:p>
                    <a:fld id="{7F2B8A3D-4319-499C-999E-6D4E4F7639B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D8CA-4C16-90F6-A0D9A3D8DA8E}"/>
                </c:ext>
              </c:extLst>
            </c:dLbl>
            <c:dLbl>
              <c:idx val="5"/>
              <c:tx>
                <c:rich>
                  <a:bodyPr/>
                  <a:lstStyle/>
                  <a:p>
                    <a:fld id="{3D8A7350-26D7-45AE-B66A-8E341EB4DEE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CA-4C16-90F6-A0D9A3D8DA8E}"/>
                </c:ext>
              </c:extLst>
            </c:dLbl>
            <c:dLbl>
              <c:idx val="6"/>
              <c:tx>
                <c:rich>
                  <a:bodyPr/>
                  <a:lstStyle/>
                  <a:p>
                    <a:fld id="{BA64E6F1-027A-4B21-A4FE-3D12A88679F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CA-4C16-90F6-A0D9A3D8DA8E}"/>
                </c:ext>
              </c:extLst>
            </c:dLbl>
            <c:dLbl>
              <c:idx val="7"/>
              <c:tx>
                <c:rich>
                  <a:bodyPr/>
                  <a:lstStyle/>
                  <a:p>
                    <a:fld id="{D8F77057-29FB-44EB-8804-FA836A48D64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CA-4C16-90F6-A0D9A3D8DA8E}"/>
                </c:ext>
              </c:extLst>
            </c:dLbl>
            <c:dLbl>
              <c:idx val="8"/>
              <c:tx>
                <c:rich>
                  <a:bodyPr/>
                  <a:lstStyle/>
                  <a:p>
                    <a:fld id="{5137E1D3-CB71-4712-A12B-0C3D2989AC6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CA-4C16-90F6-A0D9A3D8DA8E}"/>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1.437099999999999</c:v>
                </c:pt>
                <c:pt idx="1">
                  <c:v>9.0905000000000005</c:v>
                </c:pt>
                <c:pt idx="2">
                  <c:v>11.5092</c:v>
                </c:pt>
              </c:numCache>
            </c:numRef>
          </c:xVal>
          <c:yVal>
            <c:numRef>
              <c:f>Sheet1!$B$2:$B$4</c:f>
              <c:numCache>
                <c:formatCode>General</c:formatCode>
                <c:ptCount val="3"/>
                <c:pt idx="0">
                  <c:v>1.264</c:v>
                </c:pt>
                <c:pt idx="1">
                  <c:v>1.0049999999999999</c:v>
                </c:pt>
                <c:pt idx="2">
                  <c:v>1.0629999999999999</c:v>
                </c:pt>
              </c:numCache>
            </c:numRef>
          </c:yVal>
          <c:bubbleSize>
            <c:numRef>
              <c:f>Sheet1!$C$2:$C$4</c:f>
              <c:numCache>
                <c:formatCode>General</c:formatCode>
                <c:ptCount val="3"/>
                <c:pt idx="0">
                  <c:v>428822</c:v>
                </c:pt>
                <c:pt idx="1">
                  <c:v>237189</c:v>
                </c:pt>
                <c:pt idx="2">
                  <c:v>61275</c:v>
                </c:pt>
              </c:numCache>
            </c:numRef>
          </c:bubbleSize>
          <c:bubble3D val="0"/>
          <c:extLst>
            <c:ext xmlns:c15="http://schemas.microsoft.com/office/drawing/2012/chart" uri="{02D57815-91ED-43cb-92C2-25804820EDAC}">
              <c15:datalabelsRange>
                <c15:f>Sheet1!$E$2:$E$10</c15:f>
                <c15:dlblRangeCache>
                  <c:ptCount val="9"/>
                  <c:pt idx="0">
                    <c:v>Bottega</c:v>
                  </c:pt>
                  <c:pt idx="1">
                    <c:v>Savian</c:v>
                  </c:pt>
                  <c:pt idx="2">
                    <c:v>Contarini</c:v>
                  </c:pt>
                </c15:dlblRangeCache>
              </c15:datalabelsRange>
            </c:ext>
            <c:ext xmlns:c16="http://schemas.microsoft.com/office/drawing/2014/chart" uri="{C3380CC4-5D6E-409C-BE32-E72D297353CC}">
              <c16:uniqueId val="{00000009-D8CA-4C16-90F6-A0D9A3D8DA8E}"/>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4"/>
          <c:min val="7"/>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E7D9A42-0A23-4323-95EC-B86EB03F359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F4476CE-91F1-4EC1-B9D0-4F991B70A36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74E7306-6C8A-46F4-B4F1-09AF9970954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31BD45B0-BA79-4D1D-8D3A-8BEBD25761C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8ADCFCC9-3142-49DD-8D1C-73C10EF5769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0B578B11-253C-4468-A67C-725514AED9B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5AA9C574-E7AE-4C49-9861-F2A944AA3F7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CE3300A1-3D53-4249-8EB9-31EE960EF62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1.3957</c:v>
                </c:pt>
                <c:pt idx="1">
                  <c:v>11.78</c:v>
                </c:pt>
                <c:pt idx="2">
                  <c:v>13.4511</c:v>
                </c:pt>
              </c:numCache>
            </c:numRef>
          </c:xVal>
          <c:yVal>
            <c:numRef>
              <c:f>Sheet1!$B$2:$B$4</c:f>
              <c:numCache>
                <c:formatCode>General</c:formatCode>
                <c:ptCount val="3"/>
                <c:pt idx="0">
                  <c:v>0.95799999999999996</c:v>
                </c:pt>
                <c:pt idx="1">
                  <c:v>0.94699999999999995</c:v>
                </c:pt>
                <c:pt idx="2">
                  <c:v>1.1299999999999999</c:v>
                </c:pt>
              </c:numCache>
            </c:numRef>
          </c:yVal>
          <c:bubbleSize>
            <c:numRef>
              <c:f>Sheet1!$C$2:$C$4</c:f>
              <c:numCache>
                <c:formatCode>General</c:formatCode>
                <c:ptCount val="3"/>
                <c:pt idx="0">
                  <c:v>224587</c:v>
                </c:pt>
                <c:pt idx="1">
                  <c:v>209943</c:v>
                </c:pt>
                <c:pt idx="2">
                  <c:v>122782</c:v>
                </c:pt>
              </c:numCache>
            </c:numRef>
          </c:bubbleSize>
          <c:bubble3D val="0"/>
          <c:extLst>
            <c:ext xmlns:c15="http://schemas.microsoft.com/office/drawing/2012/chart" uri="{02D57815-91ED-43cb-92C2-25804820EDAC}">
              <c15:datalabelsRange>
                <c15:f>Sheet1!$E$2:$E$10</c15:f>
                <c15:dlblRangeCache>
                  <c:ptCount val="9"/>
                  <c:pt idx="0">
                    <c:v>Chateau Moncontour</c:v>
                  </c:pt>
                  <c:pt idx="1">
                    <c:v>Bouvet-Ladubay</c:v>
                  </c:pt>
                  <c:pt idx="2">
                    <c:v>De Chancen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6"/>
          <c:min val="9"/>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8A5FA2D1-A8DE-42FB-8F42-4C7A52E2BE0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48EF-49EC-8B4D-EC25A4464CE3}"/>
                </c:ext>
              </c:extLst>
            </c:dLbl>
            <c:dLbl>
              <c:idx val="2"/>
              <c:tx>
                <c:rich>
                  <a:bodyPr/>
                  <a:lstStyle/>
                  <a:p>
                    <a:fld id="{F3AC4270-F6F6-413A-916B-DA88C1D3EEF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48EF-49EC-8B4D-EC25A4464CE3}"/>
                </c:ext>
              </c:extLst>
            </c:dLbl>
            <c:dLbl>
              <c:idx val="3"/>
              <c:tx>
                <c:rich>
                  <a:bodyPr/>
                  <a:lstStyle/>
                  <a:p>
                    <a:fld id="{C463E9F5-E2DF-4B78-8D5E-C0A11CD06C7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48EF-49EC-8B4D-EC25A4464CE3}"/>
                </c:ext>
              </c:extLst>
            </c:dLbl>
            <c:dLbl>
              <c:idx val="4"/>
              <c:tx>
                <c:rich>
                  <a:bodyPr/>
                  <a:lstStyle/>
                  <a:p>
                    <a:fld id="{B596FC35-DBBE-4505-86CC-A69014B0D61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48EF-49EC-8B4D-EC25A4464CE3}"/>
                </c:ext>
              </c:extLst>
            </c:dLbl>
            <c:dLbl>
              <c:idx val="5"/>
              <c:tx>
                <c:rich>
                  <a:bodyPr/>
                  <a:lstStyle/>
                  <a:p>
                    <a:fld id="{9CAD2CEB-B013-4616-A387-55B6FDF3E6C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48EF-49EC-8B4D-EC25A4464CE3}"/>
                </c:ext>
              </c:extLst>
            </c:dLbl>
            <c:dLbl>
              <c:idx val="6"/>
              <c:tx>
                <c:rich>
                  <a:bodyPr/>
                  <a:lstStyle/>
                  <a:p>
                    <a:fld id="{E29C3BB1-BECB-44A3-94C3-AF57E00B8BB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48EF-49EC-8B4D-EC25A4464CE3}"/>
                </c:ext>
              </c:extLst>
            </c:dLbl>
            <c:dLbl>
              <c:idx val="7"/>
              <c:tx>
                <c:rich>
                  <a:bodyPr/>
                  <a:lstStyle/>
                  <a:p>
                    <a:fld id="{BB0F57C6-227E-40C0-BAC4-973D99AC5A2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48EF-49EC-8B4D-EC25A4464CE3}"/>
                </c:ext>
              </c:extLst>
            </c:dLbl>
            <c:dLbl>
              <c:idx val="8"/>
              <c:tx>
                <c:rich>
                  <a:bodyPr/>
                  <a:lstStyle/>
                  <a:p>
                    <a:fld id="{42F6BDF5-F88B-4018-967E-49AF16BBB35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7.389700000000001</c:v>
                </c:pt>
              </c:numCache>
            </c:numRef>
          </c:xVal>
          <c:yVal>
            <c:numRef>
              <c:f>Sheet1!$B$2:$B$2</c:f>
              <c:numCache>
                <c:formatCode>General</c:formatCode>
                <c:ptCount val="1"/>
                <c:pt idx="0">
                  <c:v>1</c:v>
                </c:pt>
              </c:numCache>
            </c:numRef>
          </c:yVal>
          <c:bubbleSize>
            <c:numRef>
              <c:f>Sheet1!$C$2:$C$2</c:f>
              <c:numCache>
                <c:formatCode>General</c:formatCode>
                <c:ptCount val="1"/>
                <c:pt idx="0">
                  <c:v>237909</c:v>
                </c:pt>
              </c:numCache>
            </c:numRef>
          </c:bubbleSize>
          <c:bubble3D val="0"/>
          <c:extLst>
            <c:ext xmlns:c15="http://schemas.microsoft.com/office/drawing/2012/chart" uri="{02D57815-91ED-43cb-92C2-25804820EDAC}">
              <c15:datalabelsRange>
                <c15:f>Sheet1!$E$2:$E$10</c15:f>
                <c15:dlblRangeCache>
                  <c:ptCount val="9"/>
                  <c:pt idx="0">
                    <c:v>Mure</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
          <c:min val="14"/>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1934941-AA08-4F81-A85F-87AB1F16CA0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3B35B20-7AEF-4589-B5B7-5091CAAAD0B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A6A211F-5C47-496D-AF94-DBF0B89A1E6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F4650E0-CFF7-4AF3-A4E5-33A1B5D603D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57E07DA-CBA8-4A1F-88D3-A7C85B7ACF4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A752F4D-FA3F-4650-9E24-6909DDDEFDD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6C094133-A0B5-4112-890A-08310765836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DE20C701-C993-4404-A10C-07853F62E27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69.515299999999996</c:v>
                </c:pt>
                <c:pt idx="1">
                  <c:v>23.7239</c:v>
                </c:pt>
                <c:pt idx="2">
                  <c:v>49.200299999999999</c:v>
                </c:pt>
                <c:pt idx="3">
                  <c:v>31.5063</c:v>
                </c:pt>
                <c:pt idx="4">
                  <c:v>52.281500000000001</c:v>
                </c:pt>
                <c:pt idx="5">
                  <c:v>32.801400000000001</c:v>
                </c:pt>
                <c:pt idx="6">
                  <c:v>29.312200000000001</c:v>
                </c:pt>
                <c:pt idx="7">
                  <c:v>30.9068</c:v>
                </c:pt>
              </c:numCache>
            </c:numRef>
          </c:xVal>
          <c:yVal>
            <c:numRef>
              <c:f>Sheet1!$B$2:$B$9</c:f>
              <c:numCache>
                <c:formatCode>General</c:formatCode>
                <c:ptCount val="8"/>
                <c:pt idx="0">
                  <c:v>1.9810000000000001</c:v>
                </c:pt>
                <c:pt idx="1">
                  <c:v>0.68899999999999995</c:v>
                </c:pt>
                <c:pt idx="2">
                  <c:v>1.391</c:v>
                </c:pt>
                <c:pt idx="3">
                  <c:v>0.91100000000000003</c:v>
                </c:pt>
                <c:pt idx="4">
                  <c:v>1.335</c:v>
                </c:pt>
                <c:pt idx="5">
                  <c:v>0.92300000000000004</c:v>
                </c:pt>
                <c:pt idx="6">
                  <c:v>0.84799999999999998</c:v>
                </c:pt>
                <c:pt idx="7">
                  <c:v>0.89400000000000002</c:v>
                </c:pt>
              </c:numCache>
            </c:numRef>
          </c:yVal>
          <c:bubbleSize>
            <c:numRef>
              <c:f>Sheet1!$C$2:$C$9</c:f>
              <c:numCache>
                <c:formatCode>General</c:formatCode>
                <c:ptCount val="8"/>
                <c:pt idx="0">
                  <c:v>2733549</c:v>
                </c:pt>
                <c:pt idx="1">
                  <c:v>1023352</c:v>
                </c:pt>
                <c:pt idx="2">
                  <c:v>901841</c:v>
                </c:pt>
                <c:pt idx="3">
                  <c:v>627069</c:v>
                </c:pt>
                <c:pt idx="4">
                  <c:v>511679</c:v>
                </c:pt>
                <c:pt idx="5">
                  <c:v>429337</c:v>
                </c:pt>
                <c:pt idx="6">
                  <c:v>405270</c:v>
                </c:pt>
                <c:pt idx="7">
                  <c:v>374003</c:v>
                </c:pt>
              </c:numCache>
            </c:numRef>
          </c:bubbleSize>
          <c:bubble3D val="0"/>
          <c:extLst>
            <c:ext xmlns:c15="http://schemas.microsoft.com/office/drawing/2012/chart" uri="{02D57815-91ED-43cb-92C2-25804820EDAC}">
              <c15:datalabelsRange>
                <c15:f>Sheet1!$E$2:$E$10</c15:f>
                <c15:dlblRangeCache>
                  <c:ptCount val="9"/>
                  <c:pt idx="0">
                    <c:v>Ruinart</c:v>
                  </c:pt>
                  <c:pt idx="1">
                    <c:v>Nicolas</c:v>
                  </c:pt>
                  <c:pt idx="2">
                    <c:v>Deutz</c:v>
                  </c:pt>
                  <c:pt idx="3">
                    <c:v>Malard</c:v>
                  </c:pt>
                  <c:pt idx="4">
                    <c:v>Laurent Perrier</c:v>
                  </c:pt>
                  <c:pt idx="5">
                    <c:v>Nicolas Feuillatte</c:v>
                  </c:pt>
                  <c:pt idx="6">
                    <c:v>Heidsieck &amp; Co Monopole</c:v>
                  </c:pt>
                  <c:pt idx="7">
                    <c:v>De Blign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3"/>
          <c:min val="19"/>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7308AFDA-1CA4-4682-B6AF-228B63F74EC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671B0217-7859-4AAC-AD88-35A8529DC20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D871-46D6-BBFE-7C00E0D51738}"/>
                </c:ext>
              </c:extLst>
            </c:dLbl>
            <c:dLbl>
              <c:idx val="3"/>
              <c:tx>
                <c:rich>
                  <a:bodyPr/>
                  <a:lstStyle/>
                  <a:p>
                    <a:fld id="{EAB5090A-0F89-4B3F-95F3-E2826A1B1FD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D871-46D6-BBFE-7C00E0D51738}"/>
                </c:ext>
              </c:extLst>
            </c:dLbl>
            <c:dLbl>
              <c:idx val="4"/>
              <c:tx>
                <c:rich>
                  <a:bodyPr/>
                  <a:lstStyle/>
                  <a:p>
                    <a:fld id="{4839338B-57D7-465F-B2CD-8BC9C2446B2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D871-46D6-BBFE-7C00E0D51738}"/>
                </c:ext>
              </c:extLst>
            </c:dLbl>
            <c:dLbl>
              <c:idx val="5"/>
              <c:tx>
                <c:rich>
                  <a:bodyPr/>
                  <a:lstStyle/>
                  <a:p>
                    <a:fld id="{A77973CB-60E7-40EF-99A5-6D08F5CC19B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71-46D6-BBFE-7C00E0D51738}"/>
                </c:ext>
              </c:extLst>
            </c:dLbl>
            <c:dLbl>
              <c:idx val="6"/>
              <c:tx>
                <c:rich>
                  <a:bodyPr/>
                  <a:lstStyle/>
                  <a:p>
                    <a:fld id="{08D52A5B-4A4A-4635-A2D1-4CDD66B0DD1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71-46D6-BBFE-7C00E0D51738}"/>
                </c:ext>
              </c:extLst>
            </c:dLbl>
            <c:dLbl>
              <c:idx val="7"/>
              <c:tx>
                <c:rich>
                  <a:bodyPr/>
                  <a:lstStyle/>
                  <a:p>
                    <a:fld id="{ECDE83F4-D9CF-4F2C-83DD-245E1FCE827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71-46D6-BBFE-7C00E0D51738}"/>
                </c:ext>
              </c:extLst>
            </c:dLbl>
            <c:dLbl>
              <c:idx val="8"/>
              <c:tx>
                <c:rich>
                  <a:bodyPr/>
                  <a:lstStyle/>
                  <a:p>
                    <a:fld id="{296D25DD-1498-4169-9284-F7E28C53218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10.7323</c:v>
                </c:pt>
                <c:pt idx="1">
                  <c:v>9.3663000000000007</c:v>
                </c:pt>
              </c:numCache>
            </c:numRef>
          </c:xVal>
          <c:yVal>
            <c:numRef>
              <c:f>Sheet1!$B$2:$B$3</c:f>
              <c:numCache>
                <c:formatCode>General</c:formatCode>
                <c:ptCount val="2"/>
                <c:pt idx="0">
                  <c:v>1.018</c:v>
                </c:pt>
                <c:pt idx="1">
                  <c:v>0.88700000000000001</c:v>
                </c:pt>
              </c:numCache>
            </c:numRef>
          </c:yVal>
          <c:bubbleSize>
            <c:numRef>
              <c:f>Sheet1!$C$2:$C$3</c:f>
              <c:numCache>
                <c:formatCode>General</c:formatCode>
                <c:ptCount val="2"/>
                <c:pt idx="0">
                  <c:v>42865</c:v>
                </c:pt>
                <c:pt idx="1">
                  <c:v>5779</c:v>
                </c:pt>
              </c:numCache>
            </c:numRef>
          </c:bubbleSize>
          <c:bubble3D val="0"/>
          <c:extLst>
            <c:ext xmlns:c15="http://schemas.microsoft.com/office/drawing/2012/chart" uri="{02D57815-91ED-43cb-92C2-25804820EDAC}">
              <c15:datalabelsRange>
                <c15:f>Sheet1!$E$2:$E$10</c15:f>
                <c15:dlblRangeCache>
                  <c:ptCount val="9"/>
                  <c:pt idx="0">
                    <c:v>Cru La Maqueline</c:v>
                  </c:pt>
                  <c:pt idx="1">
                    <c:v>Celene</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3"/>
          <c:min val="7"/>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A4081AE-A8D0-44A2-9E4F-FAF18628CF0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7FE3F85-0223-4BD9-972B-B39229CD607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E684DD9-9E06-4740-A2F3-DFF3651C8A5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C130B93-7787-4CCF-BBCA-2CD9D78ECDA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009686A-9D3F-48B1-A96A-85CD8BDC8E2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9B14515-B425-4CD7-AE7B-2967DB29C76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C23118A6-3D19-45F9-8F2E-D6C09DD3887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BC6A9A9F-3FE7-474A-A9DD-8585EC16A8D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99.729699999999994</c:v>
                </c:pt>
                <c:pt idx="1">
                  <c:v>39.805500000000002</c:v>
                </c:pt>
                <c:pt idx="2">
                  <c:v>35.273699999999998</c:v>
                </c:pt>
                <c:pt idx="3">
                  <c:v>60.255800000000001</c:v>
                </c:pt>
                <c:pt idx="4">
                  <c:v>38.656100000000002</c:v>
                </c:pt>
                <c:pt idx="5">
                  <c:v>47.862200000000001</c:v>
                </c:pt>
                <c:pt idx="6">
                  <c:v>235.16220000000001</c:v>
                </c:pt>
                <c:pt idx="7">
                  <c:v>54.452500000000001</c:v>
                </c:pt>
              </c:numCache>
            </c:numRef>
          </c:xVal>
          <c:yVal>
            <c:numRef>
              <c:f>Sheet1!$B$2:$B$9</c:f>
              <c:numCache>
                <c:formatCode>General</c:formatCode>
                <c:ptCount val="8"/>
                <c:pt idx="0">
                  <c:v>1.224</c:v>
                </c:pt>
                <c:pt idx="1">
                  <c:v>0.52300000000000002</c:v>
                </c:pt>
                <c:pt idx="2">
                  <c:v>0.443</c:v>
                </c:pt>
                <c:pt idx="3">
                  <c:v>0.77400000000000002</c:v>
                </c:pt>
                <c:pt idx="4">
                  <c:v>0.48399999999999999</c:v>
                </c:pt>
                <c:pt idx="5">
                  <c:v>0.59299999999999997</c:v>
                </c:pt>
                <c:pt idx="6">
                  <c:v>2.629</c:v>
                </c:pt>
                <c:pt idx="7">
                  <c:v>0.66600000000000004</c:v>
                </c:pt>
              </c:numCache>
            </c:numRef>
          </c:yVal>
          <c:bubbleSize>
            <c:numRef>
              <c:f>Sheet1!$C$2:$C$9</c:f>
              <c:numCache>
                <c:formatCode>General</c:formatCode>
                <c:ptCount val="8"/>
                <c:pt idx="0">
                  <c:v>704092</c:v>
                </c:pt>
                <c:pt idx="1">
                  <c:v>60584</c:v>
                </c:pt>
                <c:pt idx="2">
                  <c:v>33122</c:v>
                </c:pt>
                <c:pt idx="3">
                  <c:v>28742</c:v>
                </c:pt>
                <c:pt idx="4">
                  <c:v>18323</c:v>
                </c:pt>
                <c:pt idx="5">
                  <c:v>17709</c:v>
                </c:pt>
                <c:pt idx="6">
                  <c:v>17402</c:v>
                </c:pt>
                <c:pt idx="7">
                  <c:v>17207</c:v>
                </c:pt>
              </c:numCache>
            </c:numRef>
          </c:bubbleSize>
          <c:bubble3D val="0"/>
          <c:extLst>
            <c:ext xmlns:c15="http://schemas.microsoft.com/office/drawing/2012/chart" uri="{02D57815-91ED-43cb-92C2-25804820EDAC}">
              <c15:datalabelsRange>
                <c15:f>Sheet1!$E$2:$E$10</c15:f>
                <c15:dlblRangeCache>
                  <c:ptCount val="9"/>
                  <c:pt idx="0">
                    <c:v>Ruinart</c:v>
                  </c:pt>
                  <c:pt idx="1">
                    <c:v>Nicolas</c:v>
                  </c:pt>
                  <c:pt idx="2">
                    <c:v>Malard</c:v>
                  </c:pt>
                  <c:pt idx="3">
                    <c:v>Besserat De Bellefon</c:v>
                  </c:pt>
                  <c:pt idx="4">
                    <c:v>De Bligny</c:v>
                  </c:pt>
                  <c:pt idx="5">
                    <c:v>Henriot</c:v>
                  </c:pt>
                  <c:pt idx="6">
                    <c:v>Taittinger</c:v>
                  </c:pt>
                  <c:pt idx="7">
                    <c:v>Delamott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82"/>
          <c:min val="28"/>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78491846-A8B6-4967-A63F-F472005AE36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80E7AEC0-8ED5-4C1A-974F-CE8ACF20579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F1D873BB-A7F6-47B4-AB4C-85273B31C00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F45685F0-A6D4-40AF-985C-2FE3AEBE8E9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6DF64B56-D5A5-46D4-9346-FF2648785D7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A9177DA6-2E6E-468E-B35C-17B80F695C3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98A91D0D-B0C1-40A4-9C0A-20388A98AEB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5B3B2C17-531F-43B4-8459-359A4D0E4EE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59.297699999999999</c:v>
                </c:pt>
                <c:pt idx="1">
                  <c:v>22.195399999999999</c:v>
                </c:pt>
                <c:pt idx="2">
                  <c:v>49.484299999999998</c:v>
                </c:pt>
                <c:pt idx="3">
                  <c:v>49.416499999999999</c:v>
                </c:pt>
                <c:pt idx="4">
                  <c:v>29.332599999999999</c:v>
                </c:pt>
                <c:pt idx="5">
                  <c:v>53.543199999999999</c:v>
                </c:pt>
                <c:pt idx="6">
                  <c:v>64.374799999999993</c:v>
                </c:pt>
                <c:pt idx="7">
                  <c:v>30.589300000000001</c:v>
                </c:pt>
              </c:numCache>
            </c:numRef>
          </c:xVal>
          <c:yVal>
            <c:numRef>
              <c:f>Sheet1!$B$2:$B$9</c:f>
              <c:numCache>
                <c:formatCode>General</c:formatCode>
                <c:ptCount val="8"/>
                <c:pt idx="0">
                  <c:v>1.4419999999999999</c:v>
                </c:pt>
                <c:pt idx="1">
                  <c:v>0.55400000000000005</c:v>
                </c:pt>
                <c:pt idx="2">
                  <c:v>1.1679999999999999</c:v>
                </c:pt>
                <c:pt idx="3">
                  <c:v>1.0960000000000001</c:v>
                </c:pt>
                <c:pt idx="4">
                  <c:v>0.73799999999999999</c:v>
                </c:pt>
                <c:pt idx="5">
                  <c:v>1.151</c:v>
                </c:pt>
                <c:pt idx="6">
                  <c:v>1.504</c:v>
                </c:pt>
                <c:pt idx="7">
                  <c:v>0.79700000000000004</c:v>
                </c:pt>
              </c:numCache>
            </c:numRef>
          </c:yVal>
          <c:bubbleSize>
            <c:numRef>
              <c:f>Sheet1!$C$2:$C$9</c:f>
              <c:numCache>
                <c:formatCode>General</c:formatCode>
                <c:ptCount val="8"/>
                <c:pt idx="0">
                  <c:v>1010136</c:v>
                </c:pt>
                <c:pt idx="1">
                  <c:v>516597</c:v>
                </c:pt>
                <c:pt idx="2">
                  <c:v>416905</c:v>
                </c:pt>
                <c:pt idx="3">
                  <c:v>259140</c:v>
                </c:pt>
                <c:pt idx="4">
                  <c:v>217736</c:v>
                </c:pt>
                <c:pt idx="5">
                  <c:v>163039</c:v>
                </c:pt>
                <c:pt idx="6">
                  <c:v>152697</c:v>
                </c:pt>
                <c:pt idx="7">
                  <c:v>141139</c:v>
                </c:pt>
              </c:numCache>
            </c:numRef>
          </c:bubbleSize>
          <c:bubble3D val="0"/>
          <c:extLst>
            <c:ext xmlns:c15="http://schemas.microsoft.com/office/drawing/2012/chart" uri="{02D57815-91ED-43cb-92C2-25804820EDAC}">
              <c15:datalabelsRange>
                <c15:f>Sheet1!$E$2:$E$10</c15:f>
                <c15:dlblRangeCache>
                  <c:ptCount val="9"/>
                  <c:pt idx="0">
                    <c:v>Ruinart</c:v>
                  </c:pt>
                  <c:pt idx="1">
                    <c:v>Nicolas</c:v>
                  </c:pt>
                  <c:pt idx="2">
                    <c:v>Deutz</c:v>
                  </c:pt>
                  <c:pt idx="3">
                    <c:v>Laurent Perrier</c:v>
                  </c:pt>
                  <c:pt idx="4">
                    <c:v>Heidsieck &amp; Co Monopole</c:v>
                  </c:pt>
                  <c:pt idx="5">
                    <c:v>Taittinger</c:v>
                  </c:pt>
                  <c:pt idx="6">
                    <c:v>Roederer</c:v>
                  </c:pt>
                  <c:pt idx="7">
                    <c:v>Canard Duchêne</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7"/>
          <c:min val="18"/>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292D115B-A2D2-4AC2-A8E4-DAC75151811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713F4C96-3894-4968-84BB-FA6555AF8CE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71-46D6-BBFE-7C00E0D51738}"/>
                </c:ext>
              </c:extLst>
            </c:dLbl>
            <c:dLbl>
              <c:idx val="3"/>
              <c:tx>
                <c:rich>
                  <a:bodyPr/>
                  <a:lstStyle/>
                  <a:p>
                    <a:fld id="{3B9BD40A-8C93-4D67-81CC-A8E6243692D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71-46D6-BBFE-7C00E0D51738}"/>
                </c:ext>
              </c:extLst>
            </c:dLbl>
            <c:dLbl>
              <c:idx val="4"/>
              <c:tx>
                <c:rich>
                  <a:bodyPr/>
                  <a:lstStyle/>
                  <a:p>
                    <a:fld id="{C55C2081-5ABD-4A3F-AE1C-1BDE2F69835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D871-46D6-BBFE-7C00E0D51738}"/>
                </c:ext>
              </c:extLst>
            </c:dLbl>
            <c:dLbl>
              <c:idx val="5"/>
              <c:tx>
                <c:rich>
                  <a:bodyPr/>
                  <a:lstStyle/>
                  <a:p>
                    <a:fld id="{A8B2C508-4A05-4C3B-A46C-3B02457AE7C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71-46D6-BBFE-7C00E0D51738}"/>
                </c:ext>
              </c:extLst>
            </c:dLbl>
            <c:dLbl>
              <c:idx val="6"/>
              <c:tx>
                <c:rich>
                  <a:bodyPr/>
                  <a:lstStyle/>
                  <a:p>
                    <a:fld id="{E31B7B69-12EC-4D1E-8F1F-4466DC8724E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71-46D6-BBFE-7C00E0D51738}"/>
                </c:ext>
              </c:extLst>
            </c:dLbl>
            <c:dLbl>
              <c:idx val="7"/>
              <c:tx>
                <c:rich>
                  <a:bodyPr/>
                  <a:lstStyle/>
                  <a:p>
                    <a:fld id="{F52D76C6-3AA2-416B-B129-FBB1A0C1D3C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71-46D6-BBFE-7C00E0D51738}"/>
                </c:ext>
              </c:extLst>
            </c:dLbl>
            <c:dLbl>
              <c:idx val="8"/>
              <c:tx>
                <c:rich>
                  <a:bodyPr/>
                  <a:lstStyle/>
                  <a:p>
                    <a:fld id="{B63652F7-5287-4C47-8032-228C5467002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29.3569</c:v>
                </c:pt>
                <c:pt idx="1">
                  <c:v>30.4191</c:v>
                </c:pt>
                <c:pt idx="2">
                  <c:v>31.601700000000001</c:v>
                </c:pt>
                <c:pt idx="3">
                  <c:v>35.307699999999997</c:v>
                </c:pt>
              </c:numCache>
            </c:numRef>
          </c:xVal>
          <c:yVal>
            <c:numRef>
              <c:f>Sheet1!$B$2:$B$5</c:f>
              <c:numCache>
                <c:formatCode>General</c:formatCode>
                <c:ptCount val="4"/>
                <c:pt idx="0">
                  <c:v>0.98099999999999998</c:v>
                </c:pt>
                <c:pt idx="1">
                  <c:v>1.0189999999999999</c:v>
                </c:pt>
                <c:pt idx="2">
                  <c:v>1.048</c:v>
                </c:pt>
                <c:pt idx="3">
                  <c:v>1.0780000000000001</c:v>
                </c:pt>
              </c:numCache>
            </c:numRef>
          </c:yVal>
          <c:bubbleSize>
            <c:numRef>
              <c:f>Sheet1!$C$2:$C$5</c:f>
              <c:numCache>
                <c:formatCode>General</c:formatCode>
                <c:ptCount val="4"/>
                <c:pt idx="0">
                  <c:v>130785</c:v>
                </c:pt>
                <c:pt idx="1">
                  <c:v>29324</c:v>
                </c:pt>
                <c:pt idx="2">
                  <c:v>14600</c:v>
                </c:pt>
                <c:pt idx="3">
                  <c:v>6885</c:v>
                </c:pt>
              </c:numCache>
            </c:numRef>
          </c:bubbleSize>
          <c:bubble3D val="0"/>
          <c:extLst>
            <c:ext xmlns:c15="http://schemas.microsoft.com/office/drawing/2012/chart" uri="{02D57815-91ED-43cb-92C2-25804820EDAC}">
              <c15:datalabelsRange>
                <c15:f>Sheet1!$E$2:$E$10</c15:f>
                <c15:dlblRangeCache>
                  <c:ptCount val="9"/>
                  <c:pt idx="0">
                    <c:v>Malard</c:v>
                  </c:pt>
                  <c:pt idx="1">
                    <c:v>Vesselle</c:v>
                  </c:pt>
                  <c:pt idx="2">
                    <c:v>Louis Martin</c:v>
                  </c:pt>
                  <c:pt idx="3">
                    <c:v>Nicolas</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2"/>
          <c:min val="23"/>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CA-4C16-90F6-A0D9A3D8DA8E}"/>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CA-4C16-90F6-A0D9A3D8DA8E}"/>
                </c:ext>
              </c:extLst>
            </c:dLbl>
            <c:dLbl>
              <c:idx val="1"/>
              <c:tx>
                <c:rich>
                  <a:bodyPr/>
                  <a:lstStyle/>
                  <a:p>
                    <a:fld id="{8CC0D1C7-2DA6-48B0-B31A-43B820E6328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CA-4C16-90F6-A0D9A3D8DA8E}"/>
                </c:ext>
              </c:extLst>
            </c:dLbl>
            <c:dLbl>
              <c:idx val="2"/>
              <c:tx>
                <c:rich>
                  <a:bodyPr/>
                  <a:lstStyle/>
                  <a:p>
                    <a:fld id="{2353AA81-AF76-4075-A369-F430B9A81BB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D8CA-4C16-90F6-A0D9A3D8DA8E}"/>
                </c:ext>
              </c:extLst>
            </c:dLbl>
            <c:dLbl>
              <c:idx val="3"/>
              <c:tx>
                <c:rich>
                  <a:bodyPr/>
                  <a:lstStyle/>
                  <a:p>
                    <a:fld id="{4E942364-D58F-404A-877D-FFAB22B09AC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D8CA-4C16-90F6-A0D9A3D8DA8E}"/>
                </c:ext>
              </c:extLst>
            </c:dLbl>
            <c:dLbl>
              <c:idx val="4"/>
              <c:tx>
                <c:rich>
                  <a:bodyPr/>
                  <a:lstStyle/>
                  <a:p>
                    <a:fld id="{DEA52756-5966-45C4-A3FF-4A43AA81EFA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D8CA-4C16-90F6-A0D9A3D8DA8E}"/>
                </c:ext>
              </c:extLst>
            </c:dLbl>
            <c:dLbl>
              <c:idx val="5"/>
              <c:tx>
                <c:rich>
                  <a:bodyPr/>
                  <a:lstStyle/>
                  <a:p>
                    <a:fld id="{8D13DC0D-12EC-4D3E-906A-33471E99055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CA-4C16-90F6-A0D9A3D8DA8E}"/>
                </c:ext>
              </c:extLst>
            </c:dLbl>
            <c:dLbl>
              <c:idx val="6"/>
              <c:tx>
                <c:rich>
                  <a:bodyPr/>
                  <a:lstStyle/>
                  <a:p>
                    <a:fld id="{F9628751-1856-4FBD-932E-B4D41CA556E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CA-4C16-90F6-A0D9A3D8DA8E}"/>
                </c:ext>
              </c:extLst>
            </c:dLbl>
            <c:dLbl>
              <c:idx val="7"/>
              <c:tx>
                <c:rich>
                  <a:bodyPr/>
                  <a:lstStyle/>
                  <a:p>
                    <a:fld id="{CFB9AF79-62BB-4AA7-AD2E-2B6C175A8E4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CA-4C16-90F6-A0D9A3D8DA8E}"/>
                </c:ext>
              </c:extLst>
            </c:dLbl>
            <c:dLbl>
              <c:idx val="8"/>
              <c:tx>
                <c:rich>
                  <a:bodyPr/>
                  <a:lstStyle/>
                  <a:p>
                    <a:fld id="{84623594-1EAB-4032-A08A-4130132332A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CA-4C16-90F6-A0D9A3D8DA8E}"/>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31.259499999999999</c:v>
                </c:pt>
                <c:pt idx="1">
                  <c:v>43.661499999999997</c:v>
                </c:pt>
              </c:numCache>
            </c:numRef>
          </c:xVal>
          <c:yVal>
            <c:numRef>
              <c:f>Sheet1!$B$2:$B$3</c:f>
              <c:numCache>
                <c:formatCode>General</c:formatCode>
                <c:ptCount val="2"/>
                <c:pt idx="0">
                  <c:v>0.93300000000000005</c:v>
                </c:pt>
                <c:pt idx="1">
                  <c:v>1.304</c:v>
                </c:pt>
              </c:numCache>
            </c:numRef>
          </c:yVal>
          <c:bubbleSize>
            <c:numRef>
              <c:f>Sheet1!$C$2:$C$3</c:f>
              <c:numCache>
                <c:formatCode>General</c:formatCode>
                <c:ptCount val="2"/>
                <c:pt idx="0">
                  <c:v>132884</c:v>
                </c:pt>
                <c:pt idx="1">
                  <c:v>39732</c:v>
                </c:pt>
              </c:numCache>
            </c:numRef>
          </c:bubbleSize>
          <c:bubble3D val="0"/>
          <c:extLst>
            <c:ext xmlns:c15="http://schemas.microsoft.com/office/drawing/2012/chart" uri="{02D57815-91ED-43cb-92C2-25804820EDAC}">
              <c15:datalabelsRange>
                <c15:f>Sheet1!$E$2:$E$10</c15:f>
                <c15:dlblRangeCache>
                  <c:ptCount val="9"/>
                  <c:pt idx="0">
                    <c:v>Nicolas Feuillatte</c:v>
                  </c:pt>
                  <c:pt idx="1">
                    <c:v>Moët &amp; Chandon</c:v>
                  </c:pt>
                </c15:dlblRangeCache>
              </c15:datalabelsRange>
            </c:ext>
            <c:ext xmlns:c16="http://schemas.microsoft.com/office/drawing/2014/chart" uri="{C3380CC4-5D6E-409C-BE32-E72D297353CC}">
              <c16:uniqueId val="{00000009-D8CA-4C16-90F6-A0D9A3D8DA8E}"/>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2"/>
          <c:min val="25"/>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B11EADC-BA90-472B-A378-85D687CB4BD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5D0CA33-39FF-4E3D-A61E-3D1FCB8A5A8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4F5A677-3398-4FAD-A77F-279C681225F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5718BAE-7526-4BCC-A89D-C07293C3BB1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62E602F-34AC-4891-B330-5D7A2BB6297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C48404C1-FA06-4319-895A-BDB27F6969D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C3C7EEC2-88C5-48F2-AD51-60CA3A29139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EAC30FF5-10FE-4F59-BA2B-AAE29E52D58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67.8048</c:v>
                </c:pt>
                <c:pt idx="1">
                  <c:v>204.5564</c:v>
                </c:pt>
                <c:pt idx="2">
                  <c:v>96.085800000000006</c:v>
                </c:pt>
                <c:pt idx="3">
                  <c:v>37.682400000000001</c:v>
                </c:pt>
                <c:pt idx="4">
                  <c:v>264.74290000000002</c:v>
                </c:pt>
                <c:pt idx="5">
                  <c:v>245.7576</c:v>
                </c:pt>
                <c:pt idx="6">
                  <c:v>274.2593</c:v>
                </c:pt>
                <c:pt idx="7">
                  <c:v>65.481899999999996</c:v>
                </c:pt>
              </c:numCache>
            </c:numRef>
          </c:xVal>
          <c:yVal>
            <c:numRef>
              <c:f>Sheet1!$B$2:$B$9</c:f>
              <c:numCache>
                <c:formatCode>General</c:formatCode>
                <c:ptCount val="8"/>
                <c:pt idx="0">
                  <c:v>1.5309999999999999</c:v>
                </c:pt>
                <c:pt idx="1">
                  <c:v>1.1220000000000001</c:v>
                </c:pt>
                <c:pt idx="2">
                  <c:v>0.52200000000000002</c:v>
                </c:pt>
                <c:pt idx="3">
                  <c:v>0.219</c:v>
                </c:pt>
                <c:pt idx="4">
                  <c:v>1.327</c:v>
                </c:pt>
                <c:pt idx="5">
                  <c:v>1.2</c:v>
                </c:pt>
                <c:pt idx="6">
                  <c:v>1.3149999999999999</c:v>
                </c:pt>
                <c:pt idx="7">
                  <c:v>0.35</c:v>
                </c:pt>
              </c:numCache>
            </c:numRef>
          </c:yVal>
          <c:bubbleSize>
            <c:numRef>
              <c:f>Sheet1!$C$2:$C$9</c:f>
              <c:numCache>
                <c:formatCode>General</c:formatCode>
                <c:ptCount val="8"/>
                <c:pt idx="0">
                  <c:v>179697</c:v>
                </c:pt>
                <c:pt idx="1">
                  <c:v>81618</c:v>
                </c:pt>
                <c:pt idx="2">
                  <c:v>25751</c:v>
                </c:pt>
                <c:pt idx="3">
                  <c:v>11983</c:v>
                </c:pt>
                <c:pt idx="4">
                  <c:v>9266</c:v>
                </c:pt>
                <c:pt idx="5">
                  <c:v>8110</c:v>
                </c:pt>
                <c:pt idx="6">
                  <c:v>7405</c:v>
                </c:pt>
                <c:pt idx="7">
                  <c:v>5435</c:v>
                </c:pt>
              </c:numCache>
            </c:numRef>
          </c:bubbleSize>
          <c:bubble3D val="0"/>
          <c:extLst>
            <c:ext xmlns:c15="http://schemas.microsoft.com/office/drawing/2012/chart" uri="{02D57815-91ED-43cb-92C2-25804820EDAC}">
              <c15:datalabelsRange>
                <c15:f>Sheet1!$E$2:$E$10</c15:f>
                <c15:dlblRangeCache>
                  <c:ptCount val="9"/>
                  <c:pt idx="0">
                    <c:v>Dom Perignon</c:v>
                  </c:pt>
                  <c:pt idx="1">
                    <c:v>Roederer</c:v>
                  </c:pt>
                  <c:pt idx="2">
                    <c:v>Ruinart</c:v>
                  </c:pt>
                  <c:pt idx="3">
                    <c:v>Malard</c:v>
                  </c:pt>
                  <c:pt idx="4">
                    <c:v>Perrier Jouet</c:v>
                  </c:pt>
                  <c:pt idx="5">
                    <c:v>Bollinger</c:v>
                  </c:pt>
                  <c:pt idx="6">
                    <c:v>Piper Heidsieck</c:v>
                  </c:pt>
                  <c:pt idx="7">
                    <c:v>Laurent Perrier</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29"/>
          <c:min val="30"/>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119792B8-EB81-42D4-B68D-D3925B53444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D9368B0A-354A-4F8C-851F-46FBC573438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70F39B5E-2DA8-4279-BF61-31AECE05B24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630539DE-691F-4883-90C3-F655D3264D4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D0771E1C-013E-4243-B4EA-FE3402B1AA2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4811AF5E-6AD8-41DA-9BCB-9E0869F8284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2D7F90C7-2CD4-454F-B756-E981610F9CF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56770F0C-21D3-4271-9CE9-2C5BF4B783C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93.240300000000005</c:v>
                </c:pt>
                <c:pt idx="1">
                  <c:v>81.262900000000002</c:v>
                </c:pt>
                <c:pt idx="2">
                  <c:v>53.312800000000003</c:v>
                </c:pt>
                <c:pt idx="3">
                  <c:v>27.181899999999999</c:v>
                </c:pt>
                <c:pt idx="4">
                  <c:v>37.2483</c:v>
                </c:pt>
                <c:pt idx="5">
                  <c:v>37.9467</c:v>
                </c:pt>
                <c:pt idx="6">
                  <c:v>50.933100000000003</c:v>
                </c:pt>
                <c:pt idx="7">
                  <c:v>41.847900000000003</c:v>
                </c:pt>
              </c:numCache>
            </c:numRef>
          </c:xVal>
          <c:yVal>
            <c:numRef>
              <c:f>Sheet1!$B$2:$B$9</c:f>
              <c:numCache>
                <c:formatCode>General</c:formatCode>
                <c:ptCount val="8"/>
                <c:pt idx="0">
                  <c:v>1.6</c:v>
                </c:pt>
                <c:pt idx="1">
                  <c:v>1.4039999999999999</c:v>
                </c:pt>
                <c:pt idx="2">
                  <c:v>1.024</c:v>
                </c:pt>
                <c:pt idx="3">
                  <c:v>0.48799999999999999</c:v>
                </c:pt>
                <c:pt idx="4">
                  <c:v>0.63500000000000001</c:v>
                </c:pt>
                <c:pt idx="5">
                  <c:v>0.65400000000000003</c:v>
                </c:pt>
                <c:pt idx="6">
                  <c:v>0.85899999999999999</c:v>
                </c:pt>
                <c:pt idx="7">
                  <c:v>0.83299999999999996</c:v>
                </c:pt>
              </c:numCache>
            </c:numRef>
          </c:yVal>
          <c:bubbleSize>
            <c:numRef>
              <c:f>Sheet1!$C$2:$C$9</c:f>
              <c:numCache>
                <c:formatCode>General</c:formatCode>
                <c:ptCount val="8"/>
                <c:pt idx="0">
                  <c:v>165688</c:v>
                </c:pt>
                <c:pt idx="1">
                  <c:v>63060</c:v>
                </c:pt>
                <c:pt idx="2">
                  <c:v>58964</c:v>
                </c:pt>
                <c:pt idx="3">
                  <c:v>44823</c:v>
                </c:pt>
                <c:pt idx="4">
                  <c:v>43655</c:v>
                </c:pt>
                <c:pt idx="5">
                  <c:v>23489</c:v>
                </c:pt>
                <c:pt idx="6">
                  <c:v>18285</c:v>
                </c:pt>
                <c:pt idx="7">
                  <c:v>16237</c:v>
                </c:pt>
              </c:numCache>
            </c:numRef>
          </c:bubbleSize>
          <c:bubble3D val="0"/>
          <c:extLst>
            <c:ext xmlns:c15="http://schemas.microsoft.com/office/drawing/2012/chart" uri="{02D57815-91ED-43cb-92C2-25804820EDAC}">
              <c15:datalabelsRange>
                <c15:f>Sheet1!$E$2:$E$10</c15:f>
                <c15:dlblRangeCache>
                  <c:ptCount val="9"/>
                  <c:pt idx="0">
                    <c:v>Ruinart</c:v>
                  </c:pt>
                  <c:pt idx="1">
                    <c:v>Laurent Perrier</c:v>
                  </c:pt>
                  <c:pt idx="2">
                    <c:v>Deutz</c:v>
                  </c:pt>
                  <c:pt idx="3">
                    <c:v>Nicolas</c:v>
                  </c:pt>
                  <c:pt idx="4">
                    <c:v>Demoiselle</c:v>
                  </c:pt>
                  <c:pt idx="5">
                    <c:v>Nicolas Feuillatte</c:v>
                  </c:pt>
                  <c:pt idx="6">
                    <c:v>Pommery</c:v>
                  </c:pt>
                  <c:pt idx="7">
                    <c:v>Besserat De Bellefon</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12"/>
          <c:min val="22"/>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FB3CD302-8107-47F3-A23E-5E5E73C19F2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D871-46D6-BBFE-7C00E0D51738}"/>
                </c:ext>
              </c:extLst>
            </c:dLbl>
            <c:dLbl>
              <c:idx val="2"/>
              <c:tx>
                <c:rich>
                  <a:bodyPr/>
                  <a:lstStyle/>
                  <a:p>
                    <a:fld id="{F56AF0F2-A012-483E-98C5-04CB080EC87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D871-46D6-BBFE-7C00E0D51738}"/>
                </c:ext>
              </c:extLst>
            </c:dLbl>
            <c:dLbl>
              <c:idx val="3"/>
              <c:tx>
                <c:rich>
                  <a:bodyPr/>
                  <a:lstStyle/>
                  <a:p>
                    <a:fld id="{09D7E4C8-81AB-4D15-9CBB-8737379C883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D871-46D6-BBFE-7C00E0D51738}"/>
                </c:ext>
              </c:extLst>
            </c:dLbl>
            <c:dLbl>
              <c:idx val="4"/>
              <c:tx>
                <c:rich>
                  <a:bodyPr/>
                  <a:lstStyle/>
                  <a:p>
                    <a:fld id="{CFD73291-2EEC-4CFD-85BC-028995FDD39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D871-46D6-BBFE-7C00E0D51738}"/>
                </c:ext>
              </c:extLst>
            </c:dLbl>
            <c:dLbl>
              <c:idx val="5"/>
              <c:tx>
                <c:rich>
                  <a:bodyPr/>
                  <a:lstStyle/>
                  <a:p>
                    <a:fld id="{E7F7D088-8942-4C03-918E-4D905558BB9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71-46D6-BBFE-7C00E0D51738}"/>
                </c:ext>
              </c:extLst>
            </c:dLbl>
            <c:dLbl>
              <c:idx val="6"/>
              <c:tx>
                <c:rich>
                  <a:bodyPr/>
                  <a:lstStyle/>
                  <a:p>
                    <a:fld id="{2130E293-F2A2-4B15-AC0D-79270D9D185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71-46D6-BBFE-7C00E0D51738}"/>
                </c:ext>
              </c:extLst>
            </c:dLbl>
            <c:dLbl>
              <c:idx val="7"/>
              <c:tx>
                <c:rich>
                  <a:bodyPr/>
                  <a:lstStyle/>
                  <a:p>
                    <a:fld id="{EBA40DB4-AB7E-4F9F-9077-1E7EC3FBB7E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71-46D6-BBFE-7C00E0D51738}"/>
                </c:ext>
              </c:extLst>
            </c:dLbl>
            <c:dLbl>
              <c:idx val="8"/>
              <c:tx>
                <c:rich>
                  <a:bodyPr/>
                  <a:lstStyle/>
                  <a:p>
                    <a:fld id="{7A5F4390-AD46-4E87-AA7E-63FFC8F7B1A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2.8293</c:v>
                </c:pt>
              </c:numCache>
            </c:numRef>
          </c:xVal>
          <c:yVal>
            <c:numRef>
              <c:f>Sheet1!$B$2:$B$2</c:f>
              <c:numCache>
                <c:formatCode>General</c:formatCode>
                <c:ptCount val="1"/>
                <c:pt idx="0">
                  <c:v>1</c:v>
                </c:pt>
              </c:numCache>
            </c:numRef>
          </c:yVal>
          <c:bubbleSize>
            <c:numRef>
              <c:f>Sheet1!$C$2:$C$2</c:f>
              <c:numCache>
                <c:formatCode>General</c:formatCode>
                <c:ptCount val="1"/>
                <c:pt idx="0">
                  <c:v>39373</c:v>
                </c:pt>
              </c:numCache>
            </c:numRef>
          </c:bubbleSize>
          <c:bubble3D val="0"/>
          <c:extLst>
            <c:ext xmlns:c15="http://schemas.microsoft.com/office/drawing/2012/chart" uri="{02D57815-91ED-43cb-92C2-25804820EDAC}">
              <c15:datalabelsRange>
                <c15:f>Sheet1!$E$2:$E$10</c15:f>
                <c15:dlblRangeCache>
                  <c:ptCount val="9"/>
                  <c:pt idx="0">
                    <c:v>Patriarche</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5"/>
          <c:min val="10"/>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CA-4C16-90F6-A0D9A3D8DA8E}"/>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CA-4C16-90F6-A0D9A3D8DA8E}"/>
                </c:ext>
              </c:extLst>
            </c:dLbl>
            <c:dLbl>
              <c:idx val="1"/>
              <c:tx>
                <c:rich>
                  <a:bodyPr/>
                  <a:lstStyle/>
                  <a:p>
                    <a:fld id="{D3E01332-6833-47D3-AFC2-E2B3A1AD10B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CA-4C16-90F6-A0D9A3D8DA8E}"/>
                </c:ext>
              </c:extLst>
            </c:dLbl>
            <c:dLbl>
              <c:idx val="2"/>
              <c:tx>
                <c:rich>
                  <a:bodyPr/>
                  <a:lstStyle/>
                  <a:p>
                    <a:fld id="{B8B4E9E3-C3E5-44E8-8772-0DFA70162AC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CA-4C16-90F6-A0D9A3D8DA8E}"/>
                </c:ext>
              </c:extLst>
            </c:dLbl>
            <c:dLbl>
              <c:idx val="3"/>
              <c:tx>
                <c:rich>
                  <a:bodyPr/>
                  <a:lstStyle/>
                  <a:p>
                    <a:fld id="{8D94EA07-D0AD-40D2-85EF-EF059DD62F1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D8CA-4C16-90F6-A0D9A3D8DA8E}"/>
                </c:ext>
              </c:extLst>
            </c:dLbl>
            <c:dLbl>
              <c:idx val="4"/>
              <c:tx>
                <c:rich>
                  <a:bodyPr/>
                  <a:lstStyle/>
                  <a:p>
                    <a:fld id="{F70CABB6-B954-4230-96D3-B3ABFE9E76A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D8CA-4C16-90F6-A0D9A3D8DA8E}"/>
                </c:ext>
              </c:extLst>
            </c:dLbl>
            <c:dLbl>
              <c:idx val="5"/>
              <c:tx>
                <c:rich>
                  <a:bodyPr/>
                  <a:lstStyle/>
                  <a:p>
                    <a:fld id="{3CC1AD07-91FD-4DE4-B3C9-DB689D92A8F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CA-4C16-90F6-A0D9A3D8DA8E}"/>
                </c:ext>
              </c:extLst>
            </c:dLbl>
            <c:dLbl>
              <c:idx val="6"/>
              <c:tx>
                <c:rich>
                  <a:bodyPr/>
                  <a:lstStyle/>
                  <a:p>
                    <a:fld id="{9879B61B-A17A-4E9F-8650-22E106D1750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CA-4C16-90F6-A0D9A3D8DA8E}"/>
                </c:ext>
              </c:extLst>
            </c:dLbl>
            <c:dLbl>
              <c:idx val="7"/>
              <c:tx>
                <c:rich>
                  <a:bodyPr/>
                  <a:lstStyle/>
                  <a:p>
                    <a:fld id="{70DF6850-13F3-49DE-BA01-04284DE3240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CA-4C16-90F6-A0D9A3D8DA8E}"/>
                </c:ext>
              </c:extLst>
            </c:dLbl>
            <c:dLbl>
              <c:idx val="8"/>
              <c:tx>
                <c:rich>
                  <a:bodyPr/>
                  <a:lstStyle/>
                  <a:p>
                    <a:fld id="{957347C6-EBC7-48D7-AEDC-4E6C555331E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CA-4C16-90F6-A0D9A3D8DA8E}"/>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1.4709</c:v>
                </c:pt>
                <c:pt idx="1">
                  <c:v>9.1577000000000002</c:v>
                </c:pt>
                <c:pt idx="2">
                  <c:v>11.4771</c:v>
                </c:pt>
              </c:numCache>
            </c:numRef>
          </c:xVal>
          <c:yVal>
            <c:numRef>
              <c:f>Sheet1!$B$2:$B$4</c:f>
              <c:numCache>
                <c:formatCode>General</c:formatCode>
                <c:ptCount val="3"/>
                <c:pt idx="0">
                  <c:v>1.272</c:v>
                </c:pt>
                <c:pt idx="1">
                  <c:v>1.016</c:v>
                </c:pt>
                <c:pt idx="2">
                  <c:v>1.0620000000000001</c:v>
                </c:pt>
              </c:numCache>
            </c:numRef>
          </c:yVal>
          <c:bubbleSize>
            <c:numRef>
              <c:f>Sheet1!$C$2:$C$4</c:f>
              <c:numCache>
                <c:formatCode>General</c:formatCode>
                <c:ptCount val="3"/>
                <c:pt idx="0">
                  <c:v>78289</c:v>
                </c:pt>
                <c:pt idx="1">
                  <c:v>32061</c:v>
                </c:pt>
                <c:pt idx="2">
                  <c:v>8252</c:v>
                </c:pt>
              </c:numCache>
            </c:numRef>
          </c:bubbleSize>
          <c:bubble3D val="0"/>
          <c:extLst>
            <c:ext xmlns:c15="http://schemas.microsoft.com/office/drawing/2012/chart" uri="{02D57815-91ED-43cb-92C2-25804820EDAC}">
              <c15:datalabelsRange>
                <c15:f>Sheet1!$E$2:$E$10</c15:f>
                <c15:dlblRangeCache>
                  <c:ptCount val="9"/>
                  <c:pt idx="0">
                    <c:v>Bottega</c:v>
                  </c:pt>
                  <c:pt idx="1">
                    <c:v>Savian</c:v>
                  </c:pt>
                  <c:pt idx="2">
                    <c:v>Contarini</c:v>
                  </c:pt>
                </c15:dlblRangeCache>
              </c15:datalabelsRange>
            </c:ext>
            <c:ext xmlns:c16="http://schemas.microsoft.com/office/drawing/2014/chart" uri="{C3380CC4-5D6E-409C-BE32-E72D297353CC}">
              <c16:uniqueId val="{00000009-D8CA-4C16-90F6-A0D9A3D8DA8E}"/>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4"/>
          <c:min val="7"/>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B45DD65-6624-4D16-B0A9-BF0CAAFD1FF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D131EEE-A6C3-4A52-B28A-B01E79F8F72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5A5B8EA-61DC-4B12-917F-F5B0ED94E66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DAB9E0FC-9E9F-4F96-BF66-63E901804D6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F841DAA9-ED61-479C-A2C7-5C51384476E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8191262D-D998-4027-95D6-AB978B932D5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611EBA94-1806-425C-81F0-D7A7DAB6F9B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AC7B8806-3C84-4082-B8AC-27657DB8FDB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1.9748</c:v>
                </c:pt>
                <c:pt idx="1">
                  <c:v>11.4427</c:v>
                </c:pt>
                <c:pt idx="2">
                  <c:v>13.5473</c:v>
                </c:pt>
              </c:numCache>
            </c:numRef>
          </c:xVal>
          <c:yVal>
            <c:numRef>
              <c:f>Sheet1!$B$2:$B$4</c:f>
              <c:numCache>
                <c:formatCode>General</c:formatCode>
                <c:ptCount val="3"/>
                <c:pt idx="0">
                  <c:v>0.96599999999999997</c:v>
                </c:pt>
                <c:pt idx="1">
                  <c:v>0.97499999999999998</c:v>
                </c:pt>
                <c:pt idx="2">
                  <c:v>1.1599999999999999</c:v>
                </c:pt>
              </c:numCache>
            </c:numRef>
          </c:yVal>
          <c:bubbleSize>
            <c:numRef>
              <c:f>Sheet1!$C$2:$C$4</c:f>
              <c:numCache>
                <c:formatCode>General</c:formatCode>
                <c:ptCount val="3"/>
                <c:pt idx="0">
                  <c:v>16609</c:v>
                </c:pt>
                <c:pt idx="1">
                  <c:v>12072</c:v>
                </c:pt>
                <c:pt idx="2">
                  <c:v>8589</c:v>
                </c:pt>
              </c:numCache>
            </c:numRef>
          </c:bubbleSize>
          <c:bubble3D val="0"/>
          <c:extLst>
            <c:ext xmlns:c15="http://schemas.microsoft.com/office/drawing/2012/chart" uri="{02D57815-91ED-43cb-92C2-25804820EDAC}">
              <c15:datalabelsRange>
                <c15:f>Sheet1!$E$2:$E$10</c15:f>
                <c15:dlblRangeCache>
                  <c:ptCount val="9"/>
                  <c:pt idx="0">
                    <c:v>Bouvet-Ladubay</c:v>
                  </c:pt>
                  <c:pt idx="1">
                    <c:v>Chateau Moncontour</c:v>
                  </c:pt>
                  <c:pt idx="2">
                    <c:v>De Chancen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6"/>
          <c:min val="9"/>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9E222AB-77DE-44A3-9010-379D4FA7284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E773230-71DD-4E8A-BFDB-D2FC7D64CAF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4B35CD9-AAA9-45B0-9D0C-B18D2C12CCD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4BCE61F-AA07-4B02-99C9-6B7DAE46338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9280399-9CED-4484-BE47-0D75C0B382F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408550D-C4F8-4EE9-8AEC-C1B1166C9A0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22017859-34C3-40D4-B6ED-A70BBF0AF23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09887858-8C10-4A2F-B6ED-BCE2E11399E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68.593400000000003</c:v>
                </c:pt>
                <c:pt idx="1">
                  <c:v>23.808499999999999</c:v>
                </c:pt>
                <c:pt idx="2">
                  <c:v>50.115900000000003</c:v>
                </c:pt>
                <c:pt idx="3">
                  <c:v>31.6996</c:v>
                </c:pt>
                <c:pt idx="4">
                  <c:v>52.491900000000001</c:v>
                </c:pt>
                <c:pt idx="5">
                  <c:v>29.232500000000002</c:v>
                </c:pt>
                <c:pt idx="6">
                  <c:v>33.807899999999997</c:v>
                </c:pt>
                <c:pt idx="7">
                  <c:v>31.170300000000001</c:v>
                </c:pt>
              </c:numCache>
            </c:numRef>
          </c:xVal>
          <c:yVal>
            <c:numRef>
              <c:f>Sheet1!$B$2:$B$9</c:f>
              <c:numCache>
                <c:formatCode>General</c:formatCode>
                <c:ptCount val="8"/>
                <c:pt idx="0">
                  <c:v>2.012</c:v>
                </c:pt>
                <c:pt idx="1">
                  <c:v>0.70899999999999996</c:v>
                </c:pt>
                <c:pt idx="2">
                  <c:v>1.4390000000000001</c:v>
                </c:pt>
                <c:pt idx="3">
                  <c:v>0.94199999999999995</c:v>
                </c:pt>
                <c:pt idx="4">
                  <c:v>1.3859999999999999</c:v>
                </c:pt>
                <c:pt idx="5">
                  <c:v>0.86899999999999999</c:v>
                </c:pt>
                <c:pt idx="6">
                  <c:v>0.96599999999999997</c:v>
                </c:pt>
                <c:pt idx="7">
                  <c:v>0.92600000000000005</c:v>
                </c:pt>
              </c:numCache>
            </c:numRef>
          </c:yVal>
          <c:bubbleSize>
            <c:numRef>
              <c:f>Sheet1!$C$2:$C$9</c:f>
              <c:numCache>
                <c:formatCode>General</c:formatCode>
                <c:ptCount val="8"/>
                <c:pt idx="0">
                  <c:v>2452284</c:v>
                </c:pt>
                <c:pt idx="1">
                  <c:v>1052215</c:v>
                </c:pt>
                <c:pt idx="2">
                  <c:v>800953</c:v>
                </c:pt>
                <c:pt idx="3">
                  <c:v>584730</c:v>
                </c:pt>
                <c:pt idx="4">
                  <c:v>451798</c:v>
                </c:pt>
                <c:pt idx="5">
                  <c:v>367569</c:v>
                </c:pt>
                <c:pt idx="6">
                  <c:v>360663</c:v>
                </c:pt>
                <c:pt idx="7">
                  <c:v>351009</c:v>
                </c:pt>
              </c:numCache>
            </c:numRef>
          </c:bubbleSize>
          <c:bubble3D val="0"/>
          <c:extLst>
            <c:ext xmlns:c15="http://schemas.microsoft.com/office/drawing/2012/chart" uri="{02D57815-91ED-43cb-92C2-25804820EDAC}">
              <c15:datalabelsRange>
                <c15:f>Sheet1!$E$2:$E$10</c15:f>
                <c15:dlblRangeCache>
                  <c:ptCount val="9"/>
                  <c:pt idx="0">
                    <c:v>Ruinart</c:v>
                  </c:pt>
                  <c:pt idx="1">
                    <c:v>Nicolas</c:v>
                  </c:pt>
                  <c:pt idx="2">
                    <c:v>Deutz</c:v>
                  </c:pt>
                  <c:pt idx="3">
                    <c:v>Malard</c:v>
                  </c:pt>
                  <c:pt idx="4">
                    <c:v>Laurent Perrier</c:v>
                  </c:pt>
                  <c:pt idx="5">
                    <c:v>Heidsieck &amp; Co Monopole</c:v>
                  </c:pt>
                  <c:pt idx="6">
                    <c:v>Nicolas Feuillatte</c:v>
                  </c:pt>
                  <c:pt idx="7">
                    <c:v>De Blign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2"/>
          <c:min val="19"/>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89EEC49D-59A9-4194-8F7C-F6E3BD7D3F6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48EF-49EC-8B4D-EC25A4464CE3}"/>
                </c:ext>
              </c:extLst>
            </c:dLbl>
            <c:dLbl>
              <c:idx val="2"/>
              <c:tx>
                <c:rich>
                  <a:bodyPr/>
                  <a:lstStyle/>
                  <a:p>
                    <a:fld id="{C66AED92-B3F0-43E3-8E1A-96708E4B044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48EF-49EC-8B4D-EC25A4464CE3}"/>
                </c:ext>
              </c:extLst>
            </c:dLbl>
            <c:dLbl>
              <c:idx val="3"/>
              <c:tx>
                <c:rich>
                  <a:bodyPr/>
                  <a:lstStyle/>
                  <a:p>
                    <a:fld id="{355476F7-FE46-4A28-9AA4-7ACFB239510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48EF-49EC-8B4D-EC25A4464CE3}"/>
                </c:ext>
              </c:extLst>
            </c:dLbl>
            <c:dLbl>
              <c:idx val="4"/>
              <c:tx>
                <c:rich>
                  <a:bodyPr/>
                  <a:lstStyle/>
                  <a:p>
                    <a:fld id="{2D7C380A-40EB-413F-BAD8-7C9DBF51FD5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48EF-49EC-8B4D-EC25A4464CE3}"/>
                </c:ext>
              </c:extLst>
            </c:dLbl>
            <c:dLbl>
              <c:idx val="5"/>
              <c:tx>
                <c:rich>
                  <a:bodyPr/>
                  <a:lstStyle/>
                  <a:p>
                    <a:fld id="{E2B43189-884A-4772-AF51-6B151C63537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48EF-49EC-8B4D-EC25A4464CE3}"/>
                </c:ext>
              </c:extLst>
            </c:dLbl>
            <c:dLbl>
              <c:idx val="6"/>
              <c:tx>
                <c:rich>
                  <a:bodyPr/>
                  <a:lstStyle/>
                  <a:p>
                    <a:fld id="{25E70F37-2A6B-4E22-B99F-47C32F0A4CE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48EF-49EC-8B4D-EC25A4464CE3}"/>
                </c:ext>
              </c:extLst>
            </c:dLbl>
            <c:dLbl>
              <c:idx val="7"/>
              <c:tx>
                <c:rich>
                  <a:bodyPr/>
                  <a:lstStyle/>
                  <a:p>
                    <a:fld id="{16A72E86-46FE-42F0-9CE4-E649FA23F09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48EF-49EC-8B4D-EC25A4464CE3}"/>
                </c:ext>
              </c:extLst>
            </c:dLbl>
            <c:dLbl>
              <c:idx val="8"/>
              <c:tx>
                <c:rich>
                  <a:bodyPr/>
                  <a:lstStyle/>
                  <a:p>
                    <a:fld id="{7905B51A-20D4-467F-89A7-86652456AD4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7.518999999999998</c:v>
                </c:pt>
              </c:numCache>
            </c:numRef>
          </c:xVal>
          <c:yVal>
            <c:numRef>
              <c:f>Sheet1!$B$2:$B$2</c:f>
              <c:numCache>
                <c:formatCode>General</c:formatCode>
                <c:ptCount val="1"/>
                <c:pt idx="0">
                  <c:v>1</c:v>
                </c:pt>
              </c:numCache>
            </c:numRef>
          </c:yVal>
          <c:bubbleSize>
            <c:numRef>
              <c:f>Sheet1!$C$2:$C$2</c:f>
              <c:numCache>
                <c:formatCode>General</c:formatCode>
                <c:ptCount val="1"/>
                <c:pt idx="0">
                  <c:v>22179</c:v>
                </c:pt>
              </c:numCache>
            </c:numRef>
          </c:bubbleSize>
          <c:bubble3D val="0"/>
          <c:extLst>
            <c:ext xmlns:c15="http://schemas.microsoft.com/office/drawing/2012/chart" uri="{02D57815-91ED-43cb-92C2-25804820EDAC}">
              <c15:datalabelsRange>
                <c15:f>Sheet1!$E$2:$E$10</c15:f>
                <c15:dlblRangeCache>
                  <c:ptCount val="9"/>
                  <c:pt idx="0">
                    <c:v>Mure</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
          <c:min val="14"/>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6F4E3286-6262-4371-839C-EEC3E02847F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1ABB75C4-1A12-4603-8F0A-265E6009067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D871-46D6-BBFE-7C00E0D51738}"/>
                </c:ext>
              </c:extLst>
            </c:dLbl>
            <c:dLbl>
              <c:idx val="3"/>
              <c:tx>
                <c:rich>
                  <a:bodyPr/>
                  <a:lstStyle/>
                  <a:p>
                    <a:fld id="{E6C29C9A-5C04-4D8E-BED1-678D6F26A3A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D871-46D6-BBFE-7C00E0D51738}"/>
                </c:ext>
              </c:extLst>
            </c:dLbl>
            <c:dLbl>
              <c:idx val="4"/>
              <c:tx>
                <c:rich>
                  <a:bodyPr/>
                  <a:lstStyle/>
                  <a:p>
                    <a:fld id="{19A2AEB4-3C8D-455A-95DF-F066B32727C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D871-46D6-BBFE-7C00E0D51738}"/>
                </c:ext>
              </c:extLst>
            </c:dLbl>
            <c:dLbl>
              <c:idx val="5"/>
              <c:tx>
                <c:rich>
                  <a:bodyPr/>
                  <a:lstStyle/>
                  <a:p>
                    <a:fld id="{DEA54785-D42E-4CAB-9E3E-2B2ADF7CC31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71-46D6-BBFE-7C00E0D51738}"/>
                </c:ext>
              </c:extLst>
            </c:dLbl>
            <c:dLbl>
              <c:idx val="6"/>
              <c:tx>
                <c:rich>
                  <a:bodyPr/>
                  <a:lstStyle/>
                  <a:p>
                    <a:fld id="{F68F8635-175B-4D02-BCB8-A2DB7DD5B76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71-46D6-BBFE-7C00E0D51738}"/>
                </c:ext>
              </c:extLst>
            </c:dLbl>
            <c:dLbl>
              <c:idx val="7"/>
              <c:tx>
                <c:rich>
                  <a:bodyPr/>
                  <a:lstStyle/>
                  <a:p>
                    <a:fld id="{A369FC4B-C922-491F-B9A2-AD0E87DB406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71-46D6-BBFE-7C00E0D51738}"/>
                </c:ext>
              </c:extLst>
            </c:dLbl>
            <c:dLbl>
              <c:idx val="8"/>
              <c:tx>
                <c:rich>
                  <a:bodyPr/>
                  <a:lstStyle/>
                  <a:p>
                    <a:fld id="{8B162C2B-BC4E-494A-B11D-207E99E282D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10.8147</c:v>
                </c:pt>
                <c:pt idx="1">
                  <c:v>10.1408</c:v>
                </c:pt>
              </c:numCache>
            </c:numRef>
          </c:xVal>
          <c:yVal>
            <c:numRef>
              <c:f>Sheet1!$B$2:$B$3</c:f>
              <c:numCache>
                <c:formatCode>General</c:formatCode>
                <c:ptCount val="2"/>
                <c:pt idx="0">
                  <c:v>1.028</c:v>
                </c:pt>
                <c:pt idx="1">
                  <c:v>0.84599999999999997</c:v>
                </c:pt>
              </c:numCache>
            </c:numRef>
          </c:yVal>
          <c:bubbleSize>
            <c:numRef>
              <c:f>Sheet1!$C$2:$C$3</c:f>
              <c:numCache>
                <c:formatCode>General</c:formatCode>
                <c:ptCount val="2"/>
                <c:pt idx="0">
                  <c:v>4845</c:v>
                </c:pt>
                <c:pt idx="1">
                  <c:v>720</c:v>
                </c:pt>
              </c:numCache>
            </c:numRef>
          </c:bubbleSize>
          <c:bubble3D val="0"/>
          <c:extLst>
            <c:ext xmlns:c15="http://schemas.microsoft.com/office/drawing/2012/chart" uri="{02D57815-91ED-43cb-92C2-25804820EDAC}">
              <c15:datalabelsRange>
                <c15:f>Sheet1!$E$2:$E$10</c15:f>
                <c15:dlblRangeCache>
                  <c:ptCount val="9"/>
                  <c:pt idx="0">
                    <c:v>Cru La Maqueline</c:v>
                  </c:pt>
                  <c:pt idx="1">
                    <c:v>Celene</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3"/>
          <c:min val="8"/>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C04F0DC-E0B3-4F6E-AA1B-2A7E5D2092B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2B29E4A-CD47-4E80-AB42-8BA8C96C66D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7C1D017-F536-47AB-9CD7-5F933915C54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2E6D1C2-39F0-4025-A3EB-3C1B76A99B0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0CBD21E-8BA8-427E-AE57-EEC49E6F948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1B1D8F2-2A74-419E-956B-E1B4CFC9D12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C207A011-5A0F-49F8-A36E-D07F622BF81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AE35A53D-1B43-43F7-BD70-55D714F8A01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101.1712</c:v>
                </c:pt>
                <c:pt idx="1">
                  <c:v>35.475900000000003</c:v>
                </c:pt>
                <c:pt idx="2">
                  <c:v>43.171999999999997</c:v>
                </c:pt>
                <c:pt idx="3">
                  <c:v>57.229799999999997</c:v>
                </c:pt>
                <c:pt idx="4">
                  <c:v>47.451099999999997</c:v>
                </c:pt>
                <c:pt idx="5">
                  <c:v>77.934200000000004</c:v>
                </c:pt>
                <c:pt idx="6">
                  <c:v>38.840800000000002</c:v>
                </c:pt>
                <c:pt idx="7">
                  <c:v>55.2742</c:v>
                </c:pt>
              </c:numCache>
            </c:numRef>
          </c:xVal>
          <c:yVal>
            <c:numRef>
              <c:f>Sheet1!$B$2:$B$9</c:f>
              <c:numCache>
                <c:formatCode>General</c:formatCode>
                <c:ptCount val="8"/>
                <c:pt idx="0">
                  <c:v>1.341</c:v>
                </c:pt>
                <c:pt idx="1">
                  <c:v>0.47599999999999998</c:v>
                </c:pt>
                <c:pt idx="2">
                  <c:v>0.58799999999999997</c:v>
                </c:pt>
                <c:pt idx="3">
                  <c:v>0.86</c:v>
                </c:pt>
                <c:pt idx="4">
                  <c:v>0.626</c:v>
                </c:pt>
                <c:pt idx="5">
                  <c:v>0.99099999999999999</c:v>
                </c:pt>
                <c:pt idx="6">
                  <c:v>0.50700000000000001</c:v>
                </c:pt>
                <c:pt idx="7">
                  <c:v>0.69799999999999995</c:v>
                </c:pt>
              </c:numCache>
            </c:numRef>
          </c:yVal>
          <c:bubbleSize>
            <c:numRef>
              <c:f>Sheet1!$C$2:$C$9</c:f>
              <c:numCache>
                <c:formatCode>General</c:formatCode>
                <c:ptCount val="8"/>
                <c:pt idx="0">
                  <c:v>286011</c:v>
                </c:pt>
                <c:pt idx="1">
                  <c:v>30119</c:v>
                </c:pt>
                <c:pt idx="2">
                  <c:v>27112</c:v>
                </c:pt>
                <c:pt idx="3">
                  <c:v>17684</c:v>
                </c:pt>
                <c:pt idx="4">
                  <c:v>12622</c:v>
                </c:pt>
                <c:pt idx="5">
                  <c:v>11846</c:v>
                </c:pt>
                <c:pt idx="6">
                  <c:v>11225</c:v>
                </c:pt>
                <c:pt idx="7">
                  <c:v>10281</c:v>
                </c:pt>
              </c:numCache>
            </c:numRef>
          </c:bubbleSize>
          <c:bubble3D val="0"/>
          <c:extLst>
            <c:ext xmlns:c15="http://schemas.microsoft.com/office/drawing/2012/chart" uri="{02D57815-91ED-43cb-92C2-25804820EDAC}">
              <c15:datalabelsRange>
                <c15:f>Sheet1!$E$2:$E$10</c15:f>
                <c15:dlblRangeCache>
                  <c:ptCount val="9"/>
                  <c:pt idx="0">
                    <c:v>Ruinart</c:v>
                  </c:pt>
                  <c:pt idx="1">
                    <c:v>Malard</c:v>
                  </c:pt>
                  <c:pt idx="2">
                    <c:v>Nicolas</c:v>
                  </c:pt>
                  <c:pt idx="3">
                    <c:v>Besserat De Bellefon</c:v>
                  </c:pt>
                  <c:pt idx="4">
                    <c:v>Henriot</c:v>
                  </c:pt>
                  <c:pt idx="5">
                    <c:v>Ayala</c:v>
                  </c:pt>
                  <c:pt idx="6">
                    <c:v>De Bligny</c:v>
                  </c:pt>
                  <c:pt idx="7">
                    <c:v>Delamott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21"/>
          <c:min val="28"/>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8AD4D7A8-042B-433F-9291-8A5A6676BF6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753048F5-6C8F-4E77-A501-E72E64CBAC2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37000B0E-0AB2-4B48-B2CC-F3AE5EFB72E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9B17BF07-C91A-444C-860D-B7FF525006B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880A731E-A551-47B3-8EC1-3BD943BB59B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90142AE3-4888-4A4C-9A35-788DE49CCC0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C747A4A7-CB92-4E35-B581-C2C559EE6C5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8B81DE32-3136-469E-9F1C-A3B9060455E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57.992800000000003</c:v>
                </c:pt>
                <c:pt idx="1">
                  <c:v>50.215800000000002</c:v>
                </c:pt>
                <c:pt idx="2">
                  <c:v>22.9695</c:v>
                </c:pt>
                <c:pt idx="3">
                  <c:v>29.235499999999998</c:v>
                </c:pt>
                <c:pt idx="4">
                  <c:v>51.685499999999998</c:v>
                </c:pt>
                <c:pt idx="5">
                  <c:v>55.038899999999998</c:v>
                </c:pt>
                <c:pt idx="6">
                  <c:v>31.77</c:v>
                </c:pt>
                <c:pt idx="7">
                  <c:v>37.607300000000002</c:v>
                </c:pt>
              </c:numCache>
            </c:numRef>
          </c:xVal>
          <c:yVal>
            <c:numRef>
              <c:f>Sheet1!$B$2:$B$9</c:f>
              <c:numCache>
                <c:formatCode>General</c:formatCode>
                <c:ptCount val="8"/>
                <c:pt idx="0">
                  <c:v>1.411</c:v>
                </c:pt>
                <c:pt idx="1">
                  <c:v>1.163</c:v>
                </c:pt>
                <c:pt idx="2">
                  <c:v>0.56299999999999994</c:v>
                </c:pt>
                <c:pt idx="3">
                  <c:v>0.72599999999999998</c:v>
                </c:pt>
                <c:pt idx="4">
                  <c:v>1.0629999999999999</c:v>
                </c:pt>
                <c:pt idx="5">
                  <c:v>1.145</c:v>
                </c:pt>
                <c:pt idx="6">
                  <c:v>0.78400000000000003</c:v>
                </c:pt>
                <c:pt idx="7">
                  <c:v>0.93400000000000005</c:v>
                </c:pt>
              </c:numCache>
            </c:numRef>
          </c:yVal>
          <c:bubbleSize>
            <c:numRef>
              <c:f>Sheet1!$C$2:$C$9</c:f>
              <c:numCache>
                <c:formatCode>General</c:formatCode>
                <c:ptCount val="8"/>
                <c:pt idx="0">
                  <c:v>496882</c:v>
                </c:pt>
                <c:pt idx="1">
                  <c:v>276940</c:v>
                </c:pt>
                <c:pt idx="2">
                  <c:v>218187</c:v>
                </c:pt>
                <c:pt idx="3">
                  <c:v>125888</c:v>
                </c:pt>
                <c:pt idx="4">
                  <c:v>121616</c:v>
                </c:pt>
                <c:pt idx="5">
                  <c:v>118719</c:v>
                </c:pt>
                <c:pt idx="6">
                  <c:v>117962</c:v>
                </c:pt>
                <c:pt idx="7">
                  <c:v>105639</c:v>
                </c:pt>
              </c:numCache>
            </c:numRef>
          </c:bubbleSize>
          <c:bubble3D val="0"/>
          <c:extLst>
            <c:ext xmlns:c15="http://schemas.microsoft.com/office/drawing/2012/chart" uri="{02D57815-91ED-43cb-92C2-25804820EDAC}">
              <c15:datalabelsRange>
                <c15:f>Sheet1!$E$2:$E$10</c15:f>
                <c15:dlblRangeCache>
                  <c:ptCount val="9"/>
                  <c:pt idx="0">
                    <c:v>Ruinart</c:v>
                  </c:pt>
                  <c:pt idx="1">
                    <c:v>Deutz</c:v>
                  </c:pt>
                  <c:pt idx="2">
                    <c:v>Nicolas</c:v>
                  </c:pt>
                  <c:pt idx="3">
                    <c:v>Heidsieck &amp; Co Monopole</c:v>
                  </c:pt>
                  <c:pt idx="4">
                    <c:v>Laurent Perrier</c:v>
                  </c:pt>
                  <c:pt idx="5">
                    <c:v>Taittinger</c:v>
                  </c:pt>
                  <c:pt idx="6">
                    <c:v>Canard Duchêne</c:v>
                  </c:pt>
                  <c:pt idx="7">
                    <c:v>Ayala</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0"/>
          <c:min val="18"/>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99FBF77F-C8C2-4DB5-A0F1-E3CBC6F360C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B9E86514-4E0E-46D3-ACB1-E073630CA28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71-46D6-BBFE-7C00E0D51738}"/>
                </c:ext>
              </c:extLst>
            </c:dLbl>
            <c:dLbl>
              <c:idx val="3"/>
              <c:tx>
                <c:rich>
                  <a:bodyPr/>
                  <a:lstStyle/>
                  <a:p>
                    <a:fld id="{85E98FBA-D434-4D0F-8B42-5446B9714EA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71-46D6-BBFE-7C00E0D51738}"/>
                </c:ext>
              </c:extLst>
            </c:dLbl>
            <c:dLbl>
              <c:idx val="4"/>
              <c:tx>
                <c:rich>
                  <a:bodyPr/>
                  <a:lstStyle/>
                  <a:p>
                    <a:fld id="{831BB4CA-0155-4C19-94D0-4B3B94E73CF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D871-46D6-BBFE-7C00E0D51738}"/>
                </c:ext>
              </c:extLst>
            </c:dLbl>
            <c:dLbl>
              <c:idx val="5"/>
              <c:tx>
                <c:rich>
                  <a:bodyPr/>
                  <a:lstStyle/>
                  <a:p>
                    <a:fld id="{4A087F40-E6C5-4BA1-975B-E95E15C279F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71-46D6-BBFE-7C00E0D51738}"/>
                </c:ext>
              </c:extLst>
            </c:dLbl>
            <c:dLbl>
              <c:idx val="6"/>
              <c:tx>
                <c:rich>
                  <a:bodyPr/>
                  <a:lstStyle/>
                  <a:p>
                    <a:fld id="{FAFE07EA-2C10-405A-A192-92124690808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71-46D6-BBFE-7C00E0D51738}"/>
                </c:ext>
              </c:extLst>
            </c:dLbl>
            <c:dLbl>
              <c:idx val="7"/>
              <c:tx>
                <c:rich>
                  <a:bodyPr/>
                  <a:lstStyle/>
                  <a:p>
                    <a:fld id="{7814D896-0294-4C0F-B46C-6458ED844D3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71-46D6-BBFE-7C00E0D51738}"/>
                </c:ext>
              </c:extLst>
            </c:dLbl>
            <c:dLbl>
              <c:idx val="8"/>
              <c:tx>
                <c:rich>
                  <a:bodyPr/>
                  <a:lstStyle/>
                  <a:p>
                    <a:fld id="{D6E1C572-B9C2-4DF2-94C4-ECDA03AD60E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29.557700000000001</c:v>
                </c:pt>
                <c:pt idx="1">
                  <c:v>30.572399999999998</c:v>
                </c:pt>
                <c:pt idx="2">
                  <c:v>32.226799999999997</c:v>
                </c:pt>
                <c:pt idx="3">
                  <c:v>37.310899999999997</c:v>
                </c:pt>
              </c:numCache>
            </c:numRef>
          </c:xVal>
          <c:yVal>
            <c:numRef>
              <c:f>Sheet1!$B$2:$B$5</c:f>
              <c:numCache>
                <c:formatCode>General</c:formatCode>
                <c:ptCount val="4"/>
                <c:pt idx="0">
                  <c:v>0.98599999999999999</c:v>
                </c:pt>
                <c:pt idx="1">
                  <c:v>1.022</c:v>
                </c:pt>
                <c:pt idx="2">
                  <c:v>1.0620000000000001</c:v>
                </c:pt>
                <c:pt idx="3">
                  <c:v>1.1220000000000001</c:v>
                </c:pt>
              </c:numCache>
            </c:numRef>
          </c:yVal>
          <c:bubbleSize>
            <c:numRef>
              <c:f>Sheet1!$C$2:$C$5</c:f>
              <c:numCache>
                <c:formatCode>General</c:formatCode>
                <c:ptCount val="4"/>
                <c:pt idx="0">
                  <c:v>105787</c:v>
                </c:pt>
                <c:pt idx="1">
                  <c:v>23663</c:v>
                </c:pt>
                <c:pt idx="2">
                  <c:v>9378</c:v>
                </c:pt>
                <c:pt idx="3">
                  <c:v>4440</c:v>
                </c:pt>
              </c:numCache>
            </c:numRef>
          </c:bubbleSize>
          <c:bubble3D val="0"/>
          <c:extLst>
            <c:ext xmlns:c15="http://schemas.microsoft.com/office/drawing/2012/chart" uri="{02D57815-91ED-43cb-92C2-25804820EDAC}">
              <c15:datalabelsRange>
                <c15:f>Sheet1!$E$2:$E$10</c15:f>
                <c15:dlblRangeCache>
                  <c:ptCount val="9"/>
                  <c:pt idx="0">
                    <c:v>Malard</c:v>
                  </c:pt>
                  <c:pt idx="1">
                    <c:v>Vesselle</c:v>
                  </c:pt>
                  <c:pt idx="2">
                    <c:v>Louis Martin</c:v>
                  </c:pt>
                  <c:pt idx="3">
                    <c:v>Nicolas</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5"/>
          <c:min val="24"/>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CA-4C16-90F6-A0D9A3D8DA8E}"/>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CA-4C16-90F6-A0D9A3D8DA8E}"/>
                </c:ext>
              </c:extLst>
            </c:dLbl>
            <c:dLbl>
              <c:idx val="1"/>
              <c:tx>
                <c:rich>
                  <a:bodyPr/>
                  <a:lstStyle/>
                  <a:p>
                    <a:fld id="{40F861B3-052B-404B-96BD-B3949094192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CA-4C16-90F6-A0D9A3D8DA8E}"/>
                </c:ext>
              </c:extLst>
            </c:dLbl>
            <c:dLbl>
              <c:idx val="2"/>
              <c:tx>
                <c:rich>
                  <a:bodyPr/>
                  <a:lstStyle/>
                  <a:p>
                    <a:fld id="{2B877B8E-D6C5-4B39-94B7-7167BA1B0C6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CA-4C16-90F6-A0D9A3D8DA8E}"/>
                </c:ext>
              </c:extLst>
            </c:dLbl>
            <c:dLbl>
              <c:idx val="3"/>
              <c:tx>
                <c:rich>
                  <a:bodyPr/>
                  <a:lstStyle/>
                  <a:p>
                    <a:fld id="{07BA2229-6339-4B27-81B5-8873D55D53C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D8CA-4C16-90F6-A0D9A3D8DA8E}"/>
                </c:ext>
              </c:extLst>
            </c:dLbl>
            <c:dLbl>
              <c:idx val="4"/>
              <c:tx>
                <c:rich>
                  <a:bodyPr/>
                  <a:lstStyle/>
                  <a:p>
                    <a:fld id="{80AAB5A3-D170-4086-B859-DAE1C8CF728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D8CA-4C16-90F6-A0D9A3D8DA8E}"/>
                </c:ext>
              </c:extLst>
            </c:dLbl>
            <c:dLbl>
              <c:idx val="5"/>
              <c:tx>
                <c:rich>
                  <a:bodyPr/>
                  <a:lstStyle/>
                  <a:p>
                    <a:fld id="{9BB37729-1DB2-4292-9743-C9C19666EA2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CA-4C16-90F6-A0D9A3D8DA8E}"/>
                </c:ext>
              </c:extLst>
            </c:dLbl>
            <c:dLbl>
              <c:idx val="6"/>
              <c:tx>
                <c:rich>
                  <a:bodyPr/>
                  <a:lstStyle/>
                  <a:p>
                    <a:fld id="{E893F8ED-D7A6-42D9-BE03-1685A241630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CA-4C16-90F6-A0D9A3D8DA8E}"/>
                </c:ext>
              </c:extLst>
            </c:dLbl>
            <c:dLbl>
              <c:idx val="7"/>
              <c:tx>
                <c:rich>
                  <a:bodyPr/>
                  <a:lstStyle/>
                  <a:p>
                    <a:fld id="{8130A750-E532-444B-B249-AEB6C39783B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CA-4C16-90F6-A0D9A3D8DA8E}"/>
                </c:ext>
              </c:extLst>
            </c:dLbl>
            <c:dLbl>
              <c:idx val="8"/>
              <c:tx>
                <c:rich>
                  <a:bodyPr/>
                  <a:lstStyle/>
                  <a:p>
                    <a:fld id="{EF938E95-3F23-4395-B812-5C099CBA873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CA-4C16-90F6-A0D9A3D8DA8E}"/>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31.412800000000001</c:v>
                </c:pt>
                <c:pt idx="1">
                  <c:v>44.533299999999997</c:v>
                </c:pt>
                <c:pt idx="2">
                  <c:v>40.75</c:v>
                </c:pt>
              </c:numCache>
            </c:numRef>
          </c:xVal>
          <c:yVal>
            <c:numRef>
              <c:f>Sheet1!$B$2:$B$4</c:f>
              <c:numCache>
                <c:formatCode>General</c:formatCode>
                <c:ptCount val="3"/>
                <c:pt idx="0">
                  <c:v>0.94399999999999995</c:v>
                </c:pt>
                <c:pt idx="1">
                  <c:v>1.333</c:v>
                </c:pt>
                <c:pt idx="2">
                  <c:v>1.022</c:v>
                </c:pt>
              </c:numCache>
            </c:numRef>
          </c:yVal>
          <c:bubbleSize>
            <c:numRef>
              <c:f>Sheet1!$C$2:$C$4</c:f>
              <c:numCache>
                <c:formatCode>General</c:formatCode>
                <c:ptCount val="3"/>
                <c:pt idx="0">
                  <c:v>83558</c:v>
                </c:pt>
                <c:pt idx="1">
                  <c:v>19372</c:v>
                </c:pt>
                <c:pt idx="2">
                  <c:v>1630</c:v>
                </c:pt>
              </c:numCache>
            </c:numRef>
          </c:bubbleSize>
          <c:bubble3D val="0"/>
          <c:extLst>
            <c:ext xmlns:c15="http://schemas.microsoft.com/office/drawing/2012/chart" uri="{02D57815-91ED-43cb-92C2-25804820EDAC}">
              <c15:datalabelsRange>
                <c15:f>Sheet1!$E$2:$E$10</c15:f>
                <c15:dlblRangeCache>
                  <c:ptCount val="9"/>
                  <c:pt idx="0">
                    <c:v>Nicolas Feuillatte</c:v>
                  </c:pt>
                  <c:pt idx="1">
                    <c:v>Moët &amp; Chandon</c:v>
                  </c:pt>
                  <c:pt idx="2">
                    <c:v>Canard Duchêne</c:v>
                  </c:pt>
                </c15:dlblRangeCache>
              </c15:datalabelsRange>
            </c:ext>
            <c:ext xmlns:c16="http://schemas.microsoft.com/office/drawing/2014/chart" uri="{C3380CC4-5D6E-409C-BE32-E72D297353CC}">
              <c16:uniqueId val="{00000009-D8CA-4C16-90F6-A0D9A3D8DA8E}"/>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3"/>
          <c:min val="25"/>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BABE96A-BA35-4029-B06E-1D661E8E04E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7B061BD-FE12-47FE-92AF-32D8DD5F293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E9224FF-FBC8-4D9E-B190-4DF8A24A025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33B1269-8B84-427B-9A06-68E37FE7115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7BF72B3-FA57-4801-949F-57164B605C6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27857CE-E511-4B6A-A8E4-930F113E44E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C43DA09-54A2-413D-B349-156E1745156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7AB6190C-F9D3-4E15-B8C9-D6F497A66E8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70.98680000000002</c:v>
                </c:pt>
                <c:pt idx="1">
                  <c:v>161.57050000000001</c:v>
                </c:pt>
                <c:pt idx="2">
                  <c:v>98.010900000000007</c:v>
                </c:pt>
                <c:pt idx="3">
                  <c:v>38.633200000000002</c:v>
                </c:pt>
                <c:pt idx="4">
                  <c:v>65.814800000000005</c:v>
                </c:pt>
                <c:pt idx="5">
                  <c:v>307.44439999999997</c:v>
                </c:pt>
                <c:pt idx="6">
                  <c:v>272.39999999999998</c:v>
                </c:pt>
                <c:pt idx="7">
                  <c:v>235.4545</c:v>
                </c:pt>
              </c:numCache>
            </c:numRef>
          </c:xVal>
          <c:yVal>
            <c:numRef>
              <c:f>Sheet1!$B$2:$B$9</c:f>
              <c:numCache>
                <c:formatCode>General</c:formatCode>
                <c:ptCount val="8"/>
                <c:pt idx="0">
                  <c:v>1.8819999999999999</c:v>
                </c:pt>
                <c:pt idx="1">
                  <c:v>0.99099999999999999</c:v>
                </c:pt>
                <c:pt idx="2">
                  <c:v>0.61799999999999999</c:v>
                </c:pt>
                <c:pt idx="3">
                  <c:v>0.27</c:v>
                </c:pt>
                <c:pt idx="4">
                  <c:v>0.41899999999999998</c:v>
                </c:pt>
                <c:pt idx="5">
                  <c:v>1.849</c:v>
                </c:pt>
                <c:pt idx="6">
                  <c:v>1.456</c:v>
                </c:pt>
                <c:pt idx="7">
                  <c:v>1.3839999999999999</c:v>
                </c:pt>
              </c:numCache>
            </c:numRef>
          </c:yVal>
          <c:bubbleSize>
            <c:numRef>
              <c:f>Sheet1!$C$2:$C$9</c:f>
              <c:numCache>
                <c:formatCode>General</c:formatCode>
                <c:ptCount val="8"/>
                <c:pt idx="0">
                  <c:v>82380</c:v>
                </c:pt>
                <c:pt idx="1">
                  <c:v>25205</c:v>
                </c:pt>
                <c:pt idx="2">
                  <c:v>17936</c:v>
                </c:pt>
                <c:pt idx="3">
                  <c:v>8847</c:v>
                </c:pt>
                <c:pt idx="4">
                  <c:v>5331</c:v>
                </c:pt>
                <c:pt idx="5">
                  <c:v>2767</c:v>
                </c:pt>
                <c:pt idx="6">
                  <c:v>2724</c:v>
                </c:pt>
                <c:pt idx="7">
                  <c:v>2590</c:v>
                </c:pt>
              </c:numCache>
            </c:numRef>
          </c:bubbleSize>
          <c:bubble3D val="0"/>
          <c:extLst>
            <c:ext xmlns:c15="http://schemas.microsoft.com/office/drawing/2012/chart" uri="{02D57815-91ED-43cb-92C2-25804820EDAC}">
              <c15:datalabelsRange>
                <c15:f>Sheet1!$E$2:$E$10</c15:f>
                <c15:dlblRangeCache>
                  <c:ptCount val="9"/>
                  <c:pt idx="0">
                    <c:v>Dom Perignon</c:v>
                  </c:pt>
                  <c:pt idx="1">
                    <c:v>Roederer</c:v>
                  </c:pt>
                  <c:pt idx="2">
                    <c:v>Ruinart</c:v>
                  </c:pt>
                  <c:pt idx="3">
                    <c:v>Malard</c:v>
                  </c:pt>
                  <c:pt idx="4">
                    <c:v>Laurent Perrier</c:v>
                  </c:pt>
                  <c:pt idx="5">
                    <c:v>Pommery</c:v>
                  </c:pt>
                  <c:pt idx="6">
                    <c:v>Piper Heidsieck</c:v>
                  </c:pt>
                  <c:pt idx="7">
                    <c:v>Bollinger</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69"/>
          <c:min val="31"/>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05B656B5-C45F-421F-B76E-0B4DE2936F3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3B34AB3D-FE3F-41D5-9B2A-B035808426A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728FAE83-B3E4-460B-B8E1-8F428D5A3EF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1B0A16FF-505C-482F-805C-A16B6B5A84E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1261D8AF-2BCC-49E8-8832-A9CABB287DD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7B5BC390-2170-4652-9E31-C36BDCD1644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649E6D4F-0E75-4E65-A2F8-FE6DCAD86D3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7AE517DC-4971-4B0D-BA68-DDB26B9300E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93.163300000000007</c:v>
                </c:pt>
                <c:pt idx="1">
                  <c:v>55.341099999999997</c:v>
                </c:pt>
                <c:pt idx="2">
                  <c:v>27.214600000000001</c:v>
                </c:pt>
                <c:pt idx="3">
                  <c:v>82.220100000000002</c:v>
                </c:pt>
                <c:pt idx="4">
                  <c:v>37.666699999999999</c:v>
                </c:pt>
                <c:pt idx="5">
                  <c:v>38.341000000000001</c:v>
                </c:pt>
                <c:pt idx="6">
                  <c:v>42.3598</c:v>
                </c:pt>
                <c:pt idx="7">
                  <c:v>51.7834</c:v>
                </c:pt>
              </c:numCache>
            </c:numRef>
          </c:xVal>
          <c:yVal>
            <c:numRef>
              <c:f>Sheet1!$B$2:$B$9</c:f>
              <c:numCache>
                <c:formatCode>General</c:formatCode>
                <c:ptCount val="8"/>
                <c:pt idx="0">
                  <c:v>1.6890000000000001</c:v>
                </c:pt>
                <c:pt idx="1">
                  <c:v>1.1259999999999999</c:v>
                </c:pt>
                <c:pt idx="2">
                  <c:v>0.52200000000000002</c:v>
                </c:pt>
                <c:pt idx="3">
                  <c:v>1.4670000000000001</c:v>
                </c:pt>
                <c:pt idx="4">
                  <c:v>0.67900000000000005</c:v>
                </c:pt>
                <c:pt idx="5">
                  <c:v>0.69199999999999995</c:v>
                </c:pt>
                <c:pt idx="6">
                  <c:v>0.92</c:v>
                </c:pt>
                <c:pt idx="7">
                  <c:v>0.92</c:v>
                </c:pt>
              </c:numCache>
            </c:numRef>
          </c:yVal>
          <c:bubbleSize>
            <c:numRef>
              <c:f>Sheet1!$C$2:$C$9</c:f>
              <c:numCache>
                <c:formatCode>General</c:formatCode>
                <c:ptCount val="8"/>
                <c:pt idx="0">
                  <c:v>77605</c:v>
                </c:pt>
                <c:pt idx="1">
                  <c:v>40399</c:v>
                </c:pt>
                <c:pt idx="2">
                  <c:v>26507</c:v>
                </c:pt>
                <c:pt idx="3">
                  <c:v>22035</c:v>
                </c:pt>
                <c:pt idx="4">
                  <c:v>20340</c:v>
                </c:pt>
                <c:pt idx="5">
                  <c:v>16755</c:v>
                </c:pt>
                <c:pt idx="6">
                  <c:v>11183</c:v>
                </c:pt>
                <c:pt idx="7">
                  <c:v>8130</c:v>
                </c:pt>
              </c:numCache>
            </c:numRef>
          </c:bubbleSize>
          <c:bubble3D val="0"/>
          <c:extLst>
            <c:ext xmlns:c15="http://schemas.microsoft.com/office/drawing/2012/chart" uri="{02D57815-91ED-43cb-92C2-25804820EDAC}">
              <c15:datalabelsRange>
                <c15:f>Sheet1!$E$2:$E$10</c15:f>
                <c15:dlblRangeCache>
                  <c:ptCount val="9"/>
                  <c:pt idx="0">
                    <c:v>Ruinart</c:v>
                  </c:pt>
                  <c:pt idx="1">
                    <c:v>Deutz</c:v>
                  </c:pt>
                  <c:pt idx="2">
                    <c:v>Nicolas</c:v>
                  </c:pt>
                  <c:pt idx="3">
                    <c:v>Laurent Perrier</c:v>
                  </c:pt>
                  <c:pt idx="4">
                    <c:v>Demoiselle</c:v>
                  </c:pt>
                  <c:pt idx="5">
                    <c:v>Nicolas Feuillatte</c:v>
                  </c:pt>
                  <c:pt idx="6">
                    <c:v>Besserat De Bellefon</c:v>
                  </c:pt>
                  <c:pt idx="7">
                    <c:v>Pommery</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12"/>
          <c:min val="22"/>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35DAEF82-C384-4A1B-AFE8-034C67720F9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D871-46D6-BBFE-7C00E0D51738}"/>
                </c:ext>
              </c:extLst>
            </c:dLbl>
            <c:dLbl>
              <c:idx val="2"/>
              <c:tx>
                <c:rich>
                  <a:bodyPr/>
                  <a:lstStyle/>
                  <a:p>
                    <a:fld id="{63EBE34D-E6DF-4418-BBEA-4C05CBEC6BB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D871-46D6-BBFE-7C00E0D51738}"/>
                </c:ext>
              </c:extLst>
            </c:dLbl>
            <c:dLbl>
              <c:idx val="3"/>
              <c:tx>
                <c:rich>
                  <a:bodyPr/>
                  <a:lstStyle/>
                  <a:p>
                    <a:fld id="{420FA3CD-45B4-4B13-BB72-CAC01D2B4B5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D871-46D6-BBFE-7C00E0D51738}"/>
                </c:ext>
              </c:extLst>
            </c:dLbl>
            <c:dLbl>
              <c:idx val="4"/>
              <c:tx>
                <c:rich>
                  <a:bodyPr/>
                  <a:lstStyle/>
                  <a:p>
                    <a:fld id="{38976B8E-2E3A-4EC9-A9EF-3C919A7CE0F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D871-46D6-BBFE-7C00E0D51738}"/>
                </c:ext>
              </c:extLst>
            </c:dLbl>
            <c:dLbl>
              <c:idx val="5"/>
              <c:tx>
                <c:rich>
                  <a:bodyPr/>
                  <a:lstStyle/>
                  <a:p>
                    <a:fld id="{2C64F9AB-1665-4EEB-A779-38A1BE4783D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71-46D6-BBFE-7C00E0D51738}"/>
                </c:ext>
              </c:extLst>
            </c:dLbl>
            <c:dLbl>
              <c:idx val="6"/>
              <c:tx>
                <c:rich>
                  <a:bodyPr/>
                  <a:lstStyle/>
                  <a:p>
                    <a:fld id="{FC70A4F8-C5AC-4316-827A-3282ACD35F4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71-46D6-BBFE-7C00E0D51738}"/>
                </c:ext>
              </c:extLst>
            </c:dLbl>
            <c:dLbl>
              <c:idx val="7"/>
              <c:tx>
                <c:rich>
                  <a:bodyPr/>
                  <a:lstStyle/>
                  <a:p>
                    <a:fld id="{99B2189F-5CF6-44FC-AE04-51271C280C4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71-46D6-BBFE-7C00E0D51738}"/>
                </c:ext>
              </c:extLst>
            </c:dLbl>
            <c:dLbl>
              <c:idx val="8"/>
              <c:tx>
                <c:rich>
                  <a:bodyPr/>
                  <a:lstStyle/>
                  <a:p>
                    <a:fld id="{DC447E38-E4DB-4506-B56B-B9B52B0116D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2.6144</c:v>
                </c:pt>
              </c:numCache>
            </c:numRef>
          </c:xVal>
          <c:yVal>
            <c:numRef>
              <c:f>Sheet1!$B$2:$B$2</c:f>
              <c:numCache>
                <c:formatCode>General</c:formatCode>
                <c:ptCount val="1"/>
                <c:pt idx="0">
                  <c:v>1</c:v>
                </c:pt>
              </c:numCache>
            </c:numRef>
          </c:yVal>
          <c:bubbleSize>
            <c:numRef>
              <c:f>Sheet1!$C$2:$C$2</c:f>
              <c:numCache>
                <c:formatCode>General</c:formatCode>
                <c:ptCount val="1"/>
                <c:pt idx="0">
                  <c:v>33731</c:v>
                </c:pt>
              </c:numCache>
            </c:numRef>
          </c:bubbleSize>
          <c:bubble3D val="0"/>
          <c:extLst>
            <c:ext xmlns:c15="http://schemas.microsoft.com/office/drawing/2012/chart" uri="{02D57815-91ED-43cb-92C2-25804820EDAC}">
              <c15:datalabelsRange>
                <c15:f>Sheet1!$E$2:$E$10</c15:f>
                <c15:dlblRangeCache>
                  <c:ptCount val="9"/>
                  <c:pt idx="0">
                    <c:v>Patriarche</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5"/>
          <c:min val="10"/>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CA-4C16-90F6-A0D9A3D8DA8E}"/>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CA-4C16-90F6-A0D9A3D8DA8E}"/>
                </c:ext>
              </c:extLst>
            </c:dLbl>
            <c:dLbl>
              <c:idx val="1"/>
              <c:tx>
                <c:rich>
                  <a:bodyPr/>
                  <a:lstStyle/>
                  <a:p>
                    <a:fld id="{8F7507ED-84A7-4589-BE8E-0257F0E058D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CA-4C16-90F6-A0D9A3D8DA8E}"/>
                </c:ext>
              </c:extLst>
            </c:dLbl>
            <c:dLbl>
              <c:idx val="2"/>
              <c:tx>
                <c:rich>
                  <a:bodyPr/>
                  <a:lstStyle/>
                  <a:p>
                    <a:fld id="{A66A8C39-8D54-4769-9DCE-18D8AE5AF92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CA-4C16-90F6-A0D9A3D8DA8E}"/>
                </c:ext>
              </c:extLst>
            </c:dLbl>
            <c:dLbl>
              <c:idx val="3"/>
              <c:tx>
                <c:rich>
                  <a:bodyPr/>
                  <a:lstStyle/>
                  <a:p>
                    <a:fld id="{D680D68B-72D8-4B5C-A00A-1261F4D2315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CA-4C16-90F6-A0D9A3D8DA8E}"/>
                </c:ext>
              </c:extLst>
            </c:dLbl>
            <c:dLbl>
              <c:idx val="4"/>
              <c:tx>
                <c:rich>
                  <a:bodyPr/>
                  <a:lstStyle/>
                  <a:p>
                    <a:fld id="{D293E507-B839-4A8F-B2C6-E1E62C790A5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D8CA-4C16-90F6-A0D9A3D8DA8E}"/>
                </c:ext>
              </c:extLst>
            </c:dLbl>
            <c:dLbl>
              <c:idx val="5"/>
              <c:tx>
                <c:rich>
                  <a:bodyPr/>
                  <a:lstStyle/>
                  <a:p>
                    <a:fld id="{E06F79F7-5C47-4475-B52A-D7177D7A2AC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CA-4C16-90F6-A0D9A3D8DA8E}"/>
                </c:ext>
              </c:extLst>
            </c:dLbl>
            <c:dLbl>
              <c:idx val="6"/>
              <c:tx>
                <c:rich>
                  <a:bodyPr/>
                  <a:lstStyle/>
                  <a:p>
                    <a:fld id="{9BD2654C-5945-4C2A-892B-1C7373B4EA1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CA-4C16-90F6-A0D9A3D8DA8E}"/>
                </c:ext>
              </c:extLst>
            </c:dLbl>
            <c:dLbl>
              <c:idx val="7"/>
              <c:tx>
                <c:rich>
                  <a:bodyPr/>
                  <a:lstStyle/>
                  <a:p>
                    <a:fld id="{C3309F59-6EDB-4265-9E5D-498179D3234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CA-4C16-90F6-A0D9A3D8DA8E}"/>
                </c:ext>
              </c:extLst>
            </c:dLbl>
            <c:dLbl>
              <c:idx val="8"/>
              <c:tx>
                <c:rich>
                  <a:bodyPr/>
                  <a:lstStyle/>
                  <a:p>
                    <a:fld id="{C65F41FA-3858-4A19-8D1B-4E6295484DE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CA-4C16-90F6-A0D9A3D8DA8E}"/>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11.4886</c:v>
                </c:pt>
                <c:pt idx="1">
                  <c:v>9.1776</c:v>
                </c:pt>
                <c:pt idx="2">
                  <c:v>11.551</c:v>
                </c:pt>
                <c:pt idx="3">
                  <c:v>6.4760999999999997</c:v>
                </c:pt>
              </c:numCache>
            </c:numRef>
          </c:xVal>
          <c:yVal>
            <c:numRef>
              <c:f>Sheet1!$B$2:$B$5</c:f>
              <c:numCache>
                <c:formatCode>General</c:formatCode>
                <c:ptCount val="4"/>
                <c:pt idx="0">
                  <c:v>1.3320000000000001</c:v>
                </c:pt>
                <c:pt idx="1">
                  <c:v>1.0660000000000001</c:v>
                </c:pt>
                <c:pt idx="2">
                  <c:v>1.119</c:v>
                </c:pt>
                <c:pt idx="3">
                  <c:v>0.749</c:v>
                </c:pt>
              </c:numCache>
            </c:numRef>
          </c:yVal>
          <c:bubbleSize>
            <c:numRef>
              <c:f>Sheet1!$C$2:$C$5</c:f>
              <c:numCache>
                <c:formatCode>General</c:formatCode>
                <c:ptCount val="4"/>
                <c:pt idx="0">
                  <c:v>41175</c:v>
                </c:pt>
                <c:pt idx="1">
                  <c:v>22788</c:v>
                </c:pt>
                <c:pt idx="2">
                  <c:v>8259</c:v>
                </c:pt>
                <c:pt idx="3">
                  <c:v>7726</c:v>
                </c:pt>
              </c:numCache>
            </c:numRef>
          </c:bubbleSize>
          <c:bubble3D val="0"/>
          <c:extLst>
            <c:ext xmlns:c15="http://schemas.microsoft.com/office/drawing/2012/chart" uri="{02D57815-91ED-43cb-92C2-25804820EDAC}">
              <c15:datalabelsRange>
                <c15:f>Sheet1!$E$2:$E$10</c15:f>
                <c15:dlblRangeCache>
                  <c:ptCount val="9"/>
                  <c:pt idx="0">
                    <c:v>Bottega</c:v>
                  </c:pt>
                  <c:pt idx="1">
                    <c:v>Savian</c:v>
                  </c:pt>
                  <c:pt idx="2">
                    <c:v>Contarini</c:v>
                  </c:pt>
                  <c:pt idx="3">
                    <c:v>Vilaveroni</c:v>
                  </c:pt>
                </c15:dlblRangeCache>
              </c15:datalabelsRange>
            </c:ext>
            <c:ext xmlns:c16="http://schemas.microsoft.com/office/drawing/2014/chart" uri="{C3380CC4-5D6E-409C-BE32-E72D297353CC}">
              <c16:uniqueId val="{00000009-D8CA-4C16-90F6-A0D9A3D8DA8E}"/>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4"/>
          <c:min val="5"/>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6A33F83-0129-456A-81F6-8F5C27A384D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0A3E27A-28D1-4B92-BF48-35E14E61BDE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02A4F59-58AD-4678-A172-B3B30ECD941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1B382DC-25AC-44D5-97AE-4C3CD8646D1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1B8EF69C-4EBD-4E30-A5EB-028D52DE1C6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1DEC50A-29E7-46FB-9D46-81A08064687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116DB3A-9497-4B00-BD61-179565106CF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4FC11B79-93A9-4639-B8B6-BB3CB8C1994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5.1111</c:v>
                </c:pt>
                <c:pt idx="1">
                  <c:v>31.078399999999998</c:v>
                </c:pt>
                <c:pt idx="2">
                  <c:v>26.736799999999999</c:v>
                </c:pt>
                <c:pt idx="3">
                  <c:v>24.309100000000001</c:v>
                </c:pt>
                <c:pt idx="4">
                  <c:v>18.720199999999998</c:v>
                </c:pt>
                <c:pt idx="5">
                  <c:v>69.356999999999999</c:v>
                </c:pt>
                <c:pt idx="6">
                  <c:v>41.793300000000002</c:v>
                </c:pt>
                <c:pt idx="7">
                  <c:v>23.585599999999999</c:v>
                </c:pt>
              </c:numCache>
            </c:numRef>
          </c:xVal>
          <c:yVal>
            <c:numRef>
              <c:f>Sheet1!$B$2:$B$9</c:f>
              <c:numCache>
                <c:formatCode>General</c:formatCode>
                <c:ptCount val="8"/>
                <c:pt idx="0">
                  <c:v>1.0429999999999999</c:v>
                </c:pt>
                <c:pt idx="1">
                  <c:v>1.4119999999999999</c:v>
                </c:pt>
                <c:pt idx="2">
                  <c:v>1.2110000000000001</c:v>
                </c:pt>
                <c:pt idx="3">
                  <c:v>1.038</c:v>
                </c:pt>
                <c:pt idx="4">
                  <c:v>0.28699999999999998</c:v>
                </c:pt>
                <c:pt idx="5">
                  <c:v>3.1949999999999998</c:v>
                </c:pt>
                <c:pt idx="6">
                  <c:v>1.88</c:v>
                </c:pt>
                <c:pt idx="7">
                  <c:v>1.1259999999999999</c:v>
                </c:pt>
              </c:numCache>
            </c:numRef>
          </c:yVal>
          <c:bubbleSize>
            <c:numRef>
              <c:f>Sheet1!$C$2:$C$9</c:f>
              <c:numCache>
                <c:formatCode>General</c:formatCode>
                <c:ptCount val="8"/>
                <c:pt idx="0">
                  <c:v>83416559</c:v>
                </c:pt>
                <c:pt idx="1">
                  <c:v>40272903</c:v>
                </c:pt>
                <c:pt idx="2">
                  <c:v>38917245</c:v>
                </c:pt>
                <c:pt idx="3">
                  <c:v>28145421</c:v>
                </c:pt>
                <c:pt idx="4">
                  <c:v>26885600</c:v>
                </c:pt>
                <c:pt idx="5">
                  <c:v>25463946</c:v>
                </c:pt>
                <c:pt idx="6">
                  <c:v>23810173</c:v>
                </c:pt>
                <c:pt idx="7">
                  <c:v>5693651</c:v>
                </c:pt>
              </c:numCache>
            </c:numRef>
          </c:bubbleSize>
          <c:bubble3D val="0"/>
          <c:extLst>
            <c:ext xmlns:c15="http://schemas.microsoft.com/office/drawing/2012/chart" uri="{02D57815-91ED-43cb-92C2-25804820EDAC}">
              <c15:datalabelsRange>
                <c15:f>Sheet1!$E$2:$E$10</c15:f>
                <c15:dlblRangeCache>
                  <c:ptCount val="9"/>
                  <c:pt idx="0">
                    <c:v>Nicolas Feuillatte</c:v>
                  </c:pt>
                  <c:pt idx="1">
                    <c:v>Mumm</c:v>
                  </c:pt>
                  <c:pt idx="2">
                    <c:v>Canard Duchêne</c:v>
                  </c:pt>
                  <c:pt idx="3">
                    <c:v>Alfred De Rothschild</c:v>
                  </c:pt>
                  <c:pt idx="4">
                    <c:v>Charles Lafitte</c:v>
                  </c:pt>
                  <c:pt idx="5">
                    <c:v>Ruinart</c:v>
                  </c:pt>
                  <c:pt idx="6">
                    <c:v>Moët &amp; Chandon</c:v>
                  </c:pt>
                  <c:pt idx="7">
                    <c:v>Nicola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3"/>
          <c:min val="15"/>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1F98C21-F852-4BDD-8811-64572BE984A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DDD915C-E47F-4104-907C-540E3FD72A2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81B3180-D812-4A81-8C07-206403C8D32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99693CB4-168C-4C2B-978C-8A1862D5769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4BA607E6-438D-474C-AD75-06DF6D767E2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AAC0C0CF-48FD-479A-8E21-6D55037CFDA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640FD7DB-5B21-490B-A331-78E8FAE24AC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B395DFF3-9E20-4637-AFC4-5425D4B4F66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1.366199999999999</c:v>
                </c:pt>
                <c:pt idx="1">
                  <c:v>12.0534</c:v>
                </c:pt>
                <c:pt idx="2">
                  <c:v>13.274900000000001</c:v>
                </c:pt>
              </c:numCache>
            </c:numRef>
          </c:xVal>
          <c:yVal>
            <c:numRef>
              <c:f>Sheet1!$B$2:$B$4</c:f>
              <c:numCache>
                <c:formatCode>General</c:formatCode>
                <c:ptCount val="3"/>
                <c:pt idx="0">
                  <c:v>0.96099999999999997</c:v>
                </c:pt>
                <c:pt idx="1">
                  <c:v>0.93700000000000006</c:v>
                </c:pt>
                <c:pt idx="2">
                  <c:v>1.141</c:v>
                </c:pt>
              </c:numCache>
            </c:numRef>
          </c:yVal>
          <c:bubbleSize>
            <c:numRef>
              <c:f>Sheet1!$C$2:$C$4</c:f>
              <c:numCache>
                <c:formatCode>General</c:formatCode>
                <c:ptCount val="3"/>
                <c:pt idx="0">
                  <c:v>10707</c:v>
                </c:pt>
                <c:pt idx="1">
                  <c:v>7220</c:v>
                </c:pt>
                <c:pt idx="2">
                  <c:v>6133</c:v>
                </c:pt>
              </c:numCache>
            </c:numRef>
          </c:bubbleSize>
          <c:bubble3D val="0"/>
          <c:extLst>
            <c:ext xmlns:c15="http://schemas.microsoft.com/office/drawing/2012/chart" uri="{02D57815-91ED-43cb-92C2-25804820EDAC}">
              <c15:datalabelsRange>
                <c15:f>Sheet1!$E$2:$E$10</c15:f>
                <c15:dlblRangeCache>
                  <c:ptCount val="9"/>
                  <c:pt idx="0">
                    <c:v>Chateau Moncontour</c:v>
                  </c:pt>
                  <c:pt idx="1">
                    <c:v>Bouvet-Ladubay</c:v>
                  </c:pt>
                  <c:pt idx="2">
                    <c:v>De Chancen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6"/>
          <c:min val="9"/>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FBF44A7A-3D98-491F-B0FA-D39E8A3FEFF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48EF-49EC-8B4D-EC25A4464CE3}"/>
                </c:ext>
              </c:extLst>
            </c:dLbl>
            <c:dLbl>
              <c:idx val="2"/>
              <c:tx>
                <c:rich>
                  <a:bodyPr/>
                  <a:lstStyle/>
                  <a:p>
                    <a:fld id="{C04AD8D0-B8EA-4642-9C7D-EDA5AD22490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48EF-49EC-8B4D-EC25A4464CE3}"/>
                </c:ext>
              </c:extLst>
            </c:dLbl>
            <c:dLbl>
              <c:idx val="3"/>
              <c:tx>
                <c:rich>
                  <a:bodyPr/>
                  <a:lstStyle/>
                  <a:p>
                    <a:fld id="{5DD44E29-AD95-4360-AFF9-A6EAE5F40B8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48EF-49EC-8B4D-EC25A4464CE3}"/>
                </c:ext>
              </c:extLst>
            </c:dLbl>
            <c:dLbl>
              <c:idx val="4"/>
              <c:tx>
                <c:rich>
                  <a:bodyPr/>
                  <a:lstStyle/>
                  <a:p>
                    <a:fld id="{B4B5DC3F-1DB2-4D33-86A4-451063ECF91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48EF-49EC-8B4D-EC25A4464CE3}"/>
                </c:ext>
              </c:extLst>
            </c:dLbl>
            <c:dLbl>
              <c:idx val="5"/>
              <c:tx>
                <c:rich>
                  <a:bodyPr/>
                  <a:lstStyle/>
                  <a:p>
                    <a:fld id="{7EB9BA38-E0EC-4325-8771-74484411A23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48EF-49EC-8B4D-EC25A4464CE3}"/>
                </c:ext>
              </c:extLst>
            </c:dLbl>
            <c:dLbl>
              <c:idx val="6"/>
              <c:tx>
                <c:rich>
                  <a:bodyPr/>
                  <a:lstStyle/>
                  <a:p>
                    <a:fld id="{832A3138-1F42-4018-8F3B-06ED24501B3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48EF-49EC-8B4D-EC25A4464CE3}"/>
                </c:ext>
              </c:extLst>
            </c:dLbl>
            <c:dLbl>
              <c:idx val="7"/>
              <c:tx>
                <c:rich>
                  <a:bodyPr/>
                  <a:lstStyle/>
                  <a:p>
                    <a:fld id="{6F2EA568-375A-4DBE-9F01-6EAB3EF1D9B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48EF-49EC-8B4D-EC25A4464CE3}"/>
                </c:ext>
              </c:extLst>
            </c:dLbl>
            <c:dLbl>
              <c:idx val="8"/>
              <c:tx>
                <c:rich>
                  <a:bodyPr/>
                  <a:lstStyle/>
                  <a:p>
                    <a:fld id="{29775E13-8832-482E-9503-8C6B161FBA6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7.562100000000001</c:v>
                </c:pt>
              </c:numCache>
            </c:numRef>
          </c:xVal>
          <c:yVal>
            <c:numRef>
              <c:f>Sheet1!$B$2:$B$2</c:f>
              <c:numCache>
                <c:formatCode>General</c:formatCode>
                <c:ptCount val="1"/>
                <c:pt idx="0">
                  <c:v>1</c:v>
                </c:pt>
              </c:numCache>
            </c:numRef>
          </c:yVal>
          <c:bubbleSize>
            <c:numRef>
              <c:f>Sheet1!$C$2:$C$2</c:f>
              <c:numCache>
                <c:formatCode>General</c:formatCode>
                <c:ptCount val="1"/>
                <c:pt idx="0">
                  <c:v>13997</c:v>
                </c:pt>
              </c:numCache>
            </c:numRef>
          </c:bubbleSize>
          <c:bubble3D val="0"/>
          <c:extLst>
            <c:ext xmlns:c15="http://schemas.microsoft.com/office/drawing/2012/chart" uri="{02D57815-91ED-43cb-92C2-25804820EDAC}">
              <c15:datalabelsRange>
                <c15:f>Sheet1!$E$2:$E$10</c15:f>
                <c15:dlblRangeCache>
                  <c:ptCount val="9"/>
                  <c:pt idx="0">
                    <c:v>Mure</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
          <c:min val="14"/>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417041AE-AF09-44E0-95A7-C8305A177E8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F60EB5A2-B1C7-4AFB-B521-0F3F3F7C4A5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D871-46D6-BBFE-7C00E0D51738}"/>
                </c:ext>
              </c:extLst>
            </c:dLbl>
            <c:dLbl>
              <c:idx val="3"/>
              <c:tx>
                <c:rich>
                  <a:bodyPr/>
                  <a:lstStyle/>
                  <a:p>
                    <a:fld id="{774AF67F-C5ED-4C46-8EEA-4E446A335BC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D871-46D6-BBFE-7C00E0D51738}"/>
                </c:ext>
              </c:extLst>
            </c:dLbl>
            <c:dLbl>
              <c:idx val="4"/>
              <c:tx>
                <c:rich>
                  <a:bodyPr/>
                  <a:lstStyle/>
                  <a:p>
                    <a:fld id="{8FA6C247-64C2-4AF0-B6F4-3FF206FD454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D871-46D6-BBFE-7C00E0D51738}"/>
                </c:ext>
              </c:extLst>
            </c:dLbl>
            <c:dLbl>
              <c:idx val="5"/>
              <c:tx>
                <c:rich>
                  <a:bodyPr/>
                  <a:lstStyle/>
                  <a:p>
                    <a:fld id="{E973290E-9671-49D1-9585-C66096AD9CB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71-46D6-BBFE-7C00E0D51738}"/>
                </c:ext>
              </c:extLst>
            </c:dLbl>
            <c:dLbl>
              <c:idx val="6"/>
              <c:tx>
                <c:rich>
                  <a:bodyPr/>
                  <a:lstStyle/>
                  <a:p>
                    <a:fld id="{B658B5EE-6EA0-4368-B07C-AEE491F7DC9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71-46D6-BBFE-7C00E0D51738}"/>
                </c:ext>
              </c:extLst>
            </c:dLbl>
            <c:dLbl>
              <c:idx val="7"/>
              <c:tx>
                <c:rich>
                  <a:bodyPr/>
                  <a:lstStyle/>
                  <a:p>
                    <a:fld id="{1A3B8E49-7F56-4BB6-874A-2EFAEFF57B8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71-46D6-BBFE-7C00E0D51738}"/>
                </c:ext>
              </c:extLst>
            </c:dLbl>
            <c:dLbl>
              <c:idx val="8"/>
              <c:tx>
                <c:rich>
                  <a:bodyPr/>
                  <a:lstStyle/>
                  <a:p>
                    <a:fld id="{DC41B598-D713-4D6A-8B9F-68997F5B2EA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11.1875</c:v>
                </c:pt>
                <c:pt idx="1">
                  <c:v>10.392200000000001</c:v>
                </c:pt>
              </c:numCache>
            </c:numRef>
          </c:xVal>
          <c:yVal>
            <c:numRef>
              <c:f>Sheet1!$B$2:$B$3</c:f>
              <c:numCache>
                <c:formatCode>General</c:formatCode>
                <c:ptCount val="2"/>
                <c:pt idx="0">
                  <c:v>1.046</c:v>
                </c:pt>
                <c:pt idx="1">
                  <c:v>0.83699999999999997</c:v>
                </c:pt>
              </c:numCache>
            </c:numRef>
          </c:yVal>
          <c:bubbleSize>
            <c:numRef>
              <c:f>Sheet1!$C$2:$C$3</c:f>
              <c:numCache>
                <c:formatCode>General</c:formatCode>
                <c:ptCount val="2"/>
                <c:pt idx="0">
                  <c:v>2327</c:v>
                </c:pt>
                <c:pt idx="1">
                  <c:v>530</c:v>
                </c:pt>
              </c:numCache>
            </c:numRef>
          </c:bubbleSize>
          <c:bubble3D val="0"/>
          <c:extLst>
            <c:ext xmlns:c15="http://schemas.microsoft.com/office/drawing/2012/chart" uri="{02D57815-91ED-43cb-92C2-25804820EDAC}">
              <c15:datalabelsRange>
                <c15:f>Sheet1!$E$2:$E$10</c15:f>
                <c15:dlblRangeCache>
                  <c:ptCount val="9"/>
                  <c:pt idx="0">
                    <c:v>Cru La Maqueline</c:v>
                  </c:pt>
                  <c:pt idx="1">
                    <c:v>Celene</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3"/>
          <c:min val="8"/>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7C0A443-ACBC-4B53-B198-0ECD7666581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F3BA33F-077B-4295-A442-1E0C3BDEC89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F31DF20-30EC-4F65-A508-C89DBC8BF8B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5C055C0-7804-43E3-B94C-F8771819F3B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7A3F009-5C25-4DA1-9104-66BC6A1AB12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FC3FB83-487F-4D39-AE08-00D79D16BAF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4A4DB7CC-6C3C-41F4-AD25-381D0EC4E4F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2D25989A-842D-4769-BF69-E96FFA8A979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99.508700000000005</c:v>
                </c:pt>
                <c:pt idx="1">
                  <c:v>60.156500000000001</c:v>
                </c:pt>
                <c:pt idx="2">
                  <c:v>35.562199999999997</c:v>
                </c:pt>
                <c:pt idx="3">
                  <c:v>41.855200000000004</c:v>
                </c:pt>
                <c:pt idx="4">
                  <c:v>48.439599999999999</c:v>
                </c:pt>
                <c:pt idx="5">
                  <c:v>55.195900000000002</c:v>
                </c:pt>
                <c:pt idx="6">
                  <c:v>82.162800000000004</c:v>
                </c:pt>
                <c:pt idx="7">
                  <c:v>37.318800000000003</c:v>
                </c:pt>
              </c:numCache>
            </c:numRef>
          </c:xVal>
          <c:yVal>
            <c:numRef>
              <c:f>Sheet1!$B$2:$B$9</c:f>
              <c:numCache>
                <c:formatCode>General</c:formatCode>
                <c:ptCount val="8"/>
                <c:pt idx="0">
                  <c:v>1.413</c:v>
                </c:pt>
                <c:pt idx="1">
                  <c:v>0.91100000000000003</c:v>
                </c:pt>
                <c:pt idx="2">
                  <c:v>0.50600000000000001</c:v>
                </c:pt>
                <c:pt idx="3">
                  <c:v>0.59899999999999998</c:v>
                </c:pt>
                <c:pt idx="4">
                  <c:v>0.66100000000000003</c:v>
                </c:pt>
                <c:pt idx="5">
                  <c:v>0.77400000000000002</c:v>
                </c:pt>
                <c:pt idx="6">
                  <c:v>1.0449999999999999</c:v>
                </c:pt>
                <c:pt idx="7">
                  <c:v>0.50800000000000001</c:v>
                </c:pt>
              </c:numCache>
            </c:numRef>
          </c:yVal>
          <c:bubbleSize>
            <c:numRef>
              <c:f>Sheet1!$C$2:$C$9</c:f>
              <c:numCache>
                <c:formatCode>General</c:formatCode>
                <c:ptCount val="8"/>
                <c:pt idx="0">
                  <c:v>113838</c:v>
                </c:pt>
                <c:pt idx="1">
                  <c:v>13836</c:v>
                </c:pt>
                <c:pt idx="2">
                  <c:v>13727</c:v>
                </c:pt>
                <c:pt idx="3">
                  <c:v>12431</c:v>
                </c:pt>
                <c:pt idx="4">
                  <c:v>8816</c:v>
                </c:pt>
                <c:pt idx="5">
                  <c:v>8169</c:v>
                </c:pt>
                <c:pt idx="6">
                  <c:v>7066</c:v>
                </c:pt>
                <c:pt idx="7">
                  <c:v>5971</c:v>
                </c:pt>
              </c:numCache>
            </c:numRef>
          </c:bubbleSize>
          <c:bubble3D val="0"/>
          <c:extLst>
            <c:ext xmlns:c15="http://schemas.microsoft.com/office/drawing/2012/chart" uri="{02D57815-91ED-43cb-92C2-25804820EDAC}">
              <c15:datalabelsRange>
                <c15:f>Sheet1!$E$2:$E$10</c15:f>
                <c15:dlblRangeCache>
                  <c:ptCount val="9"/>
                  <c:pt idx="0">
                    <c:v>Ruinart</c:v>
                  </c:pt>
                  <c:pt idx="1">
                    <c:v>Besserat De Bellefon</c:v>
                  </c:pt>
                  <c:pt idx="2">
                    <c:v>Malard</c:v>
                  </c:pt>
                  <c:pt idx="3">
                    <c:v>Nicolas</c:v>
                  </c:pt>
                  <c:pt idx="4">
                    <c:v>Henriot</c:v>
                  </c:pt>
                  <c:pt idx="5">
                    <c:v>Delamotte</c:v>
                  </c:pt>
                  <c:pt idx="6">
                    <c:v>Ayala</c:v>
                  </c:pt>
                  <c:pt idx="7">
                    <c:v>De Blign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19"/>
          <c:min val="28"/>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12D9388A-70B9-425B-AB9C-29AAF30CDA7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6076456B-5C62-48CC-9FF8-68D5CED96E4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B8B6DA55-798B-4ABF-80B4-E75275EA912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27602AB8-3420-41B3-A686-E9C494EAD05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E6E7C1FE-7476-49D6-8752-0D14BA95891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C4636CBF-8DF3-436A-890E-74FAC99BC7F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64D5D4B3-052C-41FB-81B6-E26C161F7F4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F8C102B0-B9D0-4980-95EA-6DF900054BB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58.182699999999997</c:v>
                </c:pt>
                <c:pt idx="1">
                  <c:v>22.021899999999999</c:v>
                </c:pt>
                <c:pt idx="2">
                  <c:v>49.603200000000001</c:v>
                </c:pt>
                <c:pt idx="3">
                  <c:v>29.059000000000001</c:v>
                </c:pt>
                <c:pt idx="4">
                  <c:v>37.816699999999997</c:v>
                </c:pt>
                <c:pt idx="5">
                  <c:v>30.0596</c:v>
                </c:pt>
                <c:pt idx="6">
                  <c:v>31.234200000000001</c:v>
                </c:pt>
                <c:pt idx="7">
                  <c:v>53.264400000000002</c:v>
                </c:pt>
              </c:numCache>
            </c:numRef>
          </c:xVal>
          <c:yVal>
            <c:numRef>
              <c:f>Sheet1!$B$2:$B$9</c:f>
              <c:numCache>
                <c:formatCode>General</c:formatCode>
                <c:ptCount val="8"/>
                <c:pt idx="0">
                  <c:v>1.5169999999999999</c:v>
                </c:pt>
                <c:pt idx="1">
                  <c:v>0.58699999999999997</c:v>
                </c:pt>
                <c:pt idx="2">
                  <c:v>1.2549999999999999</c:v>
                </c:pt>
                <c:pt idx="3">
                  <c:v>0.78</c:v>
                </c:pt>
                <c:pt idx="4">
                  <c:v>1.012</c:v>
                </c:pt>
                <c:pt idx="5">
                  <c:v>0.80500000000000005</c:v>
                </c:pt>
                <c:pt idx="6">
                  <c:v>0.82099999999999995</c:v>
                </c:pt>
                <c:pt idx="7">
                  <c:v>1.173</c:v>
                </c:pt>
              </c:numCache>
            </c:numRef>
          </c:yVal>
          <c:bubbleSize>
            <c:numRef>
              <c:f>Sheet1!$C$2:$C$9</c:f>
              <c:numCache>
                <c:formatCode>General</c:formatCode>
                <c:ptCount val="8"/>
                <c:pt idx="0">
                  <c:v>235698</c:v>
                </c:pt>
                <c:pt idx="1">
                  <c:v>185733</c:v>
                </c:pt>
                <c:pt idx="2">
                  <c:v>144147</c:v>
                </c:pt>
                <c:pt idx="3">
                  <c:v>91042</c:v>
                </c:pt>
                <c:pt idx="4">
                  <c:v>66217</c:v>
                </c:pt>
                <c:pt idx="5">
                  <c:v>65109</c:v>
                </c:pt>
                <c:pt idx="6">
                  <c:v>54691</c:v>
                </c:pt>
                <c:pt idx="7">
                  <c:v>50974</c:v>
                </c:pt>
              </c:numCache>
            </c:numRef>
          </c:bubbleSize>
          <c:bubble3D val="0"/>
          <c:extLst>
            <c:ext xmlns:c15="http://schemas.microsoft.com/office/drawing/2012/chart" uri="{02D57815-91ED-43cb-92C2-25804820EDAC}">
              <c15:datalabelsRange>
                <c15:f>Sheet1!$E$2:$E$10</c15:f>
                <c15:dlblRangeCache>
                  <c:ptCount val="9"/>
                  <c:pt idx="0">
                    <c:v>Ruinart</c:v>
                  </c:pt>
                  <c:pt idx="1">
                    <c:v>Nicolas</c:v>
                  </c:pt>
                  <c:pt idx="2">
                    <c:v>Deutz</c:v>
                  </c:pt>
                  <c:pt idx="3">
                    <c:v>Heidsieck &amp; Co Monopole</c:v>
                  </c:pt>
                  <c:pt idx="4">
                    <c:v>Ayala</c:v>
                  </c:pt>
                  <c:pt idx="5">
                    <c:v>De Bligny</c:v>
                  </c:pt>
                  <c:pt idx="6">
                    <c:v>Canard Duchêne</c:v>
                  </c:pt>
                  <c:pt idx="7">
                    <c:v>Laurent Perrier</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0"/>
          <c:min val="18"/>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6B85BDDB-B2DF-4AD6-96D2-52815520F4A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F554240B-01B2-4A2C-BFF6-B6DF70E0C1A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71-46D6-BBFE-7C00E0D51738}"/>
                </c:ext>
              </c:extLst>
            </c:dLbl>
            <c:dLbl>
              <c:idx val="3"/>
              <c:tx>
                <c:rich>
                  <a:bodyPr/>
                  <a:lstStyle/>
                  <a:p>
                    <a:fld id="{AA22B6AD-6462-435A-AF36-738DA5D50AF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71-46D6-BBFE-7C00E0D51738}"/>
                </c:ext>
              </c:extLst>
            </c:dLbl>
            <c:dLbl>
              <c:idx val="4"/>
              <c:tx>
                <c:rich>
                  <a:bodyPr/>
                  <a:lstStyle/>
                  <a:p>
                    <a:fld id="{74381E29-6E06-47F5-8591-26445DA924A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D871-46D6-BBFE-7C00E0D51738}"/>
                </c:ext>
              </c:extLst>
            </c:dLbl>
            <c:dLbl>
              <c:idx val="5"/>
              <c:tx>
                <c:rich>
                  <a:bodyPr/>
                  <a:lstStyle/>
                  <a:p>
                    <a:fld id="{1DB86590-AA2C-4015-B822-3D0428B3177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71-46D6-BBFE-7C00E0D51738}"/>
                </c:ext>
              </c:extLst>
            </c:dLbl>
            <c:dLbl>
              <c:idx val="6"/>
              <c:tx>
                <c:rich>
                  <a:bodyPr/>
                  <a:lstStyle/>
                  <a:p>
                    <a:fld id="{09961E29-1FAB-429E-A0A1-D469B9799CD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71-46D6-BBFE-7C00E0D51738}"/>
                </c:ext>
              </c:extLst>
            </c:dLbl>
            <c:dLbl>
              <c:idx val="7"/>
              <c:tx>
                <c:rich>
                  <a:bodyPr/>
                  <a:lstStyle/>
                  <a:p>
                    <a:fld id="{039AD80F-2ED7-4D42-A85D-213EE6E9C36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71-46D6-BBFE-7C00E0D51738}"/>
                </c:ext>
              </c:extLst>
            </c:dLbl>
            <c:dLbl>
              <c:idx val="8"/>
              <c:tx>
                <c:rich>
                  <a:bodyPr/>
                  <a:lstStyle/>
                  <a:p>
                    <a:fld id="{B4225F38-EB63-489C-B3C9-D4850EE9057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29.436900000000001</c:v>
                </c:pt>
                <c:pt idx="1">
                  <c:v>31.312200000000001</c:v>
                </c:pt>
                <c:pt idx="2">
                  <c:v>30.658899999999999</c:v>
                </c:pt>
                <c:pt idx="3">
                  <c:v>40.5139</c:v>
                </c:pt>
              </c:numCache>
            </c:numRef>
          </c:xVal>
          <c:yVal>
            <c:numRef>
              <c:f>Sheet1!$B$2:$B$5</c:f>
              <c:numCache>
                <c:formatCode>General</c:formatCode>
                <c:ptCount val="4"/>
                <c:pt idx="0">
                  <c:v>0.98</c:v>
                </c:pt>
                <c:pt idx="1">
                  <c:v>1.0369999999999999</c:v>
                </c:pt>
                <c:pt idx="2">
                  <c:v>1.0249999999999999</c:v>
                </c:pt>
                <c:pt idx="3">
                  <c:v>1.085</c:v>
                </c:pt>
              </c:numCache>
            </c:numRef>
          </c:yVal>
          <c:bubbleSize>
            <c:numRef>
              <c:f>Sheet1!$C$2:$C$5</c:f>
              <c:numCache>
                <c:formatCode>General</c:formatCode>
                <c:ptCount val="4"/>
                <c:pt idx="0">
                  <c:v>59698</c:v>
                </c:pt>
                <c:pt idx="1">
                  <c:v>19257</c:v>
                </c:pt>
                <c:pt idx="2">
                  <c:v>13122</c:v>
                </c:pt>
                <c:pt idx="3">
                  <c:v>2917</c:v>
                </c:pt>
              </c:numCache>
            </c:numRef>
          </c:bubbleSize>
          <c:bubble3D val="0"/>
          <c:extLst>
            <c:ext xmlns:c15="http://schemas.microsoft.com/office/drawing/2012/chart" uri="{02D57815-91ED-43cb-92C2-25804820EDAC}">
              <c15:datalabelsRange>
                <c15:f>Sheet1!$E$2:$E$10</c15:f>
                <c15:dlblRangeCache>
                  <c:ptCount val="9"/>
                  <c:pt idx="0">
                    <c:v>Malard</c:v>
                  </c:pt>
                  <c:pt idx="1">
                    <c:v>Louis Martin</c:v>
                  </c:pt>
                  <c:pt idx="2">
                    <c:v>Vesselle</c:v>
                  </c:pt>
                  <c:pt idx="3">
                    <c:v>Nicolas</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9"/>
          <c:min val="24"/>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CA-4C16-90F6-A0D9A3D8DA8E}"/>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CA-4C16-90F6-A0D9A3D8DA8E}"/>
                </c:ext>
              </c:extLst>
            </c:dLbl>
            <c:dLbl>
              <c:idx val="1"/>
              <c:tx>
                <c:rich>
                  <a:bodyPr/>
                  <a:lstStyle/>
                  <a:p>
                    <a:fld id="{FE1EB88D-7DC4-435C-8D2B-F287A4FA314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CA-4C16-90F6-A0D9A3D8DA8E}"/>
                </c:ext>
              </c:extLst>
            </c:dLbl>
            <c:dLbl>
              <c:idx val="2"/>
              <c:tx>
                <c:rich>
                  <a:bodyPr/>
                  <a:lstStyle/>
                  <a:p>
                    <a:fld id="{A6EA3BBE-46E4-495D-BDB1-790B2B55715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CA-4C16-90F6-A0D9A3D8DA8E}"/>
                </c:ext>
              </c:extLst>
            </c:dLbl>
            <c:dLbl>
              <c:idx val="3"/>
              <c:tx>
                <c:rich>
                  <a:bodyPr/>
                  <a:lstStyle/>
                  <a:p>
                    <a:fld id="{0B3C971C-8C8B-43DA-8FD2-11575BF736D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D8CA-4C16-90F6-A0D9A3D8DA8E}"/>
                </c:ext>
              </c:extLst>
            </c:dLbl>
            <c:dLbl>
              <c:idx val="4"/>
              <c:tx>
                <c:rich>
                  <a:bodyPr/>
                  <a:lstStyle/>
                  <a:p>
                    <a:fld id="{2AE94D02-DE90-49CE-AEB8-ACBBFBFACCE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D8CA-4C16-90F6-A0D9A3D8DA8E}"/>
                </c:ext>
              </c:extLst>
            </c:dLbl>
            <c:dLbl>
              <c:idx val="5"/>
              <c:tx>
                <c:rich>
                  <a:bodyPr/>
                  <a:lstStyle/>
                  <a:p>
                    <a:fld id="{99CCE0B8-397C-4C03-9A82-4B133CB51C1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CA-4C16-90F6-A0D9A3D8DA8E}"/>
                </c:ext>
              </c:extLst>
            </c:dLbl>
            <c:dLbl>
              <c:idx val="6"/>
              <c:tx>
                <c:rich>
                  <a:bodyPr/>
                  <a:lstStyle/>
                  <a:p>
                    <a:fld id="{C776F06F-C9E5-40B1-930A-CC8E1F94170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CA-4C16-90F6-A0D9A3D8DA8E}"/>
                </c:ext>
              </c:extLst>
            </c:dLbl>
            <c:dLbl>
              <c:idx val="7"/>
              <c:tx>
                <c:rich>
                  <a:bodyPr/>
                  <a:lstStyle/>
                  <a:p>
                    <a:fld id="{EDB029AC-32AF-463E-B4FA-CD14BE3E3CF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CA-4C16-90F6-A0D9A3D8DA8E}"/>
                </c:ext>
              </c:extLst>
            </c:dLbl>
            <c:dLbl>
              <c:idx val="8"/>
              <c:tx>
                <c:rich>
                  <a:bodyPr/>
                  <a:lstStyle/>
                  <a:p>
                    <a:fld id="{4B61C286-B25A-444C-B1FC-88893112082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CA-4C16-90F6-A0D9A3D8DA8E}"/>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31.644300000000001</c:v>
                </c:pt>
                <c:pt idx="1">
                  <c:v>45.026499999999999</c:v>
                </c:pt>
                <c:pt idx="2">
                  <c:v>41.7</c:v>
                </c:pt>
              </c:numCache>
            </c:numRef>
          </c:xVal>
          <c:yVal>
            <c:numRef>
              <c:f>Sheet1!$B$2:$B$4</c:f>
              <c:numCache>
                <c:formatCode>General</c:formatCode>
                <c:ptCount val="3"/>
                <c:pt idx="0">
                  <c:v>0.96199999999999997</c:v>
                </c:pt>
                <c:pt idx="1">
                  <c:v>1.2869999999999999</c:v>
                </c:pt>
                <c:pt idx="2">
                  <c:v>1.1859999999999999</c:v>
                </c:pt>
              </c:numCache>
            </c:numRef>
          </c:yVal>
          <c:bubbleSize>
            <c:numRef>
              <c:f>Sheet1!$C$2:$C$4</c:f>
              <c:numCache>
                <c:formatCode>General</c:formatCode>
                <c:ptCount val="3"/>
                <c:pt idx="0">
                  <c:v>32562</c:v>
                </c:pt>
                <c:pt idx="1">
                  <c:v>5088</c:v>
                </c:pt>
                <c:pt idx="2">
                  <c:v>417</c:v>
                </c:pt>
              </c:numCache>
            </c:numRef>
          </c:bubbleSize>
          <c:bubble3D val="0"/>
          <c:extLst>
            <c:ext xmlns:c15="http://schemas.microsoft.com/office/drawing/2012/chart" uri="{02D57815-91ED-43cb-92C2-25804820EDAC}">
              <c15:datalabelsRange>
                <c15:f>Sheet1!$E$2:$E$10</c15:f>
                <c15:dlblRangeCache>
                  <c:ptCount val="9"/>
                  <c:pt idx="0">
                    <c:v>Nicolas Feuillatte</c:v>
                  </c:pt>
                  <c:pt idx="1">
                    <c:v>Moët &amp; Chandon</c:v>
                  </c:pt>
                  <c:pt idx="2">
                    <c:v>Canard Duchêne</c:v>
                  </c:pt>
                </c15:dlblRangeCache>
              </c15:datalabelsRange>
            </c:ext>
            <c:ext xmlns:c16="http://schemas.microsoft.com/office/drawing/2014/chart" uri="{C3380CC4-5D6E-409C-BE32-E72D297353CC}">
              <c16:uniqueId val="{00000009-D8CA-4C16-90F6-A0D9A3D8DA8E}"/>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4"/>
          <c:min val="25"/>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5F2115C-55E1-4F74-86F7-87BF903335B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89CB6D1-A9A2-44BA-BD91-1871AF54325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B2C1511-59FE-46FF-A11C-4DCDBF150A3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40DB518-E48C-4A20-934C-8861D5CFEB2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60EFE13-A279-4EAD-ACAF-68893EC926D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88685E6-E6B6-45E0-B86B-7E82961263C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22A79D46-707E-40B6-8D4A-F3F13A5A8CC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720864C-45CA-4C98-9962-BF1ADDDB2BE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69.46550000000002</c:v>
                </c:pt>
                <c:pt idx="1">
                  <c:v>208.47620000000001</c:v>
                </c:pt>
                <c:pt idx="2">
                  <c:v>104.5789</c:v>
                </c:pt>
                <c:pt idx="3">
                  <c:v>39.538499999999999</c:v>
                </c:pt>
                <c:pt idx="4">
                  <c:v>68.75</c:v>
                </c:pt>
                <c:pt idx="5">
                  <c:v>236</c:v>
                </c:pt>
                <c:pt idx="6">
                  <c:v>198.57140000000001</c:v>
                </c:pt>
                <c:pt idx="7">
                  <c:v>246.25</c:v>
                </c:pt>
              </c:numCache>
            </c:numRef>
          </c:xVal>
          <c:yVal>
            <c:numRef>
              <c:f>Sheet1!$B$2:$B$9</c:f>
              <c:numCache>
                <c:formatCode>General</c:formatCode>
                <c:ptCount val="8"/>
                <c:pt idx="0">
                  <c:v>1.758</c:v>
                </c:pt>
                <c:pt idx="1">
                  <c:v>1.24</c:v>
                </c:pt>
                <c:pt idx="2">
                  <c:v>0.58399999999999996</c:v>
                </c:pt>
                <c:pt idx="3">
                  <c:v>0.26100000000000001</c:v>
                </c:pt>
                <c:pt idx="4">
                  <c:v>0.443</c:v>
                </c:pt>
                <c:pt idx="5">
                  <c:v>1.248</c:v>
                </c:pt>
                <c:pt idx="6">
                  <c:v>1.2250000000000001</c:v>
                </c:pt>
                <c:pt idx="7">
                  <c:v>1.302</c:v>
                </c:pt>
              </c:numCache>
            </c:numRef>
          </c:yVal>
          <c:bubbleSize>
            <c:numRef>
              <c:f>Sheet1!$C$2:$C$9</c:f>
              <c:numCache>
                <c:formatCode>General</c:formatCode>
                <c:ptCount val="8"/>
                <c:pt idx="0">
                  <c:v>31258</c:v>
                </c:pt>
                <c:pt idx="1">
                  <c:v>13134</c:v>
                </c:pt>
                <c:pt idx="2">
                  <c:v>5961</c:v>
                </c:pt>
                <c:pt idx="3">
                  <c:v>3598</c:v>
                </c:pt>
                <c:pt idx="4">
                  <c:v>1925</c:v>
                </c:pt>
                <c:pt idx="5">
                  <c:v>1652</c:v>
                </c:pt>
                <c:pt idx="6">
                  <c:v>1390</c:v>
                </c:pt>
                <c:pt idx="7">
                  <c:v>985</c:v>
                </c:pt>
              </c:numCache>
            </c:numRef>
          </c:bubbleSize>
          <c:bubble3D val="0"/>
          <c:extLst>
            <c:ext xmlns:c15="http://schemas.microsoft.com/office/drawing/2012/chart" uri="{02D57815-91ED-43cb-92C2-25804820EDAC}">
              <c15:datalabelsRange>
                <c15:f>Sheet1!$E$2:$E$10</c15:f>
                <c15:dlblRangeCache>
                  <c:ptCount val="9"/>
                  <c:pt idx="0">
                    <c:v>Dom Perignon</c:v>
                  </c:pt>
                  <c:pt idx="1">
                    <c:v>Roederer</c:v>
                  </c:pt>
                  <c:pt idx="2">
                    <c:v>Ruinart</c:v>
                  </c:pt>
                  <c:pt idx="3">
                    <c:v>Malard</c:v>
                  </c:pt>
                  <c:pt idx="4">
                    <c:v>Laurent Perrier</c:v>
                  </c:pt>
                  <c:pt idx="5">
                    <c:v>Bollinger</c:v>
                  </c:pt>
                  <c:pt idx="6">
                    <c:v>Pommery</c:v>
                  </c:pt>
                  <c:pt idx="7">
                    <c:v>Piper Heidsieck</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23"/>
          <c:min val="32"/>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AF779DC0-AF20-4F0E-B9C9-8F79F517FA3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6BEB0B77-13E9-40AA-A646-67E6E54C88C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0EC856F2-4563-44C9-AB9D-A2B56360FD6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6F5741E6-8A79-4340-BE04-5F7944BE4F4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BE480F89-0C18-44F3-9A82-7B2890959BC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615D4FE8-5D17-4206-A8F0-82004DE08BF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08FA3A72-3078-4039-B667-6DC1E2B710F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C73FCD2F-5F26-4BC7-BF66-A150E5A190E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91.431899999999999</c:v>
                </c:pt>
                <c:pt idx="1">
                  <c:v>53.874099999999999</c:v>
                </c:pt>
                <c:pt idx="2">
                  <c:v>26.968</c:v>
                </c:pt>
                <c:pt idx="3">
                  <c:v>38.4514</c:v>
                </c:pt>
                <c:pt idx="4">
                  <c:v>83.289900000000003</c:v>
                </c:pt>
                <c:pt idx="5">
                  <c:v>46.578899999999997</c:v>
                </c:pt>
                <c:pt idx="6">
                  <c:v>37.1111</c:v>
                </c:pt>
                <c:pt idx="7">
                  <c:v>52.4298</c:v>
                </c:pt>
              </c:numCache>
            </c:numRef>
          </c:xVal>
          <c:yVal>
            <c:numRef>
              <c:f>Sheet1!$B$2:$B$9</c:f>
              <c:numCache>
                <c:formatCode>General</c:formatCode>
                <c:ptCount val="8"/>
                <c:pt idx="0">
                  <c:v>1.77</c:v>
                </c:pt>
                <c:pt idx="1">
                  <c:v>1.131</c:v>
                </c:pt>
                <c:pt idx="2">
                  <c:v>0.53300000000000003</c:v>
                </c:pt>
                <c:pt idx="3">
                  <c:v>0.71599999999999997</c:v>
                </c:pt>
                <c:pt idx="4">
                  <c:v>1.552</c:v>
                </c:pt>
                <c:pt idx="5">
                  <c:v>0.93400000000000005</c:v>
                </c:pt>
                <c:pt idx="6">
                  <c:v>0.70199999999999996</c:v>
                </c:pt>
                <c:pt idx="7">
                  <c:v>0.97599999999999998</c:v>
                </c:pt>
              </c:numCache>
            </c:numRef>
          </c:yVal>
          <c:bubbleSize>
            <c:numRef>
              <c:f>Sheet1!$C$2:$C$9</c:f>
              <c:numCache>
                <c:formatCode>General</c:formatCode>
                <c:ptCount val="8"/>
                <c:pt idx="0">
                  <c:v>39590</c:v>
                </c:pt>
                <c:pt idx="1">
                  <c:v>22681</c:v>
                </c:pt>
                <c:pt idx="2">
                  <c:v>15156</c:v>
                </c:pt>
                <c:pt idx="3">
                  <c:v>12266</c:v>
                </c:pt>
                <c:pt idx="4">
                  <c:v>11494</c:v>
                </c:pt>
                <c:pt idx="5">
                  <c:v>7965</c:v>
                </c:pt>
                <c:pt idx="6">
                  <c:v>7014</c:v>
                </c:pt>
                <c:pt idx="7">
                  <c:v>6344</c:v>
                </c:pt>
              </c:numCache>
            </c:numRef>
          </c:bubbleSize>
          <c:bubble3D val="0"/>
          <c:extLst>
            <c:ext xmlns:c15="http://schemas.microsoft.com/office/drawing/2012/chart" uri="{02D57815-91ED-43cb-92C2-25804820EDAC}">
              <c15:datalabelsRange>
                <c15:f>Sheet1!$E$2:$E$10</c15:f>
                <c15:dlblRangeCache>
                  <c:ptCount val="9"/>
                  <c:pt idx="0">
                    <c:v>Ruinart</c:v>
                  </c:pt>
                  <c:pt idx="1">
                    <c:v>Deutz</c:v>
                  </c:pt>
                  <c:pt idx="2">
                    <c:v>Nicolas</c:v>
                  </c:pt>
                  <c:pt idx="3">
                    <c:v>Demoiselle</c:v>
                  </c:pt>
                  <c:pt idx="4">
                    <c:v>Laurent Perrier</c:v>
                  </c:pt>
                  <c:pt idx="5">
                    <c:v>Besserat De Bellefon</c:v>
                  </c:pt>
                  <c:pt idx="6">
                    <c:v>Malard</c:v>
                  </c:pt>
                  <c:pt idx="7">
                    <c:v>Pommery</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10"/>
          <c:min val="22"/>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772A82C3-EC94-4FD5-9898-80B1B884555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D871-46D6-BBFE-7C00E0D51738}"/>
                </c:ext>
              </c:extLst>
            </c:dLbl>
            <c:dLbl>
              <c:idx val="2"/>
              <c:tx>
                <c:rich>
                  <a:bodyPr/>
                  <a:lstStyle/>
                  <a:p>
                    <a:fld id="{B3ABF7C1-6930-4D02-A974-F90629D5903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D871-46D6-BBFE-7C00E0D51738}"/>
                </c:ext>
              </c:extLst>
            </c:dLbl>
            <c:dLbl>
              <c:idx val="3"/>
              <c:tx>
                <c:rich>
                  <a:bodyPr/>
                  <a:lstStyle/>
                  <a:p>
                    <a:fld id="{1F545A17-7E24-4266-B861-D4D92D357C7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D871-46D6-BBFE-7C00E0D51738}"/>
                </c:ext>
              </c:extLst>
            </c:dLbl>
            <c:dLbl>
              <c:idx val="4"/>
              <c:tx>
                <c:rich>
                  <a:bodyPr/>
                  <a:lstStyle/>
                  <a:p>
                    <a:fld id="{26B37C58-AB58-46DE-A41D-26AC4FE4BFE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D871-46D6-BBFE-7C00E0D51738}"/>
                </c:ext>
              </c:extLst>
            </c:dLbl>
            <c:dLbl>
              <c:idx val="5"/>
              <c:tx>
                <c:rich>
                  <a:bodyPr/>
                  <a:lstStyle/>
                  <a:p>
                    <a:fld id="{CAD405F7-683B-4453-9C4A-7EC52A23835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71-46D6-BBFE-7C00E0D51738}"/>
                </c:ext>
              </c:extLst>
            </c:dLbl>
            <c:dLbl>
              <c:idx val="6"/>
              <c:tx>
                <c:rich>
                  <a:bodyPr/>
                  <a:lstStyle/>
                  <a:p>
                    <a:fld id="{F19993F6-B8B6-4A34-B1BD-31B8C24D9CA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71-46D6-BBFE-7C00E0D51738}"/>
                </c:ext>
              </c:extLst>
            </c:dLbl>
            <c:dLbl>
              <c:idx val="7"/>
              <c:tx>
                <c:rich>
                  <a:bodyPr/>
                  <a:lstStyle/>
                  <a:p>
                    <a:fld id="{6B985E8E-F953-4DF0-882B-78C2EE89B3C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71-46D6-BBFE-7C00E0D51738}"/>
                </c:ext>
              </c:extLst>
            </c:dLbl>
            <c:dLbl>
              <c:idx val="8"/>
              <c:tx>
                <c:rich>
                  <a:bodyPr/>
                  <a:lstStyle/>
                  <a:p>
                    <a:fld id="{671C4559-F18D-4235-A298-48B8AAADF82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2.6576</c:v>
                </c:pt>
              </c:numCache>
            </c:numRef>
          </c:xVal>
          <c:yVal>
            <c:numRef>
              <c:f>Sheet1!$B$2:$B$2</c:f>
              <c:numCache>
                <c:formatCode>General</c:formatCode>
                <c:ptCount val="1"/>
                <c:pt idx="0">
                  <c:v>1</c:v>
                </c:pt>
              </c:numCache>
            </c:numRef>
          </c:yVal>
          <c:bubbleSize>
            <c:numRef>
              <c:f>Sheet1!$C$2:$C$2</c:f>
              <c:numCache>
                <c:formatCode>General</c:formatCode>
                <c:ptCount val="1"/>
                <c:pt idx="0">
                  <c:v>14860</c:v>
                </c:pt>
              </c:numCache>
            </c:numRef>
          </c:bubbleSize>
          <c:bubble3D val="0"/>
          <c:extLst>
            <c:ext xmlns:c15="http://schemas.microsoft.com/office/drawing/2012/chart" uri="{02D57815-91ED-43cb-92C2-25804820EDAC}">
              <c15:datalabelsRange>
                <c15:f>Sheet1!$E$2:$E$10</c15:f>
                <c15:dlblRangeCache>
                  <c:ptCount val="9"/>
                  <c:pt idx="0">
                    <c:v>Patriarche</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5"/>
          <c:min val="10"/>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D3F347E-0B0A-4120-8466-42487A1F3E0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601C760-D612-4AB5-ADB0-973AF522E36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34194B0-91B1-4016-A055-B29CA58D27C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9888E3A-09A4-42A5-A13D-9CDDB7C6756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5376C85F-287E-4D5B-A068-3B873018FDC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832F9A2-A81D-4E23-B9E7-E9ABF536B39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1F182F63-7B64-4F79-A60D-607ED871E98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14339E81-E104-41E2-A32C-BD905B23641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69.8643</c:v>
                </c:pt>
                <c:pt idx="1">
                  <c:v>23.652999999999999</c:v>
                </c:pt>
                <c:pt idx="2">
                  <c:v>49.904499999999999</c:v>
                </c:pt>
                <c:pt idx="3">
                  <c:v>52.704900000000002</c:v>
                </c:pt>
                <c:pt idx="4">
                  <c:v>31.571200000000001</c:v>
                </c:pt>
                <c:pt idx="5">
                  <c:v>32.979300000000002</c:v>
                </c:pt>
                <c:pt idx="6">
                  <c:v>29.282399999999999</c:v>
                </c:pt>
                <c:pt idx="7">
                  <c:v>78.368899999999996</c:v>
                </c:pt>
              </c:numCache>
            </c:numRef>
          </c:xVal>
          <c:yVal>
            <c:numRef>
              <c:f>Sheet1!$B$2:$B$9</c:f>
              <c:numCache>
                <c:formatCode>General</c:formatCode>
                <c:ptCount val="8"/>
                <c:pt idx="0">
                  <c:v>1.9390000000000001</c:v>
                </c:pt>
                <c:pt idx="1">
                  <c:v>0.66600000000000004</c:v>
                </c:pt>
                <c:pt idx="2">
                  <c:v>1.3720000000000001</c:v>
                </c:pt>
                <c:pt idx="3">
                  <c:v>1.3240000000000001</c:v>
                </c:pt>
                <c:pt idx="4">
                  <c:v>0.88600000000000001</c:v>
                </c:pt>
                <c:pt idx="5">
                  <c:v>0.90400000000000003</c:v>
                </c:pt>
                <c:pt idx="6">
                  <c:v>0.82299999999999995</c:v>
                </c:pt>
                <c:pt idx="7">
                  <c:v>2.1869999999999998</c:v>
                </c:pt>
              </c:numCache>
            </c:numRef>
          </c:yVal>
          <c:bubbleSize>
            <c:numRef>
              <c:f>Sheet1!$C$2:$C$9</c:f>
              <c:numCache>
                <c:formatCode>General</c:formatCode>
                <c:ptCount val="8"/>
                <c:pt idx="0">
                  <c:v>15694034</c:v>
                </c:pt>
                <c:pt idx="1">
                  <c:v>5705587</c:v>
                </c:pt>
                <c:pt idx="2">
                  <c:v>4988401</c:v>
                </c:pt>
                <c:pt idx="3">
                  <c:v>3290262</c:v>
                </c:pt>
                <c:pt idx="4">
                  <c:v>3234970</c:v>
                </c:pt>
                <c:pt idx="5">
                  <c:v>2270261</c:v>
                </c:pt>
                <c:pt idx="6">
                  <c:v>2092464</c:v>
                </c:pt>
                <c:pt idx="7">
                  <c:v>2050287</c:v>
                </c:pt>
              </c:numCache>
            </c:numRef>
          </c:bubbleSize>
          <c:bubble3D val="0"/>
          <c:extLst>
            <c:ext xmlns:c15="http://schemas.microsoft.com/office/drawing/2012/chart" uri="{02D57815-91ED-43cb-92C2-25804820EDAC}">
              <c15:datalabelsRange>
                <c15:f>Sheet1!$E$2:$E$10</c15:f>
                <c15:dlblRangeCache>
                  <c:ptCount val="9"/>
                  <c:pt idx="0">
                    <c:v>Ruinart</c:v>
                  </c:pt>
                  <c:pt idx="1">
                    <c:v>Nicolas</c:v>
                  </c:pt>
                  <c:pt idx="2">
                    <c:v>Deutz</c:v>
                  </c:pt>
                  <c:pt idx="3">
                    <c:v>Laurent Perrier</c:v>
                  </c:pt>
                  <c:pt idx="4">
                    <c:v>Malard</c:v>
                  </c:pt>
                  <c:pt idx="5">
                    <c:v>Nicolas Feuillatte</c:v>
                  </c:pt>
                  <c:pt idx="6">
                    <c:v>Heidsieck &amp; Co Monopole</c:v>
                  </c:pt>
                  <c:pt idx="7">
                    <c:v>Roederer</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94"/>
          <c:min val="19"/>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2078F783-2D8C-4D2C-A0DF-375ECBC2C3A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22DC111D-E1A9-444F-A2AF-833155E813C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D4E9D679-819A-4B36-998D-6B116397E65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A67BA527-AA0D-48BD-A1F6-7AD3CB62AC4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929305C4-2167-444B-9249-E60575724DD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F11AF7F4-A473-4954-84F5-E49A768BA71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4E173135-4ABF-448E-AABC-1B81839F5DF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67351E80-84F3-43B7-9E47-5624704E95F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4.4570999999999996</c:v>
                </c:pt>
                <c:pt idx="1">
                  <c:v>4.2683</c:v>
                </c:pt>
                <c:pt idx="2">
                  <c:v>5.8516000000000004</c:v>
                </c:pt>
                <c:pt idx="3">
                  <c:v>7.1054000000000004</c:v>
                </c:pt>
                <c:pt idx="4">
                  <c:v>6.9976000000000003</c:v>
                </c:pt>
                <c:pt idx="5">
                  <c:v>6.3528000000000002</c:v>
                </c:pt>
                <c:pt idx="6">
                  <c:v>4.9656000000000002</c:v>
                </c:pt>
                <c:pt idx="7">
                  <c:v>7.1954000000000002</c:v>
                </c:pt>
              </c:numCache>
            </c:numRef>
          </c:xVal>
          <c:yVal>
            <c:numRef>
              <c:f>Sheet1!$B$2:$B$9</c:f>
              <c:numCache>
                <c:formatCode>General</c:formatCode>
                <c:ptCount val="8"/>
                <c:pt idx="0">
                  <c:v>1.1240000000000001</c:v>
                </c:pt>
                <c:pt idx="1">
                  <c:v>0.38400000000000001</c:v>
                </c:pt>
                <c:pt idx="2">
                  <c:v>1.286</c:v>
                </c:pt>
                <c:pt idx="3">
                  <c:v>1.3109999999999999</c:v>
                </c:pt>
                <c:pt idx="4">
                  <c:v>1.8540000000000001</c:v>
                </c:pt>
                <c:pt idx="5">
                  <c:v>1.5669999999999999</c:v>
                </c:pt>
                <c:pt idx="6">
                  <c:v>0.44500000000000001</c:v>
                </c:pt>
                <c:pt idx="7">
                  <c:v>1.446</c:v>
                </c:pt>
              </c:numCache>
            </c:numRef>
          </c:yVal>
          <c:bubbleSize>
            <c:numRef>
              <c:f>Sheet1!$C$2:$C$9</c:f>
              <c:numCache>
                <c:formatCode>General</c:formatCode>
                <c:ptCount val="8"/>
                <c:pt idx="0">
                  <c:v>132987950</c:v>
                </c:pt>
                <c:pt idx="1">
                  <c:v>39552397</c:v>
                </c:pt>
                <c:pt idx="2">
                  <c:v>33996423</c:v>
                </c:pt>
                <c:pt idx="3">
                  <c:v>32603771</c:v>
                </c:pt>
                <c:pt idx="4">
                  <c:v>26217786</c:v>
                </c:pt>
                <c:pt idx="5">
                  <c:v>21170443</c:v>
                </c:pt>
                <c:pt idx="6">
                  <c:v>19554616</c:v>
                </c:pt>
                <c:pt idx="7">
                  <c:v>17071028</c:v>
                </c:pt>
              </c:numCache>
            </c:numRef>
          </c:bubbleSize>
          <c:bubble3D val="0"/>
          <c:extLst>
            <c:ext xmlns:c15="http://schemas.microsoft.com/office/drawing/2012/chart" uri="{02D57815-91ED-43cb-92C2-25804820EDAC}">
              <c15:datalabelsRange>
                <c15:f>Sheet1!$E$2:$E$10</c15:f>
                <c15:dlblRangeCache>
                  <c:ptCount val="9"/>
                  <c:pt idx="0">
                    <c:v>Mdd</c:v>
                  </c:pt>
                  <c:pt idx="1">
                    <c:v>Charles Volner</c:v>
                  </c:pt>
                  <c:pt idx="2">
                    <c:v>Freixenet</c:v>
                  </c:pt>
                  <c:pt idx="3">
                    <c:v>Wolfberger</c:v>
                  </c:pt>
                  <c:pt idx="4">
                    <c:v>Riccadonna</c:v>
                  </c:pt>
                  <c:pt idx="5">
                    <c:v>Vilaveroni</c:v>
                  </c:pt>
                  <c:pt idx="6">
                    <c:v>Kriter</c:v>
                  </c:pt>
                  <c:pt idx="7">
                    <c:v>Arthur Metz</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9"/>
          <c:min val="3"/>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CA-4C16-90F6-A0D9A3D8DA8E}"/>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CA-4C16-90F6-A0D9A3D8DA8E}"/>
                </c:ext>
              </c:extLst>
            </c:dLbl>
            <c:dLbl>
              <c:idx val="1"/>
              <c:tx>
                <c:rich>
                  <a:bodyPr/>
                  <a:lstStyle/>
                  <a:p>
                    <a:fld id="{4AD41B05-46B2-4E45-B26B-6D075D6C91F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CA-4C16-90F6-A0D9A3D8DA8E}"/>
                </c:ext>
              </c:extLst>
            </c:dLbl>
            <c:dLbl>
              <c:idx val="2"/>
              <c:tx>
                <c:rich>
                  <a:bodyPr/>
                  <a:lstStyle/>
                  <a:p>
                    <a:fld id="{B056E0ED-5C5D-4B3B-9322-161A182DC04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CA-4C16-90F6-A0D9A3D8DA8E}"/>
                </c:ext>
              </c:extLst>
            </c:dLbl>
            <c:dLbl>
              <c:idx val="3"/>
              <c:tx>
                <c:rich>
                  <a:bodyPr/>
                  <a:lstStyle/>
                  <a:p>
                    <a:fld id="{55096754-0B18-4161-93DD-FDD0CA0B5D5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D8CA-4C16-90F6-A0D9A3D8DA8E}"/>
                </c:ext>
              </c:extLst>
            </c:dLbl>
            <c:dLbl>
              <c:idx val="4"/>
              <c:tx>
                <c:rich>
                  <a:bodyPr/>
                  <a:lstStyle/>
                  <a:p>
                    <a:fld id="{AF2A5CEA-AB5E-4FB2-8D13-A37E3B92A72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D8CA-4C16-90F6-A0D9A3D8DA8E}"/>
                </c:ext>
              </c:extLst>
            </c:dLbl>
            <c:dLbl>
              <c:idx val="5"/>
              <c:tx>
                <c:rich>
                  <a:bodyPr/>
                  <a:lstStyle/>
                  <a:p>
                    <a:fld id="{8AD9F881-CB39-4926-A3BC-E879F909D7D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CA-4C16-90F6-A0D9A3D8DA8E}"/>
                </c:ext>
              </c:extLst>
            </c:dLbl>
            <c:dLbl>
              <c:idx val="6"/>
              <c:tx>
                <c:rich>
                  <a:bodyPr/>
                  <a:lstStyle/>
                  <a:p>
                    <a:fld id="{9D1BA4CE-9E63-4C40-847E-91169112CF1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CA-4C16-90F6-A0D9A3D8DA8E}"/>
                </c:ext>
              </c:extLst>
            </c:dLbl>
            <c:dLbl>
              <c:idx val="7"/>
              <c:tx>
                <c:rich>
                  <a:bodyPr/>
                  <a:lstStyle/>
                  <a:p>
                    <a:fld id="{C5ECEDC5-E8BE-4A1F-9775-CF6AF2EEAC1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CA-4C16-90F6-A0D9A3D8DA8E}"/>
                </c:ext>
              </c:extLst>
            </c:dLbl>
            <c:dLbl>
              <c:idx val="8"/>
              <c:tx>
                <c:rich>
                  <a:bodyPr/>
                  <a:lstStyle/>
                  <a:p>
                    <a:fld id="{DFAD1BB3-DB15-46B7-9BF2-87A01AAFA29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CA-4C16-90F6-A0D9A3D8DA8E}"/>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1.490399999999999</c:v>
                </c:pt>
                <c:pt idx="1">
                  <c:v>9.1667000000000005</c:v>
                </c:pt>
                <c:pt idx="2">
                  <c:v>10.4292</c:v>
                </c:pt>
              </c:numCache>
            </c:numRef>
          </c:xVal>
          <c:yVal>
            <c:numRef>
              <c:f>Sheet1!$B$2:$B$4</c:f>
              <c:numCache>
                <c:formatCode>General</c:formatCode>
                <c:ptCount val="3"/>
                <c:pt idx="0">
                  <c:v>1.3240000000000001</c:v>
                </c:pt>
                <c:pt idx="1">
                  <c:v>1.06</c:v>
                </c:pt>
                <c:pt idx="2">
                  <c:v>1.145</c:v>
                </c:pt>
              </c:numCache>
            </c:numRef>
          </c:yVal>
          <c:bubbleSize>
            <c:numRef>
              <c:f>Sheet1!$C$2:$C$4</c:f>
              <c:numCache>
                <c:formatCode>General</c:formatCode>
                <c:ptCount val="3"/>
                <c:pt idx="0">
                  <c:v>13214</c:v>
                </c:pt>
                <c:pt idx="1">
                  <c:v>5555</c:v>
                </c:pt>
                <c:pt idx="2">
                  <c:v>2284</c:v>
                </c:pt>
              </c:numCache>
            </c:numRef>
          </c:bubbleSize>
          <c:bubble3D val="0"/>
          <c:extLst>
            <c:ext xmlns:c15="http://schemas.microsoft.com/office/drawing/2012/chart" uri="{02D57815-91ED-43cb-92C2-25804820EDAC}">
              <c15:datalabelsRange>
                <c15:f>Sheet1!$E$2:$E$10</c15:f>
                <c15:dlblRangeCache>
                  <c:ptCount val="9"/>
                  <c:pt idx="0">
                    <c:v>Bottega</c:v>
                  </c:pt>
                  <c:pt idx="1">
                    <c:v>Savian</c:v>
                  </c:pt>
                  <c:pt idx="2">
                    <c:v>Contarini</c:v>
                  </c:pt>
                </c15:dlblRangeCache>
              </c15:datalabelsRange>
            </c:ext>
            <c:ext xmlns:c16="http://schemas.microsoft.com/office/drawing/2014/chart" uri="{C3380CC4-5D6E-409C-BE32-E72D297353CC}">
              <c16:uniqueId val="{00000009-D8CA-4C16-90F6-A0D9A3D8DA8E}"/>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4"/>
          <c:min val="7"/>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48BD503-D288-42D0-8625-414D55C0A47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11B20E7-5BA3-485F-9F88-BA2C43E06BC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5D304E7-AE8E-4D55-825A-2578E5584EF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CB15E69D-3B3B-4BAF-911D-2EF1ED587A2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D2D40272-B5A3-496D-9A15-108FD527F95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794DE684-2893-481B-993C-BE532AB74D4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7E58D90C-EEEB-41C2-B663-099517B825E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16C2DBB9-E26C-4E56-B5B4-CA7775A6EDE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1.404400000000001</c:v>
                </c:pt>
                <c:pt idx="1">
                  <c:v>11.525499999999999</c:v>
                </c:pt>
                <c:pt idx="2">
                  <c:v>13.9803</c:v>
                </c:pt>
              </c:numCache>
            </c:numRef>
          </c:xVal>
          <c:yVal>
            <c:numRef>
              <c:f>Sheet1!$B$2:$B$4</c:f>
              <c:numCache>
                <c:formatCode>General</c:formatCode>
                <c:ptCount val="3"/>
                <c:pt idx="0">
                  <c:v>0.99099999999999999</c:v>
                </c:pt>
                <c:pt idx="1">
                  <c:v>1.0349999999999999</c:v>
                </c:pt>
                <c:pt idx="2">
                  <c:v>1.2250000000000001</c:v>
                </c:pt>
              </c:numCache>
            </c:numRef>
          </c:yVal>
          <c:bubbleSize>
            <c:numRef>
              <c:f>Sheet1!$C$2:$C$4</c:f>
              <c:numCache>
                <c:formatCode>General</c:formatCode>
                <c:ptCount val="3"/>
                <c:pt idx="0">
                  <c:v>10800</c:v>
                </c:pt>
                <c:pt idx="1">
                  <c:v>5878</c:v>
                </c:pt>
                <c:pt idx="2">
                  <c:v>2125</c:v>
                </c:pt>
              </c:numCache>
            </c:numRef>
          </c:bubbleSize>
          <c:bubble3D val="0"/>
          <c:extLst>
            <c:ext xmlns:c15="http://schemas.microsoft.com/office/drawing/2012/chart" uri="{02D57815-91ED-43cb-92C2-25804820EDAC}">
              <c15:datalabelsRange>
                <c15:f>Sheet1!$E$2:$E$10</c15:f>
                <c15:dlblRangeCache>
                  <c:ptCount val="9"/>
                  <c:pt idx="0">
                    <c:v>Bouvet-Ladubay</c:v>
                  </c:pt>
                  <c:pt idx="1">
                    <c:v>Chateau Moncontour</c:v>
                  </c:pt>
                  <c:pt idx="2">
                    <c:v>De Chancen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7"/>
          <c:min val="9"/>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17A3EF1C-EFAB-44CC-A0EE-7BB50A75801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48EF-49EC-8B4D-EC25A4464CE3}"/>
                </c:ext>
              </c:extLst>
            </c:dLbl>
            <c:dLbl>
              <c:idx val="2"/>
              <c:tx>
                <c:rich>
                  <a:bodyPr/>
                  <a:lstStyle/>
                  <a:p>
                    <a:fld id="{212DFE12-DA7C-43FB-8B07-D0D80CF8F8D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48EF-49EC-8B4D-EC25A4464CE3}"/>
                </c:ext>
              </c:extLst>
            </c:dLbl>
            <c:dLbl>
              <c:idx val="3"/>
              <c:tx>
                <c:rich>
                  <a:bodyPr/>
                  <a:lstStyle/>
                  <a:p>
                    <a:fld id="{4F385082-05AE-4839-BB0C-7A96A5A594B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48EF-49EC-8B4D-EC25A4464CE3}"/>
                </c:ext>
              </c:extLst>
            </c:dLbl>
            <c:dLbl>
              <c:idx val="4"/>
              <c:tx>
                <c:rich>
                  <a:bodyPr/>
                  <a:lstStyle/>
                  <a:p>
                    <a:fld id="{ACB40B5A-6ECA-4C2E-B6D5-80451FAA283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48EF-49EC-8B4D-EC25A4464CE3}"/>
                </c:ext>
              </c:extLst>
            </c:dLbl>
            <c:dLbl>
              <c:idx val="5"/>
              <c:tx>
                <c:rich>
                  <a:bodyPr/>
                  <a:lstStyle/>
                  <a:p>
                    <a:fld id="{9B4F1E07-7265-4529-8876-1167DA02751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48EF-49EC-8B4D-EC25A4464CE3}"/>
                </c:ext>
              </c:extLst>
            </c:dLbl>
            <c:dLbl>
              <c:idx val="6"/>
              <c:tx>
                <c:rich>
                  <a:bodyPr/>
                  <a:lstStyle/>
                  <a:p>
                    <a:fld id="{F1C5E0A4-1656-4481-B54E-A6D28E1D079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48EF-49EC-8B4D-EC25A4464CE3}"/>
                </c:ext>
              </c:extLst>
            </c:dLbl>
            <c:dLbl>
              <c:idx val="7"/>
              <c:tx>
                <c:rich>
                  <a:bodyPr/>
                  <a:lstStyle/>
                  <a:p>
                    <a:fld id="{5F7CAA7E-54EB-40A1-B68A-BEA5921C543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48EF-49EC-8B4D-EC25A4464CE3}"/>
                </c:ext>
              </c:extLst>
            </c:dLbl>
            <c:dLbl>
              <c:idx val="8"/>
              <c:tx>
                <c:rich>
                  <a:bodyPr/>
                  <a:lstStyle/>
                  <a:p>
                    <a:fld id="{E80D30D9-2F13-4396-AA3F-02C3E8E3170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7.4818</c:v>
                </c:pt>
              </c:numCache>
            </c:numRef>
          </c:xVal>
          <c:yVal>
            <c:numRef>
              <c:f>Sheet1!$B$2:$B$2</c:f>
              <c:numCache>
                <c:formatCode>General</c:formatCode>
                <c:ptCount val="1"/>
                <c:pt idx="0">
                  <c:v>1</c:v>
                </c:pt>
              </c:numCache>
            </c:numRef>
          </c:yVal>
          <c:bubbleSize>
            <c:numRef>
              <c:f>Sheet1!$C$2:$C$2</c:f>
              <c:numCache>
                <c:formatCode>General</c:formatCode>
                <c:ptCount val="1"/>
                <c:pt idx="0">
                  <c:v>9615</c:v>
                </c:pt>
              </c:numCache>
            </c:numRef>
          </c:bubbleSize>
          <c:bubble3D val="0"/>
          <c:extLst>
            <c:ext xmlns:c15="http://schemas.microsoft.com/office/drawing/2012/chart" uri="{02D57815-91ED-43cb-92C2-25804820EDAC}">
              <c15:datalabelsRange>
                <c15:f>Sheet1!$E$2:$E$10</c15:f>
                <c15:dlblRangeCache>
                  <c:ptCount val="9"/>
                  <c:pt idx="0">
                    <c:v>Mure</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
          <c:min val="14"/>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2CB5B500-5427-484B-9FCF-4FB1EB6BF80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4C9A8F84-9154-4BAF-8624-8206827D49A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D871-46D6-BBFE-7C00E0D51738}"/>
                </c:ext>
              </c:extLst>
            </c:dLbl>
            <c:dLbl>
              <c:idx val="3"/>
              <c:tx>
                <c:rich>
                  <a:bodyPr/>
                  <a:lstStyle/>
                  <a:p>
                    <a:fld id="{0C55F7F6-0B35-4CE5-9D19-A8FAE3F90FC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D871-46D6-BBFE-7C00E0D51738}"/>
                </c:ext>
              </c:extLst>
            </c:dLbl>
            <c:dLbl>
              <c:idx val="4"/>
              <c:tx>
                <c:rich>
                  <a:bodyPr/>
                  <a:lstStyle/>
                  <a:p>
                    <a:fld id="{72C3FCF8-8890-4F87-8BD2-23D356BCFF0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D871-46D6-BBFE-7C00E0D51738}"/>
                </c:ext>
              </c:extLst>
            </c:dLbl>
            <c:dLbl>
              <c:idx val="5"/>
              <c:tx>
                <c:rich>
                  <a:bodyPr/>
                  <a:lstStyle/>
                  <a:p>
                    <a:fld id="{E8525D26-BBED-4E1C-AA7A-7C788861679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71-46D6-BBFE-7C00E0D51738}"/>
                </c:ext>
              </c:extLst>
            </c:dLbl>
            <c:dLbl>
              <c:idx val="6"/>
              <c:tx>
                <c:rich>
                  <a:bodyPr/>
                  <a:lstStyle/>
                  <a:p>
                    <a:fld id="{D1E0C438-74A3-4292-8BED-4265736D61F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71-46D6-BBFE-7C00E0D51738}"/>
                </c:ext>
              </c:extLst>
            </c:dLbl>
            <c:dLbl>
              <c:idx val="7"/>
              <c:tx>
                <c:rich>
                  <a:bodyPr/>
                  <a:lstStyle/>
                  <a:p>
                    <a:fld id="{61E60484-74FA-48A2-BB80-5D55C295F53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71-46D6-BBFE-7C00E0D51738}"/>
                </c:ext>
              </c:extLst>
            </c:dLbl>
            <c:dLbl>
              <c:idx val="8"/>
              <c:tx>
                <c:rich>
                  <a:bodyPr/>
                  <a:lstStyle/>
                  <a:p>
                    <a:fld id="{A3A8C0B9-8232-4C27-854F-EBE59C4EFE5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10.9453</c:v>
                </c:pt>
                <c:pt idx="1">
                  <c:v>10.7027</c:v>
                </c:pt>
              </c:numCache>
            </c:numRef>
          </c:xVal>
          <c:yVal>
            <c:numRef>
              <c:f>Sheet1!$B$2:$B$3</c:f>
              <c:numCache>
                <c:formatCode>General</c:formatCode>
                <c:ptCount val="2"/>
                <c:pt idx="0">
                  <c:v>0.9</c:v>
                </c:pt>
                <c:pt idx="1">
                  <c:v>0.81599999999999995</c:v>
                </c:pt>
              </c:numCache>
            </c:numRef>
          </c:yVal>
          <c:bubbleSize>
            <c:numRef>
              <c:f>Sheet1!$C$2:$C$3</c:f>
              <c:numCache>
                <c:formatCode>General</c:formatCode>
                <c:ptCount val="2"/>
                <c:pt idx="0">
                  <c:v>2200</c:v>
                </c:pt>
                <c:pt idx="1">
                  <c:v>396</c:v>
                </c:pt>
              </c:numCache>
            </c:numRef>
          </c:bubbleSize>
          <c:bubble3D val="0"/>
          <c:extLst>
            <c:ext xmlns:c15="http://schemas.microsoft.com/office/drawing/2012/chart" uri="{02D57815-91ED-43cb-92C2-25804820EDAC}">
              <c15:datalabelsRange>
                <c15:f>Sheet1!$E$2:$E$10</c15:f>
                <c15:dlblRangeCache>
                  <c:ptCount val="9"/>
                  <c:pt idx="0">
                    <c:v>Cru La Maqueline</c:v>
                  </c:pt>
                  <c:pt idx="1">
                    <c:v>Celene</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3"/>
          <c:min val="9"/>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FA57457-77B1-4468-BA42-AAEB52B8221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DB6B097-1F02-4E40-96E5-2D65B580172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8A8C238-8C76-4F69-95E9-7AB5BA5F7C0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D254951-0D2A-44B6-B5BF-FB94E5A06B6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9E21BF9-458D-4F5A-8F3D-097B6477AB1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59F9DF1-B80E-4F74-B409-B7E95124490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5AA28BB-74EB-4E92-BB5A-886B897CF82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E2982D55-2606-4A06-BA58-5E563995C45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102.6083</c:v>
                </c:pt>
                <c:pt idx="1">
                  <c:v>40.554200000000002</c:v>
                </c:pt>
                <c:pt idx="2">
                  <c:v>35.214300000000001</c:v>
                </c:pt>
                <c:pt idx="3">
                  <c:v>77.7453</c:v>
                </c:pt>
                <c:pt idx="4">
                  <c:v>56.062899999999999</c:v>
                </c:pt>
                <c:pt idx="5">
                  <c:v>48.319699999999997</c:v>
                </c:pt>
                <c:pt idx="6">
                  <c:v>40.115099999999998</c:v>
                </c:pt>
                <c:pt idx="7">
                  <c:v>72.929599999999994</c:v>
                </c:pt>
              </c:numCache>
            </c:numRef>
          </c:xVal>
          <c:yVal>
            <c:numRef>
              <c:f>Sheet1!$B$2:$B$9</c:f>
              <c:numCache>
                <c:formatCode>General</c:formatCode>
                <c:ptCount val="8"/>
                <c:pt idx="0">
                  <c:v>2.0590000000000002</c:v>
                </c:pt>
                <c:pt idx="1">
                  <c:v>0.89200000000000002</c:v>
                </c:pt>
                <c:pt idx="2">
                  <c:v>0.74399999999999999</c:v>
                </c:pt>
                <c:pt idx="3">
                  <c:v>1.4770000000000001</c:v>
                </c:pt>
                <c:pt idx="4">
                  <c:v>1.0329999999999999</c:v>
                </c:pt>
                <c:pt idx="5">
                  <c:v>0.90100000000000002</c:v>
                </c:pt>
                <c:pt idx="6">
                  <c:v>0.78300000000000003</c:v>
                </c:pt>
                <c:pt idx="7">
                  <c:v>1.3240000000000001</c:v>
                </c:pt>
              </c:numCache>
            </c:numRef>
          </c:yVal>
          <c:bubbleSize>
            <c:numRef>
              <c:f>Sheet1!$C$2:$C$9</c:f>
              <c:numCache>
                <c:formatCode>General</c:formatCode>
                <c:ptCount val="8"/>
                <c:pt idx="0">
                  <c:v>81984</c:v>
                </c:pt>
                <c:pt idx="1">
                  <c:v>13099</c:v>
                </c:pt>
                <c:pt idx="2">
                  <c:v>8874</c:v>
                </c:pt>
                <c:pt idx="3">
                  <c:v>8241</c:v>
                </c:pt>
                <c:pt idx="4">
                  <c:v>8017</c:v>
                </c:pt>
                <c:pt idx="5">
                  <c:v>5895</c:v>
                </c:pt>
                <c:pt idx="6">
                  <c:v>5576</c:v>
                </c:pt>
                <c:pt idx="7">
                  <c:v>5178</c:v>
                </c:pt>
              </c:numCache>
            </c:numRef>
          </c:bubbleSize>
          <c:bubble3D val="0"/>
          <c:extLst>
            <c:ext xmlns:c15="http://schemas.microsoft.com/office/drawing/2012/chart" uri="{02D57815-91ED-43cb-92C2-25804820EDAC}">
              <c15:datalabelsRange>
                <c15:f>Sheet1!$E$2:$E$10</c15:f>
                <c15:dlblRangeCache>
                  <c:ptCount val="9"/>
                  <c:pt idx="0">
                    <c:v>Ruinart</c:v>
                  </c:pt>
                  <c:pt idx="1">
                    <c:v>Nicolas</c:v>
                  </c:pt>
                  <c:pt idx="2">
                    <c:v>Malard</c:v>
                  </c:pt>
                  <c:pt idx="3">
                    <c:v>Ayala</c:v>
                  </c:pt>
                  <c:pt idx="4">
                    <c:v>Delamotte</c:v>
                  </c:pt>
                  <c:pt idx="5">
                    <c:v>Henriot</c:v>
                  </c:pt>
                  <c:pt idx="6">
                    <c:v>De Bligny</c:v>
                  </c:pt>
                  <c:pt idx="7">
                    <c:v>De Venog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23"/>
          <c:min val="28"/>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5BD6951E-BA97-4133-A299-792C6092708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4789CFA7-470D-4ADB-81AC-3EF18F4BAF3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158EF00E-6B3D-4431-803D-B8A246A750D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0EB82810-01C4-45D7-BFDB-959D4C60C37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7A53CC6F-8691-4104-B008-14E2370A2F9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7D4DEDD0-B98C-41A4-B68F-20BC549DD7B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A92E1F96-7972-4D01-BEE3-F53733EAF04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1E9565AF-4D11-4AAC-846F-988AA4E78C4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58.734200000000001</c:v>
                </c:pt>
                <c:pt idx="1">
                  <c:v>21.622299999999999</c:v>
                </c:pt>
                <c:pt idx="2">
                  <c:v>48.889699999999998</c:v>
                </c:pt>
                <c:pt idx="3">
                  <c:v>51.144300000000001</c:v>
                </c:pt>
                <c:pt idx="4">
                  <c:v>33.765999999999998</c:v>
                </c:pt>
                <c:pt idx="5">
                  <c:v>63.582700000000003</c:v>
                </c:pt>
                <c:pt idx="6">
                  <c:v>37.339100000000002</c:v>
                </c:pt>
                <c:pt idx="7">
                  <c:v>54.231400000000001</c:v>
                </c:pt>
              </c:numCache>
            </c:numRef>
          </c:xVal>
          <c:yVal>
            <c:numRef>
              <c:f>Sheet1!$B$2:$B$9</c:f>
              <c:numCache>
                <c:formatCode>General</c:formatCode>
                <c:ptCount val="8"/>
                <c:pt idx="0">
                  <c:v>1.528</c:v>
                </c:pt>
                <c:pt idx="1">
                  <c:v>0.57299999999999995</c:v>
                </c:pt>
                <c:pt idx="2">
                  <c:v>1.2290000000000001</c:v>
                </c:pt>
                <c:pt idx="3">
                  <c:v>1.153</c:v>
                </c:pt>
                <c:pt idx="4">
                  <c:v>0.90600000000000003</c:v>
                </c:pt>
                <c:pt idx="5">
                  <c:v>1.5640000000000001</c:v>
                </c:pt>
                <c:pt idx="6">
                  <c:v>0.997</c:v>
                </c:pt>
                <c:pt idx="7">
                  <c:v>1.2030000000000001</c:v>
                </c:pt>
              </c:numCache>
            </c:numRef>
          </c:yVal>
          <c:bubbleSize>
            <c:numRef>
              <c:f>Sheet1!$C$2:$C$9</c:f>
              <c:numCache>
                <c:formatCode>General</c:formatCode>
                <c:ptCount val="8"/>
                <c:pt idx="0">
                  <c:v>184954</c:v>
                </c:pt>
                <c:pt idx="1">
                  <c:v>116501</c:v>
                </c:pt>
                <c:pt idx="2">
                  <c:v>77588</c:v>
                </c:pt>
                <c:pt idx="3">
                  <c:v>49252</c:v>
                </c:pt>
                <c:pt idx="4">
                  <c:v>47610</c:v>
                </c:pt>
                <c:pt idx="5">
                  <c:v>41901</c:v>
                </c:pt>
                <c:pt idx="6">
                  <c:v>41185</c:v>
                </c:pt>
                <c:pt idx="7">
                  <c:v>34220</c:v>
                </c:pt>
              </c:numCache>
            </c:numRef>
          </c:bubbleSize>
          <c:bubble3D val="0"/>
          <c:extLst>
            <c:ext xmlns:c15="http://schemas.microsoft.com/office/drawing/2012/chart" uri="{02D57815-91ED-43cb-92C2-25804820EDAC}">
              <c15:datalabelsRange>
                <c15:f>Sheet1!$E$2:$E$10</c15:f>
                <c15:dlblRangeCache>
                  <c:ptCount val="9"/>
                  <c:pt idx="0">
                    <c:v>Ruinart</c:v>
                  </c:pt>
                  <c:pt idx="1">
                    <c:v>Nicolas</c:v>
                  </c:pt>
                  <c:pt idx="2">
                    <c:v>Deutz</c:v>
                  </c:pt>
                  <c:pt idx="3">
                    <c:v>Laurent Perrier</c:v>
                  </c:pt>
                  <c:pt idx="4">
                    <c:v>Canard Duchêne</c:v>
                  </c:pt>
                  <c:pt idx="5">
                    <c:v>Bollinger</c:v>
                  </c:pt>
                  <c:pt idx="6">
                    <c:v>Ayala</c:v>
                  </c:pt>
                  <c:pt idx="7">
                    <c:v>Taittinger</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6"/>
          <c:min val="17"/>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C3C62153-1220-40F0-A241-3E6674FDB42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AEA80FC0-2601-4C50-AA2D-5CDEBC3EA36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71-46D6-BBFE-7C00E0D51738}"/>
                </c:ext>
              </c:extLst>
            </c:dLbl>
            <c:dLbl>
              <c:idx val="3"/>
              <c:tx>
                <c:rich>
                  <a:bodyPr/>
                  <a:lstStyle/>
                  <a:p>
                    <a:fld id="{4F0AA4BD-7090-4F08-A56F-DECB44783F2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71-46D6-BBFE-7C00E0D51738}"/>
                </c:ext>
              </c:extLst>
            </c:dLbl>
            <c:dLbl>
              <c:idx val="4"/>
              <c:tx>
                <c:rich>
                  <a:bodyPr/>
                  <a:lstStyle/>
                  <a:p>
                    <a:fld id="{FC4D9A10-9FA4-4F94-BC33-A77E13E6B64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D871-46D6-BBFE-7C00E0D51738}"/>
                </c:ext>
              </c:extLst>
            </c:dLbl>
            <c:dLbl>
              <c:idx val="5"/>
              <c:tx>
                <c:rich>
                  <a:bodyPr/>
                  <a:lstStyle/>
                  <a:p>
                    <a:fld id="{FED959A5-56DC-441C-9B46-EEA94B3CA64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71-46D6-BBFE-7C00E0D51738}"/>
                </c:ext>
              </c:extLst>
            </c:dLbl>
            <c:dLbl>
              <c:idx val="6"/>
              <c:tx>
                <c:rich>
                  <a:bodyPr/>
                  <a:lstStyle/>
                  <a:p>
                    <a:fld id="{F3D716D5-01C6-45A0-821D-8C99171F9BB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71-46D6-BBFE-7C00E0D51738}"/>
                </c:ext>
              </c:extLst>
            </c:dLbl>
            <c:dLbl>
              <c:idx val="7"/>
              <c:tx>
                <c:rich>
                  <a:bodyPr/>
                  <a:lstStyle/>
                  <a:p>
                    <a:fld id="{32950B36-924B-4ABC-AB0E-A081635B484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71-46D6-BBFE-7C00E0D51738}"/>
                </c:ext>
              </c:extLst>
            </c:dLbl>
            <c:dLbl>
              <c:idx val="8"/>
              <c:tx>
                <c:rich>
                  <a:bodyPr/>
                  <a:lstStyle/>
                  <a:p>
                    <a:fld id="{3A34AEE8-5DED-40A7-AAC9-ADA2323CE7E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29.215199999999999</c:v>
                </c:pt>
                <c:pt idx="1">
                  <c:v>30.151700000000002</c:v>
                </c:pt>
                <c:pt idx="2">
                  <c:v>31.995200000000001</c:v>
                </c:pt>
                <c:pt idx="3">
                  <c:v>39.242400000000004</c:v>
                </c:pt>
              </c:numCache>
            </c:numRef>
          </c:xVal>
          <c:yVal>
            <c:numRef>
              <c:f>Sheet1!$B$2:$B$5</c:f>
              <c:numCache>
                <c:formatCode>General</c:formatCode>
                <c:ptCount val="4"/>
                <c:pt idx="0">
                  <c:v>0.98599999999999999</c:v>
                </c:pt>
                <c:pt idx="1">
                  <c:v>1.0049999999999999</c:v>
                </c:pt>
                <c:pt idx="2">
                  <c:v>1.0469999999999999</c:v>
                </c:pt>
                <c:pt idx="3">
                  <c:v>1.0920000000000001</c:v>
                </c:pt>
              </c:numCache>
            </c:numRef>
          </c:yVal>
          <c:bubbleSize>
            <c:numRef>
              <c:f>Sheet1!$C$2:$C$5</c:f>
              <c:numCache>
                <c:formatCode>General</c:formatCode>
                <c:ptCount val="4"/>
                <c:pt idx="0">
                  <c:v>32984</c:v>
                </c:pt>
                <c:pt idx="1">
                  <c:v>11729</c:v>
                </c:pt>
                <c:pt idx="2">
                  <c:v>6623</c:v>
                </c:pt>
                <c:pt idx="3">
                  <c:v>1295</c:v>
                </c:pt>
              </c:numCache>
            </c:numRef>
          </c:bubbleSize>
          <c:bubble3D val="0"/>
          <c:extLst>
            <c:ext xmlns:c15="http://schemas.microsoft.com/office/drawing/2012/chart" uri="{02D57815-91ED-43cb-92C2-25804820EDAC}">
              <c15:datalabelsRange>
                <c15:f>Sheet1!$E$2:$E$10</c15:f>
                <c15:dlblRangeCache>
                  <c:ptCount val="9"/>
                  <c:pt idx="0">
                    <c:v>Malard</c:v>
                  </c:pt>
                  <c:pt idx="1">
                    <c:v>Vesselle</c:v>
                  </c:pt>
                  <c:pt idx="2">
                    <c:v>Louis Martin</c:v>
                  </c:pt>
                  <c:pt idx="3">
                    <c:v>Nicolas</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7"/>
          <c:min val="23"/>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CA-4C16-90F6-A0D9A3D8DA8E}"/>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CA-4C16-90F6-A0D9A3D8DA8E}"/>
                </c:ext>
              </c:extLst>
            </c:dLbl>
            <c:dLbl>
              <c:idx val="1"/>
              <c:tx>
                <c:rich>
                  <a:bodyPr/>
                  <a:lstStyle/>
                  <a:p>
                    <a:fld id="{DD5063F8-24F6-4E33-960F-1715CFB6A55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CA-4C16-90F6-A0D9A3D8DA8E}"/>
                </c:ext>
              </c:extLst>
            </c:dLbl>
            <c:dLbl>
              <c:idx val="2"/>
              <c:tx>
                <c:rich>
                  <a:bodyPr/>
                  <a:lstStyle/>
                  <a:p>
                    <a:fld id="{3D18871F-3637-49D8-8042-9FA1EED4324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CA-4C16-90F6-A0D9A3D8DA8E}"/>
                </c:ext>
              </c:extLst>
            </c:dLbl>
            <c:dLbl>
              <c:idx val="3"/>
              <c:tx>
                <c:rich>
                  <a:bodyPr/>
                  <a:lstStyle/>
                  <a:p>
                    <a:fld id="{5A66F869-B0FE-480D-BD58-41AA0ED190E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CA-4C16-90F6-A0D9A3D8DA8E}"/>
                </c:ext>
              </c:extLst>
            </c:dLbl>
            <c:dLbl>
              <c:idx val="4"/>
              <c:tx>
                <c:rich>
                  <a:bodyPr/>
                  <a:lstStyle/>
                  <a:p>
                    <a:fld id="{F26B0626-090F-4233-894E-CE12C05A007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D8CA-4C16-90F6-A0D9A3D8DA8E}"/>
                </c:ext>
              </c:extLst>
            </c:dLbl>
            <c:dLbl>
              <c:idx val="5"/>
              <c:tx>
                <c:rich>
                  <a:bodyPr/>
                  <a:lstStyle/>
                  <a:p>
                    <a:fld id="{E0C0A879-844F-47B9-8102-5E45F9C87EC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CA-4C16-90F6-A0D9A3D8DA8E}"/>
                </c:ext>
              </c:extLst>
            </c:dLbl>
            <c:dLbl>
              <c:idx val="6"/>
              <c:tx>
                <c:rich>
                  <a:bodyPr/>
                  <a:lstStyle/>
                  <a:p>
                    <a:fld id="{82F2F5F2-0ADF-4F4B-BCF9-68C0F42BB96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CA-4C16-90F6-A0D9A3D8DA8E}"/>
                </c:ext>
              </c:extLst>
            </c:dLbl>
            <c:dLbl>
              <c:idx val="7"/>
              <c:tx>
                <c:rich>
                  <a:bodyPr/>
                  <a:lstStyle/>
                  <a:p>
                    <a:fld id="{00A78ECA-9B6C-47AB-90EB-6340166F2B5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CA-4C16-90F6-A0D9A3D8DA8E}"/>
                </c:ext>
              </c:extLst>
            </c:dLbl>
            <c:dLbl>
              <c:idx val="8"/>
              <c:tx>
                <c:rich>
                  <a:bodyPr/>
                  <a:lstStyle/>
                  <a:p>
                    <a:fld id="{DE2CE377-AD6F-48D4-B565-5E48C96E600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CA-4C16-90F6-A0D9A3D8DA8E}"/>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31.212</c:v>
                </c:pt>
                <c:pt idx="1">
                  <c:v>43.988500000000002</c:v>
                </c:pt>
                <c:pt idx="2">
                  <c:v>39.526299999999999</c:v>
                </c:pt>
                <c:pt idx="3">
                  <c:v>40.066699999999997</c:v>
                </c:pt>
              </c:numCache>
            </c:numRef>
          </c:xVal>
          <c:yVal>
            <c:numRef>
              <c:f>Sheet1!$B$2:$B$5</c:f>
              <c:numCache>
                <c:formatCode>General</c:formatCode>
                <c:ptCount val="4"/>
                <c:pt idx="0">
                  <c:v>0.94599999999999995</c:v>
                </c:pt>
                <c:pt idx="1">
                  <c:v>1.335</c:v>
                </c:pt>
                <c:pt idx="2">
                  <c:v>0.98099999999999998</c:v>
                </c:pt>
                <c:pt idx="3">
                  <c:v>1.145</c:v>
                </c:pt>
              </c:numCache>
            </c:numRef>
          </c:yVal>
          <c:bubbleSize>
            <c:numRef>
              <c:f>Sheet1!$C$2:$C$5</c:f>
              <c:numCache>
                <c:formatCode>General</c:formatCode>
                <c:ptCount val="4"/>
                <c:pt idx="0">
                  <c:v>34739</c:v>
                </c:pt>
                <c:pt idx="1">
                  <c:v>7654</c:v>
                </c:pt>
                <c:pt idx="2">
                  <c:v>1502</c:v>
                </c:pt>
                <c:pt idx="3">
                  <c:v>601</c:v>
                </c:pt>
              </c:numCache>
            </c:numRef>
          </c:bubbleSize>
          <c:bubble3D val="0"/>
          <c:extLst>
            <c:ext xmlns:c15="http://schemas.microsoft.com/office/drawing/2012/chart" uri="{02D57815-91ED-43cb-92C2-25804820EDAC}">
              <c15:datalabelsRange>
                <c15:f>Sheet1!$E$2:$E$10</c15:f>
                <c15:dlblRangeCache>
                  <c:ptCount val="9"/>
                  <c:pt idx="0">
                    <c:v>Nicolas Feuillatte</c:v>
                  </c:pt>
                  <c:pt idx="1">
                    <c:v>Moët &amp; Chandon</c:v>
                  </c:pt>
                  <c:pt idx="2">
                    <c:v>Canard Duchêne</c:v>
                  </c:pt>
                  <c:pt idx="3">
                    <c:v>Piper Heidsieck</c:v>
                  </c:pt>
                </c15:dlblRangeCache>
              </c15:datalabelsRange>
            </c:ext>
            <c:ext xmlns:c16="http://schemas.microsoft.com/office/drawing/2014/chart" uri="{C3380CC4-5D6E-409C-BE32-E72D297353CC}">
              <c16:uniqueId val="{00000009-D8CA-4C16-90F6-A0D9A3D8DA8E}"/>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3"/>
          <c:min val="25"/>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E761A7A-36D2-446C-B3C4-CFBDB09FDE4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9C7D46F-51FD-49B2-A3E9-E8BCF6CDA80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EEEC67A-6F89-459A-915F-39C919114FB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D2A0C8B-2FA3-468D-A853-58377C2F6AA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06C7B90-67B0-418E-AE6B-0B1C0996A5A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EA70736-09D6-4205-93C3-675828AD860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66F8B92-1E9A-4591-808E-9405874DCB1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A6F8DFB0-66E8-487F-837B-6008BADA481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84.45569999999998</c:v>
                </c:pt>
                <c:pt idx="1">
                  <c:v>146.87</c:v>
                </c:pt>
                <c:pt idx="2">
                  <c:v>98.268699999999995</c:v>
                </c:pt>
                <c:pt idx="3">
                  <c:v>38.807899999999997</c:v>
                </c:pt>
                <c:pt idx="4">
                  <c:v>255.3158</c:v>
                </c:pt>
                <c:pt idx="5">
                  <c:v>67.7</c:v>
                </c:pt>
                <c:pt idx="6">
                  <c:v>218.27269999999999</c:v>
                </c:pt>
                <c:pt idx="7">
                  <c:v>341.1429</c:v>
                </c:pt>
              </c:numCache>
            </c:numRef>
          </c:xVal>
          <c:yVal>
            <c:numRef>
              <c:f>Sheet1!$B$2:$B$9</c:f>
              <c:numCache>
                <c:formatCode>General</c:formatCode>
                <c:ptCount val="8"/>
                <c:pt idx="0">
                  <c:v>2.2229999999999999</c:v>
                </c:pt>
                <c:pt idx="1">
                  <c:v>1.105</c:v>
                </c:pt>
                <c:pt idx="2">
                  <c:v>0.78600000000000003</c:v>
                </c:pt>
                <c:pt idx="3">
                  <c:v>0.34100000000000003</c:v>
                </c:pt>
                <c:pt idx="4">
                  <c:v>1.976</c:v>
                </c:pt>
                <c:pt idx="5">
                  <c:v>0.52100000000000002</c:v>
                </c:pt>
                <c:pt idx="6">
                  <c:v>1.5109999999999999</c:v>
                </c:pt>
                <c:pt idx="7">
                  <c:v>2.3620000000000001</c:v>
                </c:pt>
              </c:numCache>
            </c:numRef>
          </c:yVal>
          <c:bubbleSize>
            <c:numRef>
              <c:f>Sheet1!$C$2:$C$9</c:f>
              <c:numCache>
                <c:formatCode>General</c:formatCode>
                <c:ptCount val="8"/>
                <c:pt idx="0">
                  <c:v>22472</c:v>
                </c:pt>
                <c:pt idx="1">
                  <c:v>14687</c:v>
                </c:pt>
                <c:pt idx="2">
                  <c:v>6584</c:v>
                </c:pt>
                <c:pt idx="3">
                  <c:v>5860</c:v>
                </c:pt>
                <c:pt idx="4">
                  <c:v>4851</c:v>
                </c:pt>
                <c:pt idx="5">
                  <c:v>2708</c:v>
                </c:pt>
                <c:pt idx="6">
                  <c:v>2401</c:v>
                </c:pt>
                <c:pt idx="7">
                  <c:v>2388</c:v>
                </c:pt>
              </c:numCache>
            </c:numRef>
          </c:bubbleSize>
          <c:bubble3D val="0"/>
          <c:extLst>
            <c:ext xmlns:c15="http://schemas.microsoft.com/office/drawing/2012/chart" uri="{02D57815-91ED-43cb-92C2-25804820EDAC}">
              <c15:datalabelsRange>
                <c15:f>Sheet1!$E$2:$E$10</c15:f>
                <c15:dlblRangeCache>
                  <c:ptCount val="9"/>
                  <c:pt idx="0">
                    <c:v>Dom Perignon</c:v>
                  </c:pt>
                  <c:pt idx="1">
                    <c:v>Roederer</c:v>
                  </c:pt>
                  <c:pt idx="2">
                    <c:v>Ruinart</c:v>
                  </c:pt>
                  <c:pt idx="3">
                    <c:v>Malard</c:v>
                  </c:pt>
                  <c:pt idx="4">
                    <c:v>Bollinger</c:v>
                  </c:pt>
                  <c:pt idx="5">
                    <c:v>Laurent Perrier</c:v>
                  </c:pt>
                  <c:pt idx="6">
                    <c:v>Perrier Jouet</c:v>
                  </c:pt>
                  <c:pt idx="7">
                    <c:v>Piper Heidsieck</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09"/>
          <c:min val="31"/>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B148A4D0-9315-41E3-8FEA-F673BD6B006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44A98404-A8E6-49A3-8A0C-6E38D3694E0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D0FF951E-DEF4-42B3-BB89-49D83BD586E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47A84517-185A-4975-B8DB-F51D930091D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C524E3A9-8A12-4F9F-8F4F-949B456B4B3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1534EFFC-A929-40B4-A77D-9090BAC1667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C9F01F0F-4C4D-4AFC-86AE-2B7D413A85A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0DF2EACB-295C-4C5E-8896-8C95C566DB7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94.599299999999999</c:v>
                </c:pt>
                <c:pt idx="1">
                  <c:v>58.336399999999998</c:v>
                </c:pt>
                <c:pt idx="2">
                  <c:v>25.557099999999998</c:v>
                </c:pt>
                <c:pt idx="3">
                  <c:v>37.690100000000001</c:v>
                </c:pt>
                <c:pt idx="4">
                  <c:v>84.796300000000002</c:v>
                </c:pt>
                <c:pt idx="5">
                  <c:v>35.964500000000001</c:v>
                </c:pt>
                <c:pt idx="6">
                  <c:v>37.8874</c:v>
                </c:pt>
                <c:pt idx="7">
                  <c:v>52.653799999999997</c:v>
                </c:pt>
              </c:numCache>
            </c:numRef>
          </c:xVal>
          <c:yVal>
            <c:numRef>
              <c:f>Sheet1!$B$2:$B$9</c:f>
              <c:numCache>
                <c:formatCode>General</c:formatCode>
                <c:ptCount val="8"/>
                <c:pt idx="0">
                  <c:v>1.92</c:v>
                </c:pt>
                <c:pt idx="1">
                  <c:v>1.36</c:v>
                </c:pt>
                <c:pt idx="2">
                  <c:v>0.55500000000000005</c:v>
                </c:pt>
                <c:pt idx="3">
                  <c:v>0.78700000000000003</c:v>
                </c:pt>
                <c:pt idx="4">
                  <c:v>1.655</c:v>
                </c:pt>
                <c:pt idx="5">
                  <c:v>0.749</c:v>
                </c:pt>
                <c:pt idx="6">
                  <c:v>0.72899999999999998</c:v>
                </c:pt>
                <c:pt idx="7">
                  <c:v>1.0640000000000001</c:v>
                </c:pt>
              </c:numCache>
            </c:numRef>
          </c:yVal>
          <c:bubbleSize>
            <c:numRef>
              <c:f>Sheet1!$C$2:$C$9</c:f>
              <c:numCache>
                <c:formatCode>General</c:formatCode>
                <c:ptCount val="8"/>
                <c:pt idx="0">
                  <c:v>26677</c:v>
                </c:pt>
                <c:pt idx="1">
                  <c:v>19076</c:v>
                </c:pt>
                <c:pt idx="2">
                  <c:v>18810</c:v>
                </c:pt>
                <c:pt idx="3">
                  <c:v>11797</c:v>
                </c:pt>
                <c:pt idx="4">
                  <c:v>9158</c:v>
                </c:pt>
                <c:pt idx="5">
                  <c:v>7085</c:v>
                </c:pt>
                <c:pt idx="6">
                  <c:v>5721</c:v>
                </c:pt>
                <c:pt idx="7">
                  <c:v>5476</c:v>
                </c:pt>
              </c:numCache>
            </c:numRef>
          </c:bubbleSize>
          <c:bubble3D val="0"/>
          <c:extLst>
            <c:ext xmlns:c15="http://schemas.microsoft.com/office/drawing/2012/chart" uri="{02D57815-91ED-43cb-92C2-25804820EDAC}">
              <c15:datalabelsRange>
                <c15:f>Sheet1!$E$2:$E$10</c15:f>
                <c15:dlblRangeCache>
                  <c:ptCount val="9"/>
                  <c:pt idx="0">
                    <c:v>Ruinart</c:v>
                  </c:pt>
                  <c:pt idx="1">
                    <c:v>Deutz</c:v>
                  </c:pt>
                  <c:pt idx="2">
                    <c:v>Nicolas</c:v>
                  </c:pt>
                  <c:pt idx="3">
                    <c:v>Demoiselle</c:v>
                  </c:pt>
                  <c:pt idx="4">
                    <c:v>Laurent Perrier</c:v>
                  </c:pt>
                  <c:pt idx="5">
                    <c:v>Malard</c:v>
                  </c:pt>
                  <c:pt idx="6">
                    <c:v>Nicolas Feuillatte</c:v>
                  </c:pt>
                  <c:pt idx="7">
                    <c:v>Pommery</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14"/>
          <c:min val="20"/>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75238ADC-2A09-4E66-9144-6737D3D7D20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33BB5748-6C4B-456E-95FE-52F6FE27B37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71-46D6-BBFE-7C00E0D51738}"/>
                </c:ext>
              </c:extLst>
            </c:dLbl>
            <c:dLbl>
              <c:idx val="3"/>
              <c:tx>
                <c:rich>
                  <a:bodyPr/>
                  <a:lstStyle/>
                  <a:p>
                    <a:fld id="{C2A40236-68A8-4B99-8F86-93A97FA3FDB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71-46D6-BBFE-7C00E0D51738}"/>
                </c:ext>
              </c:extLst>
            </c:dLbl>
            <c:dLbl>
              <c:idx val="4"/>
              <c:tx>
                <c:rich>
                  <a:bodyPr/>
                  <a:lstStyle/>
                  <a:p>
                    <a:fld id="{F058BAE4-C72D-464A-BF53-1B8B116E50D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871-46D6-BBFE-7C00E0D51738}"/>
                </c:ext>
              </c:extLst>
            </c:dLbl>
            <c:dLbl>
              <c:idx val="5"/>
              <c:tx>
                <c:rich>
                  <a:bodyPr/>
                  <a:lstStyle/>
                  <a:p>
                    <a:fld id="{915B94D9-0598-4E4C-8126-6CCE255A6A9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D871-46D6-BBFE-7C00E0D51738}"/>
                </c:ext>
              </c:extLst>
            </c:dLbl>
            <c:dLbl>
              <c:idx val="6"/>
              <c:tx>
                <c:rich>
                  <a:bodyPr/>
                  <a:lstStyle/>
                  <a:p>
                    <a:fld id="{6F705E8F-C8C4-4572-813F-C9D3760AF59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D871-46D6-BBFE-7C00E0D51738}"/>
                </c:ext>
              </c:extLst>
            </c:dLbl>
            <c:dLbl>
              <c:idx val="7"/>
              <c:tx>
                <c:rich>
                  <a:bodyPr/>
                  <a:lstStyle/>
                  <a:p>
                    <a:fld id="{1F67E5AE-2C15-409A-A895-B8A595816C2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71-46D6-BBFE-7C00E0D51738}"/>
                </c:ext>
              </c:extLst>
            </c:dLbl>
            <c:dLbl>
              <c:idx val="8"/>
              <c:tx>
                <c:rich>
                  <a:bodyPr/>
                  <a:lstStyle/>
                  <a:p>
                    <a:fld id="{10E1FCE5-4821-4DC6-B1E0-E5F388DC440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3.5872999999999999</c:v>
                </c:pt>
                <c:pt idx="1">
                  <c:v>3.6678000000000002</c:v>
                </c:pt>
                <c:pt idx="2">
                  <c:v>3.9388000000000001</c:v>
                </c:pt>
                <c:pt idx="3">
                  <c:v>2.9659</c:v>
                </c:pt>
                <c:pt idx="4">
                  <c:v>5.45</c:v>
                </c:pt>
                <c:pt idx="5">
                  <c:v>7.4157999999999999</c:v>
                </c:pt>
                <c:pt idx="6">
                  <c:v>29.135300000000001</c:v>
                </c:pt>
              </c:numCache>
            </c:numRef>
          </c:xVal>
          <c:yVal>
            <c:numRef>
              <c:f>Sheet1!$B$2:$B$8</c:f>
              <c:numCache>
                <c:formatCode>General</c:formatCode>
                <c:ptCount val="7"/>
                <c:pt idx="0">
                  <c:v>0.93100000000000005</c:v>
                </c:pt>
                <c:pt idx="1">
                  <c:v>0.95099999999999996</c:v>
                </c:pt>
                <c:pt idx="2">
                  <c:v>1.0089999999999999</c:v>
                </c:pt>
                <c:pt idx="3">
                  <c:v>0.76900000000000002</c:v>
                </c:pt>
                <c:pt idx="4">
                  <c:v>1.4139999999999999</c:v>
                </c:pt>
                <c:pt idx="5">
                  <c:v>1.9059999999999999</c:v>
                </c:pt>
                <c:pt idx="6">
                  <c:v>7.5529999999999999</c:v>
                </c:pt>
              </c:numCache>
            </c:numRef>
          </c:yVal>
          <c:bubbleSize>
            <c:numRef>
              <c:f>Sheet1!$C$2:$C$8</c:f>
              <c:numCache>
                <c:formatCode>General</c:formatCode>
                <c:ptCount val="7"/>
                <c:pt idx="0">
                  <c:v>8393288</c:v>
                </c:pt>
                <c:pt idx="1">
                  <c:v>5214126</c:v>
                </c:pt>
                <c:pt idx="2">
                  <c:v>4064943</c:v>
                </c:pt>
                <c:pt idx="3">
                  <c:v>2391008</c:v>
                </c:pt>
                <c:pt idx="4">
                  <c:v>1430636</c:v>
                </c:pt>
                <c:pt idx="5">
                  <c:v>436974</c:v>
                </c:pt>
                <c:pt idx="6">
                  <c:v>337562</c:v>
                </c:pt>
              </c:numCache>
            </c:numRef>
          </c:bubbleSize>
          <c:bubble3D val="0"/>
          <c:extLst>
            <c:ext xmlns:c15="http://schemas.microsoft.com/office/drawing/2012/chart" uri="{02D57815-91ED-43cb-92C2-25804820EDAC}">
              <c15:datalabelsRange>
                <c15:f>Sheet1!$E$2:$E$10</c15:f>
                <c15:dlblRangeCache>
                  <c:ptCount val="9"/>
                  <c:pt idx="0">
                    <c:v>D'Artigny</c:v>
                  </c:pt>
                  <c:pt idx="1">
                    <c:v>Festillant</c:v>
                  </c:pt>
                  <c:pt idx="2">
                    <c:v>Petillant De Listel</c:v>
                  </c:pt>
                  <c:pt idx="3">
                    <c:v>Mdd</c:v>
                  </c:pt>
                  <c:pt idx="4">
                    <c:v>Freixenet</c:v>
                  </c:pt>
                  <c:pt idx="5">
                    <c:v>Ackerman</c:v>
                  </c:pt>
                  <c:pt idx="6">
                    <c:v>De Chanceny</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5"/>
          <c:min val="2"/>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51AB6E0E-8E6C-45A0-AD21-BD7DEBF79D5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D871-46D6-BBFE-7C00E0D51738}"/>
                </c:ext>
              </c:extLst>
            </c:dLbl>
            <c:dLbl>
              <c:idx val="2"/>
              <c:tx>
                <c:rich>
                  <a:bodyPr/>
                  <a:lstStyle/>
                  <a:p>
                    <a:fld id="{FA5D5650-7C84-41EE-B876-408D84E0052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D871-46D6-BBFE-7C00E0D51738}"/>
                </c:ext>
              </c:extLst>
            </c:dLbl>
            <c:dLbl>
              <c:idx val="3"/>
              <c:tx>
                <c:rich>
                  <a:bodyPr/>
                  <a:lstStyle/>
                  <a:p>
                    <a:fld id="{6535E963-C3E2-40DC-B0FC-40B3BDCA49A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D871-46D6-BBFE-7C00E0D51738}"/>
                </c:ext>
              </c:extLst>
            </c:dLbl>
            <c:dLbl>
              <c:idx val="4"/>
              <c:tx>
                <c:rich>
                  <a:bodyPr/>
                  <a:lstStyle/>
                  <a:p>
                    <a:fld id="{7F3BF9FD-5FFE-45D3-901E-9AACCE8742A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D871-46D6-BBFE-7C00E0D51738}"/>
                </c:ext>
              </c:extLst>
            </c:dLbl>
            <c:dLbl>
              <c:idx val="5"/>
              <c:tx>
                <c:rich>
                  <a:bodyPr/>
                  <a:lstStyle/>
                  <a:p>
                    <a:fld id="{F5F6EA0A-0B17-47A3-9F06-5650B63DCE2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71-46D6-BBFE-7C00E0D51738}"/>
                </c:ext>
              </c:extLst>
            </c:dLbl>
            <c:dLbl>
              <c:idx val="6"/>
              <c:tx>
                <c:rich>
                  <a:bodyPr/>
                  <a:lstStyle/>
                  <a:p>
                    <a:fld id="{43A0D641-9481-4E8E-A220-9C16331EEC1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71-46D6-BBFE-7C00E0D51738}"/>
                </c:ext>
              </c:extLst>
            </c:dLbl>
            <c:dLbl>
              <c:idx val="7"/>
              <c:tx>
                <c:rich>
                  <a:bodyPr/>
                  <a:lstStyle/>
                  <a:p>
                    <a:fld id="{284310D1-154A-4C3C-A919-978B8D25127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71-46D6-BBFE-7C00E0D51738}"/>
                </c:ext>
              </c:extLst>
            </c:dLbl>
            <c:dLbl>
              <c:idx val="8"/>
              <c:tx>
                <c:rich>
                  <a:bodyPr/>
                  <a:lstStyle/>
                  <a:p>
                    <a:fld id="{E83D1A1A-3AC3-4286-B27E-EB5998B9061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2.973800000000001</c:v>
                </c:pt>
              </c:numCache>
            </c:numRef>
          </c:xVal>
          <c:yVal>
            <c:numRef>
              <c:f>Sheet1!$B$2:$B$2</c:f>
              <c:numCache>
                <c:formatCode>General</c:formatCode>
                <c:ptCount val="1"/>
                <c:pt idx="0">
                  <c:v>1</c:v>
                </c:pt>
              </c:numCache>
            </c:numRef>
          </c:yVal>
          <c:bubbleSize>
            <c:numRef>
              <c:f>Sheet1!$C$2:$C$2</c:f>
              <c:numCache>
                <c:formatCode>General</c:formatCode>
                <c:ptCount val="1"/>
                <c:pt idx="0">
                  <c:v>3957</c:v>
                </c:pt>
              </c:numCache>
            </c:numRef>
          </c:bubbleSize>
          <c:bubble3D val="0"/>
          <c:extLst>
            <c:ext xmlns:c15="http://schemas.microsoft.com/office/drawing/2012/chart" uri="{02D57815-91ED-43cb-92C2-25804820EDAC}">
              <c15:datalabelsRange>
                <c15:f>Sheet1!$E$2:$E$10</c15:f>
                <c15:dlblRangeCache>
                  <c:ptCount val="9"/>
                  <c:pt idx="0">
                    <c:v>Patriarche</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6"/>
          <c:min val="10"/>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CA-4C16-90F6-A0D9A3D8DA8E}"/>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CA-4C16-90F6-A0D9A3D8DA8E}"/>
                </c:ext>
              </c:extLst>
            </c:dLbl>
            <c:dLbl>
              <c:idx val="1"/>
              <c:tx>
                <c:rich>
                  <a:bodyPr/>
                  <a:lstStyle/>
                  <a:p>
                    <a:fld id="{2DFD5772-D0FA-40FE-A37F-FC1D0059067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CA-4C16-90F6-A0D9A3D8DA8E}"/>
                </c:ext>
              </c:extLst>
            </c:dLbl>
            <c:dLbl>
              <c:idx val="2"/>
              <c:tx>
                <c:rich>
                  <a:bodyPr/>
                  <a:lstStyle/>
                  <a:p>
                    <a:fld id="{02898ED3-B359-4D75-90A8-41FEE63DBB2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CA-4C16-90F6-A0D9A3D8DA8E}"/>
                </c:ext>
              </c:extLst>
            </c:dLbl>
            <c:dLbl>
              <c:idx val="3"/>
              <c:tx>
                <c:rich>
                  <a:bodyPr/>
                  <a:lstStyle/>
                  <a:p>
                    <a:fld id="{F09DF734-C433-4085-A0C3-D7960763F33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D8CA-4C16-90F6-A0D9A3D8DA8E}"/>
                </c:ext>
              </c:extLst>
            </c:dLbl>
            <c:dLbl>
              <c:idx val="4"/>
              <c:tx>
                <c:rich>
                  <a:bodyPr/>
                  <a:lstStyle/>
                  <a:p>
                    <a:fld id="{ECB3A913-80D4-429C-9817-78754FC7C46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D8CA-4C16-90F6-A0D9A3D8DA8E}"/>
                </c:ext>
              </c:extLst>
            </c:dLbl>
            <c:dLbl>
              <c:idx val="5"/>
              <c:tx>
                <c:rich>
                  <a:bodyPr/>
                  <a:lstStyle/>
                  <a:p>
                    <a:fld id="{7ADE5D13-34DD-4DBC-865E-EDB7D7A782D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CA-4C16-90F6-A0D9A3D8DA8E}"/>
                </c:ext>
              </c:extLst>
            </c:dLbl>
            <c:dLbl>
              <c:idx val="6"/>
              <c:tx>
                <c:rich>
                  <a:bodyPr/>
                  <a:lstStyle/>
                  <a:p>
                    <a:fld id="{9408A33F-A552-41ED-88CD-73323643035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CA-4C16-90F6-A0D9A3D8DA8E}"/>
                </c:ext>
              </c:extLst>
            </c:dLbl>
            <c:dLbl>
              <c:idx val="7"/>
              <c:tx>
                <c:rich>
                  <a:bodyPr/>
                  <a:lstStyle/>
                  <a:p>
                    <a:fld id="{B50E3C30-457E-4D40-992C-CFFB33D72C3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CA-4C16-90F6-A0D9A3D8DA8E}"/>
                </c:ext>
              </c:extLst>
            </c:dLbl>
            <c:dLbl>
              <c:idx val="8"/>
              <c:tx>
                <c:rich>
                  <a:bodyPr/>
                  <a:lstStyle/>
                  <a:p>
                    <a:fld id="{70A1969B-F0FE-4231-9FFD-514F007A08C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CA-4C16-90F6-A0D9A3D8DA8E}"/>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9.0344999999999995</c:v>
                </c:pt>
                <c:pt idx="1">
                  <c:v>11.645300000000001</c:v>
                </c:pt>
                <c:pt idx="2">
                  <c:v>11.3782</c:v>
                </c:pt>
              </c:numCache>
            </c:numRef>
          </c:xVal>
          <c:yVal>
            <c:numRef>
              <c:f>Sheet1!$B$2:$B$4</c:f>
              <c:numCache>
                <c:formatCode>General</c:formatCode>
                <c:ptCount val="3"/>
                <c:pt idx="0">
                  <c:v>1.079</c:v>
                </c:pt>
                <c:pt idx="1">
                  <c:v>1.337</c:v>
                </c:pt>
                <c:pt idx="2">
                  <c:v>1.115</c:v>
                </c:pt>
              </c:numCache>
            </c:numRef>
          </c:yVal>
          <c:bubbleSize>
            <c:numRef>
              <c:f>Sheet1!$C$2:$C$4</c:f>
              <c:numCache>
                <c:formatCode>General</c:formatCode>
                <c:ptCount val="3"/>
                <c:pt idx="0">
                  <c:v>3930</c:v>
                </c:pt>
                <c:pt idx="1">
                  <c:v>3447</c:v>
                </c:pt>
                <c:pt idx="2">
                  <c:v>1775</c:v>
                </c:pt>
              </c:numCache>
            </c:numRef>
          </c:bubbleSize>
          <c:bubble3D val="0"/>
          <c:extLst>
            <c:ext xmlns:c15="http://schemas.microsoft.com/office/drawing/2012/chart" uri="{02D57815-91ED-43cb-92C2-25804820EDAC}">
              <c15:datalabelsRange>
                <c15:f>Sheet1!$E$2:$E$10</c15:f>
                <c15:dlblRangeCache>
                  <c:ptCount val="9"/>
                  <c:pt idx="0">
                    <c:v>Savian</c:v>
                  </c:pt>
                  <c:pt idx="1">
                    <c:v>Bottega</c:v>
                  </c:pt>
                  <c:pt idx="2">
                    <c:v>Contarini</c:v>
                  </c:pt>
                </c15:dlblRangeCache>
              </c15:datalabelsRange>
            </c:ext>
            <c:ext xmlns:c16="http://schemas.microsoft.com/office/drawing/2014/chart" uri="{C3380CC4-5D6E-409C-BE32-E72D297353CC}">
              <c16:uniqueId val="{00000009-D8CA-4C16-90F6-A0D9A3D8DA8E}"/>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4"/>
          <c:min val="7"/>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264511A-F525-46F0-89AA-BD58B35F084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7C92A32-1D71-4409-A0F2-2B7524757F8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97FAD24-D8A8-4D7E-A3B0-22A2B6AD9DE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C5BB557B-E0FB-415A-AF26-0843AD4F64A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71C982C2-2613-45F7-A416-6D73884F343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0E5D2A2A-CC60-4DEA-8777-981ABA4C15B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CF9ECA05-1BAC-44DD-AA6E-7BC5749B5EF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D130DF6C-B51C-47F4-BCAA-48F847D6AC9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1.7005</c:v>
                </c:pt>
                <c:pt idx="1">
                  <c:v>13.552199999999999</c:v>
                </c:pt>
                <c:pt idx="2">
                  <c:v>13.9505</c:v>
                </c:pt>
              </c:numCache>
            </c:numRef>
          </c:xVal>
          <c:yVal>
            <c:numRef>
              <c:f>Sheet1!$B$2:$B$4</c:f>
              <c:numCache>
                <c:formatCode>General</c:formatCode>
                <c:ptCount val="3"/>
                <c:pt idx="0">
                  <c:v>1</c:v>
                </c:pt>
                <c:pt idx="1">
                  <c:v>0.97099999999999997</c:v>
                </c:pt>
                <c:pt idx="2">
                  <c:v>1.1890000000000001</c:v>
                </c:pt>
              </c:numCache>
            </c:numRef>
          </c:yVal>
          <c:bubbleSize>
            <c:numRef>
              <c:f>Sheet1!$C$2:$C$4</c:f>
              <c:numCache>
                <c:formatCode>General</c:formatCode>
                <c:ptCount val="3"/>
                <c:pt idx="0">
                  <c:v>2188</c:v>
                </c:pt>
                <c:pt idx="1">
                  <c:v>1816</c:v>
                </c:pt>
                <c:pt idx="2">
                  <c:v>1409</c:v>
                </c:pt>
              </c:numCache>
            </c:numRef>
          </c:bubbleSize>
          <c:bubble3D val="0"/>
          <c:extLst>
            <c:ext xmlns:c15="http://schemas.microsoft.com/office/drawing/2012/chart" uri="{02D57815-91ED-43cb-92C2-25804820EDAC}">
              <c15:datalabelsRange>
                <c15:f>Sheet1!$E$2:$E$10</c15:f>
                <c15:dlblRangeCache>
                  <c:ptCount val="9"/>
                  <c:pt idx="0">
                    <c:v>Chateau Moncontour</c:v>
                  </c:pt>
                  <c:pt idx="1">
                    <c:v>Bouvet-Ladubay</c:v>
                  </c:pt>
                  <c:pt idx="2">
                    <c:v>De Chancen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7"/>
          <c:min val="9"/>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590D9D8B-8BCF-4B95-BD77-997206BE9C6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48EF-49EC-8B4D-EC25A4464CE3}"/>
                </c:ext>
              </c:extLst>
            </c:dLbl>
            <c:dLbl>
              <c:idx val="2"/>
              <c:tx>
                <c:rich>
                  <a:bodyPr/>
                  <a:lstStyle/>
                  <a:p>
                    <a:fld id="{CE060C29-4980-45A3-B6F4-A39BC1F6CF1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48EF-49EC-8B4D-EC25A4464CE3}"/>
                </c:ext>
              </c:extLst>
            </c:dLbl>
            <c:dLbl>
              <c:idx val="3"/>
              <c:tx>
                <c:rich>
                  <a:bodyPr/>
                  <a:lstStyle/>
                  <a:p>
                    <a:fld id="{D14DDDC0-7C07-411D-83C1-3B427AA5892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48EF-49EC-8B4D-EC25A4464CE3}"/>
                </c:ext>
              </c:extLst>
            </c:dLbl>
            <c:dLbl>
              <c:idx val="4"/>
              <c:tx>
                <c:rich>
                  <a:bodyPr/>
                  <a:lstStyle/>
                  <a:p>
                    <a:fld id="{6D1C58CE-FFCB-4E61-928A-03090680336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48EF-49EC-8B4D-EC25A4464CE3}"/>
                </c:ext>
              </c:extLst>
            </c:dLbl>
            <c:dLbl>
              <c:idx val="5"/>
              <c:tx>
                <c:rich>
                  <a:bodyPr/>
                  <a:lstStyle/>
                  <a:p>
                    <a:fld id="{26480BC4-1CE6-4E2B-B4F7-F763F3335EB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48EF-49EC-8B4D-EC25A4464CE3}"/>
                </c:ext>
              </c:extLst>
            </c:dLbl>
            <c:dLbl>
              <c:idx val="6"/>
              <c:tx>
                <c:rich>
                  <a:bodyPr/>
                  <a:lstStyle/>
                  <a:p>
                    <a:fld id="{CED2D58C-9487-4AF8-A8D2-1A908755328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48EF-49EC-8B4D-EC25A4464CE3}"/>
                </c:ext>
              </c:extLst>
            </c:dLbl>
            <c:dLbl>
              <c:idx val="7"/>
              <c:tx>
                <c:rich>
                  <a:bodyPr/>
                  <a:lstStyle/>
                  <a:p>
                    <a:fld id="{266AC9F1-16EE-4552-AE29-E72DB8D68B0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48EF-49EC-8B4D-EC25A4464CE3}"/>
                </c:ext>
              </c:extLst>
            </c:dLbl>
            <c:dLbl>
              <c:idx val="8"/>
              <c:tx>
                <c:rich>
                  <a:bodyPr/>
                  <a:lstStyle/>
                  <a:p>
                    <a:fld id="{EAD4D6B6-D3B8-43C4-88F5-6921931574F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7.333100000000002</c:v>
                </c:pt>
              </c:numCache>
            </c:numRef>
          </c:xVal>
          <c:yVal>
            <c:numRef>
              <c:f>Sheet1!$B$2:$B$2</c:f>
              <c:numCache>
                <c:formatCode>General</c:formatCode>
                <c:ptCount val="1"/>
                <c:pt idx="0">
                  <c:v>1.5169999999999999</c:v>
                </c:pt>
              </c:numCache>
            </c:numRef>
          </c:yVal>
          <c:bubbleSize>
            <c:numRef>
              <c:f>Sheet1!$C$2:$C$2</c:f>
              <c:numCache>
                <c:formatCode>General</c:formatCode>
                <c:ptCount val="1"/>
                <c:pt idx="0">
                  <c:v>68483</c:v>
                </c:pt>
              </c:numCache>
            </c:numRef>
          </c:bubbleSize>
          <c:bubble3D val="0"/>
          <c:extLst>
            <c:ext xmlns:c15="http://schemas.microsoft.com/office/drawing/2012/chart" uri="{02D57815-91ED-43cb-92C2-25804820EDAC}">
              <c15:datalabelsRange>
                <c15:f>Sheet1!$E$2:$E$10</c15:f>
                <c15:dlblRangeCache>
                  <c:ptCount val="9"/>
                  <c:pt idx="0">
                    <c:v>Mure</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
          <c:min val="14"/>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C53A81A5-9735-4790-B8F1-BC686009E1C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1F312D09-C220-44E2-A5D2-328F758B475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D871-46D6-BBFE-7C00E0D51738}"/>
                </c:ext>
              </c:extLst>
            </c:dLbl>
            <c:dLbl>
              <c:idx val="3"/>
              <c:tx>
                <c:rich>
                  <a:bodyPr/>
                  <a:lstStyle/>
                  <a:p>
                    <a:fld id="{6A6FC98C-9D47-4A94-BBFE-C5CA116C2B8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D871-46D6-BBFE-7C00E0D51738}"/>
                </c:ext>
              </c:extLst>
            </c:dLbl>
            <c:dLbl>
              <c:idx val="4"/>
              <c:tx>
                <c:rich>
                  <a:bodyPr/>
                  <a:lstStyle/>
                  <a:p>
                    <a:fld id="{0F3BE942-DB8D-41B4-9D67-1C3BFABB11A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D871-46D6-BBFE-7C00E0D51738}"/>
                </c:ext>
              </c:extLst>
            </c:dLbl>
            <c:dLbl>
              <c:idx val="5"/>
              <c:tx>
                <c:rich>
                  <a:bodyPr/>
                  <a:lstStyle/>
                  <a:p>
                    <a:fld id="{C6ADF481-F1D2-47CC-B308-7A0CAB60BDD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71-46D6-BBFE-7C00E0D51738}"/>
                </c:ext>
              </c:extLst>
            </c:dLbl>
            <c:dLbl>
              <c:idx val="6"/>
              <c:tx>
                <c:rich>
                  <a:bodyPr/>
                  <a:lstStyle/>
                  <a:p>
                    <a:fld id="{E1DDD191-47CC-475B-A69A-70E50B629C0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71-46D6-BBFE-7C00E0D51738}"/>
                </c:ext>
              </c:extLst>
            </c:dLbl>
            <c:dLbl>
              <c:idx val="7"/>
              <c:tx>
                <c:rich>
                  <a:bodyPr/>
                  <a:lstStyle/>
                  <a:p>
                    <a:fld id="{E432A769-6C02-4390-AB97-DD628D0BFE8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71-46D6-BBFE-7C00E0D51738}"/>
                </c:ext>
              </c:extLst>
            </c:dLbl>
            <c:dLbl>
              <c:idx val="8"/>
              <c:tx>
                <c:rich>
                  <a:bodyPr/>
                  <a:lstStyle/>
                  <a:p>
                    <a:fld id="{BA8A65ED-4EB3-4781-9883-8BC9E93E772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11.212400000000001</c:v>
                </c:pt>
                <c:pt idx="1">
                  <c:v>9.5396999999999998</c:v>
                </c:pt>
              </c:numCache>
            </c:numRef>
          </c:xVal>
          <c:yVal>
            <c:numRef>
              <c:f>Sheet1!$B$2:$B$3</c:f>
              <c:numCache>
                <c:formatCode>General</c:formatCode>
                <c:ptCount val="2"/>
                <c:pt idx="0">
                  <c:v>1.097</c:v>
                </c:pt>
                <c:pt idx="1">
                  <c:v>0.84199999999999997</c:v>
                </c:pt>
              </c:numCache>
            </c:numRef>
          </c:yVal>
          <c:bubbleSize>
            <c:numRef>
              <c:f>Sheet1!$C$2:$C$3</c:f>
              <c:numCache>
                <c:formatCode>General</c:formatCode>
                <c:ptCount val="2"/>
                <c:pt idx="0">
                  <c:v>1267</c:v>
                </c:pt>
                <c:pt idx="1">
                  <c:v>601</c:v>
                </c:pt>
              </c:numCache>
            </c:numRef>
          </c:bubbleSize>
          <c:bubble3D val="0"/>
          <c:extLst>
            <c:ext xmlns:c15="http://schemas.microsoft.com/office/drawing/2012/chart" uri="{02D57815-91ED-43cb-92C2-25804820EDAC}">
              <c15:datalabelsRange>
                <c15:f>Sheet1!$E$2:$E$10</c15:f>
                <c15:dlblRangeCache>
                  <c:ptCount val="9"/>
                  <c:pt idx="0">
                    <c:v>Cru La Maqueline</c:v>
                  </c:pt>
                  <c:pt idx="1">
                    <c:v>Celene</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3"/>
          <c:min val="8"/>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3011A03-F5E5-4435-B4C0-FD9BF00FBFE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A8FE345-023D-467A-807A-9A869E92654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4B57B2A-6141-4F73-887A-C3DC747AAEC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2A9C1C6-14B8-404B-B0B8-FA679E45DAE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5F7AA87-F713-40FD-A6D3-2536E04F97F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7A6A24B-A6E2-494F-B998-25167F2A663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42609124-4B54-490D-914A-F3EFE1CB34B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7D3D37D-D5D5-4D53-9A00-D24685C698D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96.792599999999993</c:v>
                </c:pt>
                <c:pt idx="1">
                  <c:v>39.543100000000003</c:v>
                </c:pt>
                <c:pt idx="2">
                  <c:v>35.273200000000003</c:v>
                </c:pt>
                <c:pt idx="3">
                  <c:v>59.5274</c:v>
                </c:pt>
                <c:pt idx="4">
                  <c:v>84.996300000000005</c:v>
                </c:pt>
                <c:pt idx="5">
                  <c:v>46.717700000000001</c:v>
                </c:pt>
                <c:pt idx="6">
                  <c:v>53.284199999999998</c:v>
                </c:pt>
                <c:pt idx="7">
                  <c:v>203.2747</c:v>
                </c:pt>
              </c:numCache>
            </c:numRef>
          </c:xVal>
          <c:yVal>
            <c:numRef>
              <c:f>Sheet1!$B$2:$B$9</c:f>
              <c:numCache>
                <c:formatCode>General</c:formatCode>
                <c:ptCount val="8"/>
                <c:pt idx="0">
                  <c:v>1.272</c:v>
                </c:pt>
                <c:pt idx="1">
                  <c:v>0.52700000000000002</c:v>
                </c:pt>
                <c:pt idx="2">
                  <c:v>0.45400000000000001</c:v>
                </c:pt>
                <c:pt idx="3">
                  <c:v>0.79</c:v>
                </c:pt>
                <c:pt idx="4">
                  <c:v>1.091</c:v>
                </c:pt>
                <c:pt idx="5">
                  <c:v>0.60199999999999998</c:v>
                </c:pt>
                <c:pt idx="6">
                  <c:v>0.68</c:v>
                </c:pt>
                <c:pt idx="7">
                  <c:v>2.66</c:v>
                </c:pt>
              </c:numCache>
            </c:numRef>
          </c:yVal>
          <c:bubbleSize>
            <c:numRef>
              <c:f>Sheet1!$C$2:$C$9</c:f>
              <c:numCache>
                <c:formatCode>General</c:formatCode>
                <c:ptCount val="8"/>
                <c:pt idx="0">
                  <c:v>1886198</c:v>
                </c:pt>
                <c:pt idx="1">
                  <c:v>146191</c:v>
                </c:pt>
                <c:pt idx="2">
                  <c:v>116472</c:v>
                </c:pt>
                <c:pt idx="3">
                  <c:v>76076</c:v>
                </c:pt>
                <c:pt idx="4">
                  <c:v>67997</c:v>
                </c:pt>
                <c:pt idx="5">
                  <c:v>66853</c:v>
                </c:pt>
                <c:pt idx="6">
                  <c:v>61490</c:v>
                </c:pt>
                <c:pt idx="7">
                  <c:v>47363</c:v>
                </c:pt>
              </c:numCache>
            </c:numRef>
          </c:bubbleSize>
          <c:bubble3D val="0"/>
          <c:extLst>
            <c:ext xmlns:c15="http://schemas.microsoft.com/office/drawing/2012/chart" uri="{02D57815-91ED-43cb-92C2-25804820EDAC}">
              <c15:datalabelsRange>
                <c15:f>Sheet1!$E$2:$E$10</c15:f>
                <c15:dlblRangeCache>
                  <c:ptCount val="9"/>
                  <c:pt idx="0">
                    <c:v>Ruinart</c:v>
                  </c:pt>
                  <c:pt idx="1">
                    <c:v>Nicolas</c:v>
                  </c:pt>
                  <c:pt idx="2">
                    <c:v>Malard</c:v>
                  </c:pt>
                  <c:pt idx="3">
                    <c:v>Besserat De Bellefon</c:v>
                  </c:pt>
                  <c:pt idx="4">
                    <c:v>Perrier Jouet</c:v>
                  </c:pt>
                  <c:pt idx="5">
                    <c:v>Henriot</c:v>
                  </c:pt>
                  <c:pt idx="6">
                    <c:v>Delamotte</c:v>
                  </c:pt>
                  <c:pt idx="7">
                    <c:v>Deutz</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44"/>
          <c:min val="28"/>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371865FA-485B-4415-9086-DECD1A5661C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2780CCDB-2EC5-47B1-965B-DE71CB78A9A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3EF3B09C-0055-417F-A87D-12A452F0CDA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D3432D65-5EC4-42AD-A92D-23BFBA17710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4BE144A7-2E23-497E-8AAA-DAFD1106155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0EDF90B1-2695-4661-9CA8-8D240962469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93D6D824-8E8F-4297-A4B2-FB447640289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D4F8F170-17E2-4C9D-8CB1-9456138A8CF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58.299700000000001</c:v>
                </c:pt>
                <c:pt idx="1">
                  <c:v>22.172899999999998</c:v>
                </c:pt>
                <c:pt idx="2">
                  <c:v>48.503</c:v>
                </c:pt>
                <c:pt idx="3">
                  <c:v>49.451500000000003</c:v>
                </c:pt>
                <c:pt idx="4">
                  <c:v>29.2928</c:v>
                </c:pt>
                <c:pt idx="5">
                  <c:v>52.2971</c:v>
                </c:pt>
                <c:pt idx="6">
                  <c:v>36.934699999999999</c:v>
                </c:pt>
                <c:pt idx="7">
                  <c:v>63.779800000000002</c:v>
                </c:pt>
              </c:numCache>
            </c:numRef>
          </c:xVal>
          <c:yVal>
            <c:numRef>
              <c:f>Sheet1!$B$2:$B$9</c:f>
              <c:numCache>
                <c:formatCode>General</c:formatCode>
                <c:ptCount val="8"/>
                <c:pt idx="0">
                  <c:v>1.4139999999999999</c:v>
                </c:pt>
                <c:pt idx="1">
                  <c:v>0.54800000000000004</c:v>
                </c:pt>
                <c:pt idx="2">
                  <c:v>1.1579999999999999</c:v>
                </c:pt>
                <c:pt idx="3">
                  <c:v>1.0820000000000001</c:v>
                </c:pt>
                <c:pt idx="4">
                  <c:v>0.72599999999999998</c:v>
                </c:pt>
                <c:pt idx="5">
                  <c:v>1.1299999999999999</c:v>
                </c:pt>
                <c:pt idx="6">
                  <c:v>0.91600000000000004</c:v>
                </c:pt>
                <c:pt idx="7">
                  <c:v>1.468</c:v>
                </c:pt>
              </c:numCache>
            </c:numRef>
          </c:yVal>
          <c:bubbleSize>
            <c:numRef>
              <c:f>Sheet1!$C$2:$C$9</c:f>
              <c:numCache>
                <c:formatCode>General</c:formatCode>
                <c:ptCount val="8"/>
                <c:pt idx="0">
                  <c:v>2563614</c:v>
                </c:pt>
                <c:pt idx="1">
                  <c:v>1187314</c:v>
                </c:pt>
                <c:pt idx="2">
                  <c:v>1173967</c:v>
                </c:pt>
                <c:pt idx="3">
                  <c:v>855759</c:v>
                </c:pt>
                <c:pt idx="4">
                  <c:v>546545</c:v>
                </c:pt>
                <c:pt idx="5">
                  <c:v>490285</c:v>
                </c:pt>
                <c:pt idx="6">
                  <c:v>464971</c:v>
                </c:pt>
                <c:pt idx="7">
                  <c:v>434404</c:v>
                </c:pt>
              </c:numCache>
            </c:numRef>
          </c:bubbleSize>
          <c:bubble3D val="0"/>
          <c:extLst>
            <c:ext xmlns:c15="http://schemas.microsoft.com/office/drawing/2012/chart" uri="{02D57815-91ED-43cb-92C2-25804820EDAC}">
              <c15:datalabelsRange>
                <c15:f>Sheet1!$E$2:$E$10</c15:f>
                <c15:dlblRangeCache>
                  <c:ptCount val="9"/>
                  <c:pt idx="0">
                    <c:v>Ruinart</c:v>
                  </c:pt>
                  <c:pt idx="1">
                    <c:v>Nicolas</c:v>
                  </c:pt>
                  <c:pt idx="2">
                    <c:v>Deutz</c:v>
                  </c:pt>
                  <c:pt idx="3">
                    <c:v>Laurent Perrier</c:v>
                  </c:pt>
                  <c:pt idx="4">
                    <c:v>Heidsieck &amp; Co Monopole</c:v>
                  </c:pt>
                  <c:pt idx="5">
                    <c:v>Taittinger</c:v>
                  </c:pt>
                  <c:pt idx="6">
                    <c:v>Ayala</c:v>
                  </c:pt>
                  <c:pt idx="7">
                    <c:v>Bollinger</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7"/>
          <c:min val="18"/>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6DF94BAA-5289-4172-B13E-E1CAF761E2F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10CE9298-537D-442C-827E-C326EE7C5DE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71-46D6-BBFE-7C00E0D51738}"/>
                </c:ext>
              </c:extLst>
            </c:dLbl>
            <c:dLbl>
              <c:idx val="3"/>
              <c:tx>
                <c:rich>
                  <a:bodyPr/>
                  <a:lstStyle/>
                  <a:p>
                    <a:fld id="{8D8D7407-8657-4B48-A074-83807A73A56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71-46D6-BBFE-7C00E0D51738}"/>
                </c:ext>
              </c:extLst>
            </c:dLbl>
            <c:dLbl>
              <c:idx val="4"/>
              <c:tx>
                <c:rich>
                  <a:bodyPr/>
                  <a:lstStyle/>
                  <a:p>
                    <a:fld id="{375B68BB-B589-4278-822A-08F9BE970D2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D871-46D6-BBFE-7C00E0D51738}"/>
                </c:ext>
              </c:extLst>
            </c:dLbl>
            <c:dLbl>
              <c:idx val="5"/>
              <c:tx>
                <c:rich>
                  <a:bodyPr/>
                  <a:lstStyle/>
                  <a:p>
                    <a:fld id="{180C8FFA-AD11-4F8B-B193-E380ADA29E8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71-46D6-BBFE-7C00E0D51738}"/>
                </c:ext>
              </c:extLst>
            </c:dLbl>
            <c:dLbl>
              <c:idx val="6"/>
              <c:tx>
                <c:rich>
                  <a:bodyPr/>
                  <a:lstStyle/>
                  <a:p>
                    <a:fld id="{42BF1F34-3888-421F-8FDE-889026137CA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71-46D6-BBFE-7C00E0D51738}"/>
                </c:ext>
              </c:extLst>
            </c:dLbl>
            <c:dLbl>
              <c:idx val="7"/>
              <c:tx>
                <c:rich>
                  <a:bodyPr/>
                  <a:lstStyle/>
                  <a:p>
                    <a:fld id="{78952E3F-7D9F-4A7F-8D8E-054F650BC97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71-46D6-BBFE-7C00E0D51738}"/>
                </c:ext>
              </c:extLst>
            </c:dLbl>
            <c:dLbl>
              <c:idx val="8"/>
              <c:tx>
                <c:rich>
                  <a:bodyPr/>
                  <a:lstStyle/>
                  <a:p>
                    <a:fld id="{B8CAA8F4-0A27-4806-BA5C-2246CD0E706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29.531199999999998</c:v>
                </c:pt>
                <c:pt idx="1">
                  <c:v>30.371099999999998</c:v>
                </c:pt>
                <c:pt idx="2">
                  <c:v>31.214400000000001</c:v>
                </c:pt>
                <c:pt idx="3">
                  <c:v>36.494700000000002</c:v>
                </c:pt>
              </c:numCache>
            </c:numRef>
          </c:xVal>
          <c:yVal>
            <c:numRef>
              <c:f>Sheet1!$B$2:$B$5</c:f>
              <c:numCache>
                <c:formatCode>General</c:formatCode>
                <c:ptCount val="4"/>
                <c:pt idx="0">
                  <c:v>0.98599999999999999</c:v>
                </c:pt>
                <c:pt idx="1">
                  <c:v>1.014</c:v>
                </c:pt>
                <c:pt idx="2">
                  <c:v>1.0409999999999999</c:v>
                </c:pt>
                <c:pt idx="3">
                  <c:v>1.101</c:v>
                </c:pt>
              </c:numCache>
            </c:numRef>
          </c:yVal>
          <c:bubbleSize>
            <c:numRef>
              <c:f>Sheet1!$C$2:$C$5</c:f>
              <c:numCache>
                <c:formatCode>General</c:formatCode>
                <c:ptCount val="4"/>
                <c:pt idx="0">
                  <c:v>508084</c:v>
                </c:pt>
                <c:pt idx="1">
                  <c:v>137581</c:v>
                </c:pt>
                <c:pt idx="2">
                  <c:v>98575</c:v>
                </c:pt>
                <c:pt idx="3">
                  <c:v>10328</c:v>
                </c:pt>
              </c:numCache>
            </c:numRef>
          </c:bubbleSize>
          <c:bubble3D val="0"/>
          <c:extLst>
            <c:ext xmlns:c15="http://schemas.microsoft.com/office/drawing/2012/chart" uri="{02D57815-91ED-43cb-92C2-25804820EDAC}">
              <c15:datalabelsRange>
                <c15:f>Sheet1!$E$2:$E$10</c15:f>
                <c15:dlblRangeCache>
                  <c:ptCount val="9"/>
                  <c:pt idx="0">
                    <c:v>Malard</c:v>
                  </c:pt>
                  <c:pt idx="1">
                    <c:v>Vesselle</c:v>
                  </c:pt>
                  <c:pt idx="2">
                    <c:v>Louis Martin</c:v>
                  </c:pt>
                  <c:pt idx="3">
                    <c:v>Nicolas</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4"/>
          <c:min val="24"/>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CA-4C16-90F6-A0D9A3D8DA8E}"/>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CA-4C16-90F6-A0D9A3D8DA8E}"/>
                </c:ext>
              </c:extLst>
            </c:dLbl>
            <c:dLbl>
              <c:idx val="1"/>
              <c:tx>
                <c:rich>
                  <a:bodyPr/>
                  <a:lstStyle/>
                  <a:p>
                    <a:fld id="{84DB57A3-CE51-4F25-8CBF-0ED9B56D940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CA-4C16-90F6-A0D9A3D8DA8E}"/>
                </c:ext>
              </c:extLst>
            </c:dLbl>
            <c:dLbl>
              <c:idx val="2"/>
              <c:tx>
                <c:rich>
                  <a:bodyPr/>
                  <a:lstStyle/>
                  <a:p>
                    <a:fld id="{240411EC-5A37-4CA9-8CA1-FA39F3C5CB3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CA-4C16-90F6-A0D9A3D8DA8E}"/>
                </c:ext>
              </c:extLst>
            </c:dLbl>
            <c:dLbl>
              <c:idx val="3"/>
              <c:tx>
                <c:rich>
                  <a:bodyPr/>
                  <a:lstStyle/>
                  <a:p>
                    <a:fld id="{DE1E705C-D5DC-4296-B12D-3710E80C4EA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D8CA-4C16-90F6-A0D9A3D8DA8E}"/>
                </c:ext>
              </c:extLst>
            </c:dLbl>
            <c:dLbl>
              <c:idx val="4"/>
              <c:tx>
                <c:rich>
                  <a:bodyPr/>
                  <a:lstStyle/>
                  <a:p>
                    <a:fld id="{6F4AC4B3-C7BF-4C0B-88DF-9B14D1B748C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D8CA-4C16-90F6-A0D9A3D8DA8E}"/>
                </c:ext>
              </c:extLst>
            </c:dLbl>
            <c:dLbl>
              <c:idx val="5"/>
              <c:tx>
                <c:rich>
                  <a:bodyPr/>
                  <a:lstStyle/>
                  <a:p>
                    <a:fld id="{E1B421F6-DE83-43EA-B630-A4E3668FA40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CA-4C16-90F6-A0D9A3D8DA8E}"/>
                </c:ext>
              </c:extLst>
            </c:dLbl>
            <c:dLbl>
              <c:idx val="6"/>
              <c:tx>
                <c:rich>
                  <a:bodyPr/>
                  <a:lstStyle/>
                  <a:p>
                    <a:fld id="{BF61AA0D-B5DE-465F-9EA6-A59CF842E22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CA-4C16-90F6-A0D9A3D8DA8E}"/>
                </c:ext>
              </c:extLst>
            </c:dLbl>
            <c:dLbl>
              <c:idx val="7"/>
              <c:tx>
                <c:rich>
                  <a:bodyPr/>
                  <a:lstStyle/>
                  <a:p>
                    <a:fld id="{6843D637-98A2-43FF-9942-7C270AB198F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CA-4C16-90F6-A0D9A3D8DA8E}"/>
                </c:ext>
              </c:extLst>
            </c:dLbl>
            <c:dLbl>
              <c:idx val="8"/>
              <c:tx>
                <c:rich>
                  <a:bodyPr/>
                  <a:lstStyle/>
                  <a:p>
                    <a:fld id="{8005F7D5-175D-4BC8-9E22-FAC49CEB20F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CA-4C16-90F6-A0D9A3D8DA8E}"/>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31.217700000000001</c:v>
                </c:pt>
                <c:pt idx="1">
                  <c:v>43.048900000000003</c:v>
                </c:pt>
                <c:pt idx="2">
                  <c:v>38.2864</c:v>
                </c:pt>
              </c:numCache>
            </c:numRef>
          </c:xVal>
          <c:yVal>
            <c:numRef>
              <c:f>Sheet1!$B$2:$B$4</c:f>
              <c:numCache>
                <c:formatCode>General</c:formatCode>
                <c:ptCount val="3"/>
                <c:pt idx="0">
                  <c:v>0.93100000000000005</c:v>
                </c:pt>
                <c:pt idx="1">
                  <c:v>1.2849999999999999</c:v>
                </c:pt>
                <c:pt idx="2">
                  <c:v>1.149</c:v>
                </c:pt>
              </c:numCache>
            </c:numRef>
          </c:yVal>
          <c:bubbleSize>
            <c:numRef>
              <c:f>Sheet1!$C$2:$C$4</c:f>
              <c:numCache>
                <c:formatCode>General</c:formatCode>
                <c:ptCount val="3"/>
                <c:pt idx="0">
                  <c:v>484873</c:v>
                </c:pt>
                <c:pt idx="1">
                  <c:v>156612</c:v>
                </c:pt>
                <c:pt idx="2">
                  <c:v>8423</c:v>
                </c:pt>
              </c:numCache>
            </c:numRef>
          </c:bubbleSize>
          <c:bubble3D val="0"/>
          <c:extLst>
            <c:ext xmlns:c15="http://schemas.microsoft.com/office/drawing/2012/chart" uri="{02D57815-91ED-43cb-92C2-25804820EDAC}">
              <c15:datalabelsRange>
                <c15:f>Sheet1!$E$2:$E$10</c15:f>
                <c15:dlblRangeCache>
                  <c:ptCount val="9"/>
                  <c:pt idx="0">
                    <c:v>Nicolas Feuillatte</c:v>
                  </c:pt>
                  <c:pt idx="1">
                    <c:v>Moët &amp; Chandon</c:v>
                  </c:pt>
                  <c:pt idx="2">
                    <c:v>Canard Duchêne</c:v>
                  </c:pt>
                </c15:dlblRangeCache>
              </c15:datalabelsRange>
            </c:ext>
            <c:ext xmlns:c16="http://schemas.microsoft.com/office/drawing/2014/chart" uri="{C3380CC4-5D6E-409C-BE32-E72D297353CC}">
              <c16:uniqueId val="{00000009-D8CA-4C16-90F6-A0D9A3D8DA8E}"/>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2"/>
          <c:min val="25"/>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0E294CE-8534-416F-B4EF-F74B9C1A53D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5104698-B48E-4E77-B7EF-13D5FA2BFD2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3F2B87E-632E-438B-BE13-9CB85878E3A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B1E1E1B-5CBF-4A63-A3B9-7B73D2CA100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E0EDA06-0DDC-4F5D-BE57-481470A3E1D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525F9F8-C17A-47F8-8913-FC22EBAB233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58844E38-D6DD-4521-BE1E-A603221DA20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80D70397-B901-46A9-88E3-2CA98E306CA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65.32530000000003</c:v>
                </c:pt>
                <c:pt idx="1">
                  <c:v>184.5984</c:v>
                </c:pt>
                <c:pt idx="2">
                  <c:v>92.714600000000004</c:v>
                </c:pt>
                <c:pt idx="3">
                  <c:v>37.124699999999997</c:v>
                </c:pt>
                <c:pt idx="4">
                  <c:v>62.449199999999998</c:v>
                </c:pt>
                <c:pt idx="5">
                  <c:v>207.6866</c:v>
                </c:pt>
                <c:pt idx="6">
                  <c:v>240.72479999999999</c:v>
                </c:pt>
                <c:pt idx="7">
                  <c:v>254.5325</c:v>
                </c:pt>
              </c:numCache>
            </c:numRef>
          </c:xVal>
          <c:yVal>
            <c:numRef>
              <c:f>Sheet1!$B$2:$B$9</c:f>
              <c:numCache>
                <c:formatCode>General</c:formatCode>
                <c:ptCount val="8"/>
                <c:pt idx="0">
                  <c:v>1.6719999999999999</c:v>
                </c:pt>
                <c:pt idx="1">
                  <c:v>1.1439999999999999</c:v>
                </c:pt>
                <c:pt idx="2">
                  <c:v>0.59399999999999997</c:v>
                </c:pt>
                <c:pt idx="3">
                  <c:v>0.23799999999999999</c:v>
                </c:pt>
                <c:pt idx="4">
                  <c:v>0.4</c:v>
                </c:pt>
                <c:pt idx="5">
                  <c:v>1.2609999999999999</c:v>
                </c:pt>
                <c:pt idx="6">
                  <c:v>1.355</c:v>
                </c:pt>
                <c:pt idx="7">
                  <c:v>1.3640000000000001</c:v>
                </c:pt>
              </c:numCache>
            </c:numRef>
          </c:yVal>
          <c:bubbleSize>
            <c:numRef>
              <c:f>Sheet1!$C$2:$C$9</c:f>
              <c:numCache>
                <c:formatCode>General</c:formatCode>
                <c:ptCount val="8"/>
                <c:pt idx="0">
                  <c:v>483688</c:v>
                </c:pt>
                <c:pt idx="1">
                  <c:v>271175</c:v>
                </c:pt>
                <c:pt idx="2">
                  <c:v>72781</c:v>
                </c:pt>
                <c:pt idx="3">
                  <c:v>47037</c:v>
                </c:pt>
                <c:pt idx="4">
                  <c:v>29476</c:v>
                </c:pt>
                <c:pt idx="5">
                  <c:v>27830</c:v>
                </c:pt>
                <c:pt idx="6">
                  <c:v>26239</c:v>
                </c:pt>
                <c:pt idx="7">
                  <c:v>19599</c:v>
                </c:pt>
              </c:numCache>
            </c:numRef>
          </c:bubbleSize>
          <c:bubble3D val="0"/>
          <c:extLst>
            <c:ext xmlns:c15="http://schemas.microsoft.com/office/drawing/2012/chart" uri="{02D57815-91ED-43cb-92C2-25804820EDAC}">
              <c15:datalabelsRange>
                <c15:f>Sheet1!$E$2:$E$10</c15:f>
                <c15:dlblRangeCache>
                  <c:ptCount val="9"/>
                  <c:pt idx="0">
                    <c:v>Dom Perignon</c:v>
                  </c:pt>
                  <c:pt idx="1">
                    <c:v>Roederer</c:v>
                  </c:pt>
                  <c:pt idx="2">
                    <c:v>Ruinart</c:v>
                  </c:pt>
                  <c:pt idx="3">
                    <c:v>Malard</c:v>
                  </c:pt>
                  <c:pt idx="4">
                    <c:v>Laurent Perrier</c:v>
                  </c:pt>
                  <c:pt idx="5">
                    <c:v>Veuve Clicquot</c:v>
                  </c:pt>
                  <c:pt idx="6">
                    <c:v>Bollinger</c:v>
                  </c:pt>
                  <c:pt idx="7">
                    <c:v>Perrier Jouet</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18"/>
          <c:min val="30"/>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778C4CF-10EC-40F3-B210-009C2768FC6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3D678F1-D4A0-49FD-94DB-FFD38C789B4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411457B-2E23-41D0-BC36-9BA283810A5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FFF3835-9C52-47ED-A0B4-DD075191340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6B4FB54A-A11B-49A0-8D14-5293556F79A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DD879DF-F26F-4CCB-B60E-21B3F0D2BC0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7BF8E8CB-0090-4A8B-9B44-E6D9F0A48BE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2CA4EEC7-E8AD-40E2-AC46-07D2EFB6AAB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69.8643</c:v>
                </c:pt>
                <c:pt idx="1">
                  <c:v>23.652999999999999</c:v>
                </c:pt>
                <c:pt idx="2">
                  <c:v>49.904499999999999</c:v>
                </c:pt>
                <c:pt idx="3">
                  <c:v>52.704900000000002</c:v>
                </c:pt>
                <c:pt idx="4">
                  <c:v>31.571200000000001</c:v>
                </c:pt>
                <c:pt idx="5">
                  <c:v>32.979300000000002</c:v>
                </c:pt>
                <c:pt idx="6">
                  <c:v>29.282399999999999</c:v>
                </c:pt>
                <c:pt idx="7">
                  <c:v>78.368899999999996</c:v>
                </c:pt>
              </c:numCache>
            </c:numRef>
          </c:xVal>
          <c:yVal>
            <c:numRef>
              <c:f>Sheet1!$B$2:$B$9</c:f>
              <c:numCache>
                <c:formatCode>General</c:formatCode>
                <c:ptCount val="8"/>
                <c:pt idx="0">
                  <c:v>1.599</c:v>
                </c:pt>
                <c:pt idx="1">
                  <c:v>0.55000000000000004</c:v>
                </c:pt>
                <c:pt idx="2">
                  <c:v>1.131</c:v>
                </c:pt>
                <c:pt idx="3">
                  <c:v>1.0920000000000001</c:v>
                </c:pt>
                <c:pt idx="4">
                  <c:v>0.73099999999999998</c:v>
                </c:pt>
                <c:pt idx="5">
                  <c:v>0.746</c:v>
                </c:pt>
                <c:pt idx="6">
                  <c:v>0.67800000000000005</c:v>
                </c:pt>
                <c:pt idx="7">
                  <c:v>1.804</c:v>
                </c:pt>
              </c:numCache>
            </c:numRef>
          </c:yVal>
          <c:bubbleSize>
            <c:numRef>
              <c:f>Sheet1!$C$2:$C$9</c:f>
              <c:numCache>
                <c:formatCode>General</c:formatCode>
                <c:ptCount val="8"/>
                <c:pt idx="0">
                  <c:v>15694034</c:v>
                </c:pt>
                <c:pt idx="1">
                  <c:v>5705587</c:v>
                </c:pt>
                <c:pt idx="2">
                  <c:v>4988401</c:v>
                </c:pt>
                <c:pt idx="3">
                  <c:v>3290262</c:v>
                </c:pt>
                <c:pt idx="4">
                  <c:v>3234970</c:v>
                </c:pt>
                <c:pt idx="5">
                  <c:v>2270261</c:v>
                </c:pt>
                <c:pt idx="6">
                  <c:v>2092464</c:v>
                </c:pt>
                <c:pt idx="7">
                  <c:v>2050287</c:v>
                </c:pt>
              </c:numCache>
            </c:numRef>
          </c:bubbleSize>
          <c:bubble3D val="0"/>
          <c:extLst>
            <c:ext xmlns:c15="http://schemas.microsoft.com/office/drawing/2012/chart" uri="{02D57815-91ED-43cb-92C2-25804820EDAC}">
              <c15:datalabelsRange>
                <c15:f>Sheet1!$E$2:$E$10</c15:f>
                <c15:dlblRangeCache>
                  <c:ptCount val="9"/>
                  <c:pt idx="0">
                    <c:v>Ruinart</c:v>
                  </c:pt>
                  <c:pt idx="1">
                    <c:v>Nicolas</c:v>
                  </c:pt>
                  <c:pt idx="2">
                    <c:v>Deutz</c:v>
                  </c:pt>
                  <c:pt idx="3">
                    <c:v>Laurent Perrier</c:v>
                  </c:pt>
                  <c:pt idx="4">
                    <c:v>Malard</c:v>
                  </c:pt>
                  <c:pt idx="5">
                    <c:v>Nicolas Feuillatte</c:v>
                  </c:pt>
                  <c:pt idx="6">
                    <c:v>Heidsieck &amp; Co Monopole</c:v>
                  </c:pt>
                  <c:pt idx="7">
                    <c:v>Roederer</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94"/>
          <c:min val="19"/>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65ABAC7D-8EFC-4E9D-A748-FFB1285C5BA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2CEAD3F9-3F8B-429E-B7C0-89ED61424CC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B5FA00EE-4B30-409A-B27A-590E19125C3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F4D7E7E9-10FC-42AB-8920-080F494AD62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D2AF9472-DEBE-465A-B1D9-DCE8CE4AA0D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8BAF4319-0C61-4F9E-B807-CCF4F543F9C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4CEDBDA7-028C-4B69-8A5E-02A86316D3B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A28434B6-0D04-443E-BEA5-D525062240B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91.851299999999995</c:v>
                </c:pt>
                <c:pt idx="1">
                  <c:v>53.107500000000002</c:v>
                </c:pt>
                <c:pt idx="2">
                  <c:v>80.259200000000007</c:v>
                </c:pt>
                <c:pt idx="3">
                  <c:v>37.256500000000003</c:v>
                </c:pt>
                <c:pt idx="4">
                  <c:v>26.4526</c:v>
                </c:pt>
                <c:pt idx="5">
                  <c:v>557.5847</c:v>
                </c:pt>
                <c:pt idx="6">
                  <c:v>626.5625</c:v>
                </c:pt>
                <c:pt idx="7">
                  <c:v>37.585900000000002</c:v>
                </c:pt>
              </c:numCache>
            </c:numRef>
          </c:xVal>
          <c:yVal>
            <c:numRef>
              <c:f>Sheet1!$B$2:$B$9</c:f>
              <c:numCache>
                <c:formatCode>General</c:formatCode>
                <c:ptCount val="8"/>
                <c:pt idx="0">
                  <c:v>1.4450000000000001</c:v>
                </c:pt>
                <c:pt idx="1">
                  <c:v>0.92800000000000005</c:v>
                </c:pt>
                <c:pt idx="2">
                  <c:v>1.2370000000000001</c:v>
                </c:pt>
                <c:pt idx="3">
                  <c:v>0.57299999999999995</c:v>
                </c:pt>
                <c:pt idx="4">
                  <c:v>0.438</c:v>
                </c:pt>
                <c:pt idx="5">
                  <c:v>8.5380000000000003</c:v>
                </c:pt>
                <c:pt idx="6">
                  <c:v>9.4710000000000001</c:v>
                </c:pt>
                <c:pt idx="7">
                  <c:v>0.57999999999999996</c:v>
                </c:pt>
              </c:numCache>
            </c:numRef>
          </c:yVal>
          <c:bubbleSize>
            <c:numRef>
              <c:f>Sheet1!$C$2:$C$9</c:f>
              <c:numCache>
                <c:formatCode>General</c:formatCode>
                <c:ptCount val="8"/>
                <c:pt idx="0">
                  <c:v>384857</c:v>
                </c:pt>
                <c:pt idx="1">
                  <c:v>195595</c:v>
                </c:pt>
                <c:pt idx="2">
                  <c:v>146473</c:v>
                </c:pt>
                <c:pt idx="3">
                  <c:v>120413</c:v>
                </c:pt>
                <c:pt idx="4">
                  <c:v>108588</c:v>
                </c:pt>
                <c:pt idx="5">
                  <c:v>102038</c:v>
                </c:pt>
                <c:pt idx="6">
                  <c:v>90225</c:v>
                </c:pt>
                <c:pt idx="7">
                  <c:v>75435</c:v>
                </c:pt>
              </c:numCache>
            </c:numRef>
          </c:bubbleSize>
          <c:bubble3D val="0"/>
          <c:extLst>
            <c:ext xmlns:c15="http://schemas.microsoft.com/office/drawing/2012/chart" uri="{02D57815-91ED-43cb-92C2-25804820EDAC}">
              <c15:datalabelsRange>
                <c15:f>Sheet1!$E$2:$E$10</c15:f>
                <c15:dlblRangeCache>
                  <c:ptCount val="9"/>
                  <c:pt idx="0">
                    <c:v>Ruinart</c:v>
                  </c:pt>
                  <c:pt idx="1">
                    <c:v>Deutz</c:v>
                  </c:pt>
                  <c:pt idx="2">
                    <c:v>Laurent Perrier</c:v>
                  </c:pt>
                  <c:pt idx="3">
                    <c:v>Demoiselle</c:v>
                  </c:pt>
                  <c:pt idx="4">
                    <c:v>Nicolas</c:v>
                  </c:pt>
                  <c:pt idx="5">
                    <c:v>Dom Perignon</c:v>
                  </c:pt>
                  <c:pt idx="6">
                    <c:v>Roederer</c:v>
                  </c:pt>
                  <c:pt idx="7">
                    <c:v>Nicolas Feuillatte</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52"/>
          <c:min val="21"/>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57070AED-7D6C-479E-BEB2-E6D0094A3BD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D871-46D6-BBFE-7C00E0D51738}"/>
                </c:ext>
              </c:extLst>
            </c:dLbl>
            <c:dLbl>
              <c:idx val="2"/>
              <c:tx>
                <c:rich>
                  <a:bodyPr/>
                  <a:lstStyle/>
                  <a:p>
                    <a:fld id="{1AD5592F-E64E-4E08-9920-E372191F30B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D871-46D6-BBFE-7C00E0D51738}"/>
                </c:ext>
              </c:extLst>
            </c:dLbl>
            <c:dLbl>
              <c:idx val="3"/>
              <c:tx>
                <c:rich>
                  <a:bodyPr/>
                  <a:lstStyle/>
                  <a:p>
                    <a:fld id="{6206B653-CCCE-45D8-B6F7-643EC0B3102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D871-46D6-BBFE-7C00E0D51738}"/>
                </c:ext>
              </c:extLst>
            </c:dLbl>
            <c:dLbl>
              <c:idx val="4"/>
              <c:tx>
                <c:rich>
                  <a:bodyPr/>
                  <a:lstStyle/>
                  <a:p>
                    <a:fld id="{6C6C2BF0-32DD-4E0D-B485-7DA549395F0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D871-46D6-BBFE-7C00E0D51738}"/>
                </c:ext>
              </c:extLst>
            </c:dLbl>
            <c:dLbl>
              <c:idx val="5"/>
              <c:tx>
                <c:rich>
                  <a:bodyPr/>
                  <a:lstStyle/>
                  <a:p>
                    <a:fld id="{25B5E97C-A367-4565-ABA1-6ECE784C57E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71-46D6-BBFE-7C00E0D51738}"/>
                </c:ext>
              </c:extLst>
            </c:dLbl>
            <c:dLbl>
              <c:idx val="6"/>
              <c:tx>
                <c:rich>
                  <a:bodyPr/>
                  <a:lstStyle/>
                  <a:p>
                    <a:fld id="{B428F862-C8BD-4220-BB20-71443C4281D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71-46D6-BBFE-7C00E0D51738}"/>
                </c:ext>
              </c:extLst>
            </c:dLbl>
            <c:dLbl>
              <c:idx val="7"/>
              <c:tx>
                <c:rich>
                  <a:bodyPr/>
                  <a:lstStyle/>
                  <a:p>
                    <a:fld id="{FAFC19F0-7ABC-44A4-9BC1-ACC444CFBCB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71-46D6-BBFE-7C00E0D51738}"/>
                </c:ext>
              </c:extLst>
            </c:dLbl>
            <c:dLbl>
              <c:idx val="8"/>
              <c:tx>
                <c:rich>
                  <a:bodyPr/>
                  <a:lstStyle/>
                  <a:p>
                    <a:fld id="{EB44FD41-7AD1-456A-8840-C37803D2968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2.7675</c:v>
                </c:pt>
              </c:numCache>
            </c:numRef>
          </c:xVal>
          <c:yVal>
            <c:numRef>
              <c:f>Sheet1!$B$2:$B$2</c:f>
              <c:numCache>
                <c:formatCode>General</c:formatCode>
                <c:ptCount val="1"/>
                <c:pt idx="0">
                  <c:v>1</c:v>
                </c:pt>
              </c:numCache>
            </c:numRef>
          </c:yVal>
          <c:bubbleSize>
            <c:numRef>
              <c:f>Sheet1!$C$2:$C$2</c:f>
              <c:numCache>
                <c:formatCode>General</c:formatCode>
                <c:ptCount val="1"/>
                <c:pt idx="0">
                  <c:v>123577</c:v>
                </c:pt>
              </c:numCache>
            </c:numRef>
          </c:bubbleSize>
          <c:bubble3D val="0"/>
          <c:extLst>
            <c:ext xmlns:c15="http://schemas.microsoft.com/office/drawing/2012/chart" uri="{02D57815-91ED-43cb-92C2-25804820EDAC}">
              <c15:datalabelsRange>
                <c15:f>Sheet1!$E$2:$E$10</c15:f>
                <c15:dlblRangeCache>
                  <c:ptCount val="9"/>
                  <c:pt idx="0">
                    <c:v>Patriarche</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5"/>
          <c:min val="10"/>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CA-4C16-90F6-A0D9A3D8DA8E}"/>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CA-4C16-90F6-A0D9A3D8DA8E}"/>
                </c:ext>
              </c:extLst>
            </c:dLbl>
            <c:dLbl>
              <c:idx val="1"/>
              <c:tx>
                <c:rich>
                  <a:bodyPr/>
                  <a:lstStyle/>
                  <a:p>
                    <a:fld id="{4964A9D7-1BE7-49FE-94F2-65B558D69D0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CA-4C16-90F6-A0D9A3D8DA8E}"/>
                </c:ext>
              </c:extLst>
            </c:dLbl>
            <c:dLbl>
              <c:idx val="2"/>
              <c:tx>
                <c:rich>
                  <a:bodyPr/>
                  <a:lstStyle/>
                  <a:p>
                    <a:fld id="{F5091178-DCDB-4950-A58B-C2BB90C85C7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CA-4C16-90F6-A0D9A3D8DA8E}"/>
                </c:ext>
              </c:extLst>
            </c:dLbl>
            <c:dLbl>
              <c:idx val="3"/>
              <c:tx>
                <c:rich>
                  <a:bodyPr/>
                  <a:lstStyle/>
                  <a:p>
                    <a:fld id="{EFAF09AF-A872-47C6-8FA2-91B8BC5B727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CA-4C16-90F6-A0D9A3D8DA8E}"/>
                </c:ext>
              </c:extLst>
            </c:dLbl>
            <c:dLbl>
              <c:idx val="4"/>
              <c:tx>
                <c:rich>
                  <a:bodyPr/>
                  <a:lstStyle/>
                  <a:p>
                    <a:fld id="{3F306B00-B55D-4775-9F9A-2AB34F9922D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D8CA-4C16-90F6-A0D9A3D8DA8E}"/>
                </c:ext>
              </c:extLst>
            </c:dLbl>
            <c:dLbl>
              <c:idx val="5"/>
              <c:tx>
                <c:rich>
                  <a:bodyPr/>
                  <a:lstStyle/>
                  <a:p>
                    <a:fld id="{49117902-B486-47BA-B798-6CB44870E8C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CA-4C16-90F6-A0D9A3D8DA8E}"/>
                </c:ext>
              </c:extLst>
            </c:dLbl>
            <c:dLbl>
              <c:idx val="6"/>
              <c:tx>
                <c:rich>
                  <a:bodyPr/>
                  <a:lstStyle/>
                  <a:p>
                    <a:fld id="{D3C70DEA-F31E-43E1-8DEB-AE3A650A9B2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CA-4C16-90F6-A0D9A3D8DA8E}"/>
                </c:ext>
              </c:extLst>
            </c:dLbl>
            <c:dLbl>
              <c:idx val="7"/>
              <c:tx>
                <c:rich>
                  <a:bodyPr/>
                  <a:lstStyle/>
                  <a:p>
                    <a:fld id="{8CAF2B8A-901E-490E-BA3C-70E5B9F83AB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CA-4C16-90F6-A0D9A3D8DA8E}"/>
                </c:ext>
              </c:extLst>
            </c:dLbl>
            <c:dLbl>
              <c:idx val="8"/>
              <c:tx>
                <c:rich>
                  <a:bodyPr/>
                  <a:lstStyle/>
                  <a:p>
                    <a:fld id="{D9305E23-88D9-4BD9-A7A4-912DE8BED73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CA-4C16-90F6-A0D9A3D8DA8E}"/>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11.4457</c:v>
                </c:pt>
                <c:pt idx="1">
                  <c:v>9.1258999999999997</c:v>
                </c:pt>
                <c:pt idx="2">
                  <c:v>11.2964</c:v>
                </c:pt>
                <c:pt idx="3">
                  <c:v>6.4696999999999996</c:v>
                </c:pt>
              </c:numCache>
            </c:numRef>
          </c:xVal>
          <c:yVal>
            <c:numRef>
              <c:f>Sheet1!$B$2:$B$5</c:f>
              <c:numCache>
                <c:formatCode>General</c:formatCode>
                <c:ptCount val="4"/>
                <c:pt idx="0">
                  <c:v>1.2709999999999999</c:v>
                </c:pt>
                <c:pt idx="1">
                  <c:v>1.0129999999999999</c:v>
                </c:pt>
                <c:pt idx="2">
                  <c:v>1.0720000000000001</c:v>
                </c:pt>
                <c:pt idx="3">
                  <c:v>0.71799999999999997</c:v>
                </c:pt>
              </c:numCache>
            </c:numRef>
          </c:yVal>
          <c:bubbleSize>
            <c:numRef>
              <c:f>Sheet1!$C$2:$C$5</c:f>
              <c:numCache>
                <c:formatCode>General</c:formatCode>
                <c:ptCount val="4"/>
                <c:pt idx="0">
                  <c:v>195596</c:v>
                </c:pt>
                <c:pt idx="1">
                  <c:v>96917</c:v>
                </c:pt>
                <c:pt idx="2">
                  <c:v>19859</c:v>
                </c:pt>
                <c:pt idx="3">
                  <c:v>7686</c:v>
                </c:pt>
              </c:numCache>
            </c:numRef>
          </c:bubbleSize>
          <c:bubble3D val="0"/>
          <c:extLst>
            <c:ext xmlns:c15="http://schemas.microsoft.com/office/drawing/2012/chart" uri="{02D57815-91ED-43cb-92C2-25804820EDAC}">
              <c15:datalabelsRange>
                <c15:f>Sheet1!$E$2:$E$10</c15:f>
                <c15:dlblRangeCache>
                  <c:ptCount val="9"/>
                  <c:pt idx="0">
                    <c:v>Bottega</c:v>
                  </c:pt>
                  <c:pt idx="1">
                    <c:v>Savian</c:v>
                  </c:pt>
                  <c:pt idx="2">
                    <c:v>Contarini</c:v>
                  </c:pt>
                  <c:pt idx="3">
                    <c:v>Vilaveroni</c:v>
                  </c:pt>
                </c15:dlblRangeCache>
              </c15:datalabelsRange>
            </c:ext>
            <c:ext xmlns:c16="http://schemas.microsoft.com/office/drawing/2014/chart" uri="{C3380CC4-5D6E-409C-BE32-E72D297353CC}">
              <c16:uniqueId val="{00000009-D8CA-4C16-90F6-A0D9A3D8DA8E}"/>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4"/>
          <c:min val="5"/>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701B0E4-3475-41A4-99B8-F6F028D3F58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1DFBECB-E225-419E-96FE-425579203F4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91908FC-B15A-4055-85B8-9F5F6C5A344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07162A06-94FD-4CA8-8DD9-FDCC97B1A3B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BB185CA1-A9DE-4044-B1A5-7AEDB105332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A15CE2FF-E2F3-4294-823F-D5A1024CECE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53251BBE-426E-4404-88F7-CD9E50B8D6F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0E849D93-EE08-4F7C-ACEE-3AE93550A93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1.3108</c:v>
                </c:pt>
                <c:pt idx="1">
                  <c:v>11.7963</c:v>
                </c:pt>
                <c:pt idx="2">
                  <c:v>13.266400000000001</c:v>
                </c:pt>
              </c:numCache>
            </c:numRef>
          </c:xVal>
          <c:yVal>
            <c:numRef>
              <c:f>Sheet1!$B$2:$B$4</c:f>
              <c:numCache>
                <c:formatCode>General</c:formatCode>
                <c:ptCount val="3"/>
                <c:pt idx="0">
                  <c:v>0.95299999999999996</c:v>
                </c:pt>
                <c:pt idx="1">
                  <c:v>0.94699999999999995</c:v>
                </c:pt>
                <c:pt idx="2">
                  <c:v>1.115</c:v>
                </c:pt>
              </c:numCache>
            </c:numRef>
          </c:yVal>
          <c:bubbleSize>
            <c:numRef>
              <c:f>Sheet1!$C$2:$C$4</c:f>
              <c:numCache>
                <c:formatCode>General</c:formatCode>
                <c:ptCount val="3"/>
                <c:pt idx="0">
                  <c:v>64924</c:v>
                </c:pt>
                <c:pt idx="1">
                  <c:v>64278</c:v>
                </c:pt>
                <c:pt idx="2">
                  <c:v>37597</c:v>
                </c:pt>
              </c:numCache>
            </c:numRef>
          </c:bubbleSize>
          <c:bubble3D val="0"/>
          <c:extLst>
            <c:ext xmlns:c15="http://schemas.microsoft.com/office/drawing/2012/chart" uri="{02D57815-91ED-43cb-92C2-25804820EDAC}">
              <c15:datalabelsRange>
                <c15:f>Sheet1!$E$2:$E$10</c15:f>
                <c15:dlblRangeCache>
                  <c:ptCount val="9"/>
                  <c:pt idx="0">
                    <c:v>Chateau Moncontour</c:v>
                  </c:pt>
                  <c:pt idx="1">
                    <c:v>Bouvet-Ladubay</c:v>
                  </c:pt>
                  <c:pt idx="2">
                    <c:v>De Chancen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6"/>
          <c:min val="9"/>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A248490A-F07F-41BD-9000-152D3DF95EF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48EF-49EC-8B4D-EC25A4464CE3}"/>
                </c:ext>
              </c:extLst>
            </c:dLbl>
            <c:dLbl>
              <c:idx val="2"/>
              <c:tx>
                <c:rich>
                  <a:bodyPr/>
                  <a:lstStyle/>
                  <a:p>
                    <a:fld id="{41B365CA-9962-401C-ACF5-D72A3CAC5B3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48EF-49EC-8B4D-EC25A4464CE3}"/>
                </c:ext>
              </c:extLst>
            </c:dLbl>
            <c:dLbl>
              <c:idx val="3"/>
              <c:tx>
                <c:rich>
                  <a:bodyPr/>
                  <a:lstStyle/>
                  <a:p>
                    <a:fld id="{89E6D48F-2DDA-4CC8-93BE-646A671DA93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48EF-49EC-8B4D-EC25A4464CE3}"/>
                </c:ext>
              </c:extLst>
            </c:dLbl>
            <c:dLbl>
              <c:idx val="4"/>
              <c:tx>
                <c:rich>
                  <a:bodyPr/>
                  <a:lstStyle/>
                  <a:p>
                    <a:fld id="{BD3B57F2-EF34-408A-86AF-DD6B744D15D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48EF-49EC-8B4D-EC25A4464CE3}"/>
                </c:ext>
              </c:extLst>
            </c:dLbl>
            <c:dLbl>
              <c:idx val="5"/>
              <c:tx>
                <c:rich>
                  <a:bodyPr/>
                  <a:lstStyle/>
                  <a:p>
                    <a:fld id="{B0ED615D-3363-470E-8FC2-9026A1CA16F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48EF-49EC-8B4D-EC25A4464CE3}"/>
                </c:ext>
              </c:extLst>
            </c:dLbl>
            <c:dLbl>
              <c:idx val="6"/>
              <c:tx>
                <c:rich>
                  <a:bodyPr/>
                  <a:lstStyle/>
                  <a:p>
                    <a:fld id="{5584B982-53C3-42F1-B591-E70D3DF259A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48EF-49EC-8B4D-EC25A4464CE3}"/>
                </c:ext>
              </c:extLst>
            </c:dLbl>
            <c:dLbl>
              <c:idx val="7"/>
              <c:tx>
                <c:rich>
                  <a:bodyPr/>
                  <a:lstStyle/>
                  <a:p>
                    <a:fld id="{C036C96E-2453-4202-AFE2-3C238DF1B28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48EF-49EC-8B4D-EC25A4464CE3}"/>
                </c:ext>
              </c:extLst>
            </c:dLbl>
            <c:dLbl>
              <c:idx val="8"/>
              <c:tx>
                <c:rich>
                  <a:bodyPr/>
                  <a:lstStyle/>
                  <a:p>
                    <a:fld id="{0A8CCE1F-33DC-4C29-A670-341E405331F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7.377600000000001</c:v>
                </c:pt>
              </c:numCache>
            </c:numRef>
          </c:xVal>
          <c:yVal>
            <c:numRef>
              <c:f>Sheet1!$B$2:$B$2</c:f>
              <c:numCache>
                <c:formatCode>General</c:formatCode>
                <c:ptCount val="1"/>
                <c:pt idx="0">
                  <c:v>1</c:v>
                </c:pt>
              </c:numCache>
            </c:numRef>
          </c:yVal>
          <c:bubbleSize>
            <c:numRef>
              <c:f>Sheet1!$C$2:$C$2</c:f>
              <c:numCache>
                <c:formatCode>General</c:formatCode>
                <c:ptCount val="1"/>
                <c:pt idx="0">
                  <c:v>78512</c:v>
                </c:pt>
              </c:numCache>
            </c:numRef>
          </c:bubbleSize>
          <c:bubble3D val="0"/>
          <c:extLst>
            <c:ext xmlns:c15="http://schemas.microsoft.com/office/drawing/2012/chart" uri="{02D57815-91ED-43cb-92C2-25804820EDAC}">
              <c15:datalabelsRange>
                <c15:f>Sheet1!$E$2:$E$10</c15:f>
                <c15:dlblRangeCache>
                  <c:ptCount val="9"/>
                  <c:pt idx="0">
                    <c:v>Mure</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
          <c:min val="14"/>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0F96C594-1A15-4B23-B04F-43E804BC657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0A632566-BAA0-4039-A5C5-0E82A2823C9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D871-46D6-BBFE-7C00E0D51738}"/>
                </c:ext>
              </c:extLst>
            </c:dLbl>
            <c:dLbl>
              <c:idx val="3"/>
              <c:tx>
                <c:rich>
                  <a:bodyPr/>
                  <a:lstStyle/>
                  <a:p>
                    <a:fld id="{4F7D12C8-BF18-4E96-B893-CFFE5097209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D871-46D6-BBFE-7C00E0D51738}"/>
                </c:ext>
              </c:extLst>
            </c:dLbl>
            <c:dLbl>
              <c:idx val="4"/>
              <c:tx>
                <c:rich>
                  <a:bodyPr/>
                  <a:lstStyle/>
                  <a:p>
                    <a:fld id="{9B79485E-1686-42C4-BB1B-24D88C3F676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D871-46D6-BBFE-7C00E0D51738}"/>
                </c:ext>
              </c:extLst>
            </c:dLbl>
            <c:dLbl>
              <c:idx val="5"/>
              <c:tx>
                <c:rich>
                  <a:bodyPr/>
                  <a:lstStyle/>
                  <a:p>
                    <a:fld id="{4EA3A661-52EE-43BC-A503-6799CF47CFE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71-46D6-BBFE-7C00E0D51738}"/>
                </c:ext>
              </c:extLst>
            </c:dLbl>
            <c:dLbl>
              <c:idx val="6"/>
              <c:tx>
                <c:rich>
                  <a:bodyPr/>
                  <a:lstStyle/>
                  <a:p>
                    <a:fld id="{5BB6FC45-2AE3-497E-B251-86C80B9C254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71-46D6-BBFE-7C00E0D51738}"/>
                </c:ext>
              </c:extLst>
            </c:dLbl>
            <c:dLbl>
              <c:idx val="7"/>
              <c:tx>
                <c:rich>
                  <a:bodyPr/>
                  <a:lstStyle/>
                  <a:p>
                    <a:fld id="{C8438DCD-44EB-4B7A-800F-067FD5E2CCA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71-46D6-BBFE-7C00E0D51738}"/>
                </c:ext>
              </c:extLst>
            </c:dLbl>
            <c:dLbl>
              <c:idx val="8"/>
              <c:tx>
                <c:rich>
                  <a:bodyPr/>
                  <a:lstStyle/>
                  <a:p>
                    <a:fld id="{6564412E-BD33-460E-80E5-20382D9E576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10.751099999999999</c:v>
                </c:pt>
                <c:pt idx="1">
                  <c:v>9.6081000000000003</c:v>
                </c:pt>
              </c:numCache>
            </c:numRef>
          </c:xVal>
          <c:yVal>
            <c:numRef>
              <c:f>Sheet1!$B$2:$B$3</c:f>
              <c:numCache>
                <c:formatCode>General</c:formatCode>
                <c:ptCount val="2"/>
                <c:pt idx="0">
                  <c:v>1.014</c:v>
                </c:pt>
                <c:pt idx="1">
                  <c:v>0.78600000000000003</c:v>
                </c:pt>
              </c:numCache>
            </c:numRef>
          </c:yVal>
          <c:bubbleSize>
            <c:numRef>
              <c:f>Sheet1!$C$2:$C$3</c:f>
              <c:numCache>
                <c:formatCode>General</c:formatCode>
                <c:ptCount val="2"/>
                <c:pt idx="0">
                  <c:v>14041</c:v>
                </c:pt>
                <c:pt idx="1">
                  <c:v>711</c:v>
                </c:pt>
              </c:numCache>
            </c:numRef>
          </c:bubbleSize>
          <c:bubble3D val="0"/>
          <c:extLst>
            <c:ext xmlns:c15="http://schemas.microsoft.com/office/drawing/2012/chart" uri="{02D57815-91ED-43cb-92C2-25804820EDAC}">
              <c15:datalabelsRange>
                <c15:f>Sheet1!$E$2:$E$10</c15:f>
                <c15:dlblRangeCache>
                  <c:ptCount val="9"/>
                  <c:pt idx="0">
                    <c:v>Cru La Maqueline</c:v>
                  </c:pt>
                  <c:pt idx="1">
                    <c:v>Celene</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3"/>
          <c:min val="8"/>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F8C3AE2-9E16-4F32-BE6A-4FBBA8D4EF4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354153C-D892-4205-B662-753CD38FB9F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6F08F13-835E-4E37-ADA4-467D5F5A572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2FE1A41-E193-4EC4-95A1-01C382DC194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36F81AC-8EF5-4133-9435-E1D09CD349C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28798AB-E766-4BA4-8DC5-1A5A144F87B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3FD33BEA-1F24-498E-8D90-08F371004F7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56B5B9F4-BB65-415E-85A3-6994F998CD8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98.354299999999995</c:v>
                </c:pt>
                <c:pt idx="1">
                  <c:v>40.190100000000001</c:v>
                </c:pt>
                <c:pt idx="2">
                  <c:v>35.284500000000001</c:v>
                </c:pt>
                <c:pt idx="3">
                  <c:v>58.968699999999998</c:v>
                </c:pt>
                <c:pt idx="4">
                  <c:v>46.8782</c:v>
                </c:pt>
                <c:pt idx="5">
                  <c:v>53.136400000000002</c:v>
                </c:pt>
                <c:pt idx="6">
                  <c:v>37.7256</c:v>
                </c:pt>
                <c:pt idx="7">
                  <c:v>76.505700000000004</c:v>
                </c:pt>
              </c:numCache>
            </c:numRef>
          </c:xVal>
          <c:yVal>
            <c:numRef>
              <c:f>Sheet1!$B$2:$B$9</c:f>
              <c:numCache>
                <c:formatCode>General</c:formatCode>
                <c:ptCount val="8"/>
                <c:pt idx="0">
                  <c:v>1.347</c:v>
                </c:pt>
                <c:pt idx="1">
                  <c:v>0.56200000000000006</c:v>
                </c:pt>
                <c:pt idx="2">
                  <c:v>0.48899999999999999</c:v>
                </c:pt>
                <c:pt idx="3">
                  <c:v>0.85199999999999998</c:v>
                </c:pt>
                <c:pt idx="4">
                  <c:v>0.64400000000000002</c:v>
                </c:pt>
                <c:pt idx="5">
                  <c:v>0.72799999999999998</c:v>
                </c:pt>
                <c:pt idx="6">
                  <c:v>0.52500000000000002</c:v>
                </c:pt>
                <c:pt idx="7">
                  <c:v>1.0209999999999999</c:v>
                </c:pt>
              </c:numCache>
            </c:numRef>
          </c:yVal>
          <c:bubbleSize>
            <c:numRef>
              <c:f>Sheet1!$C$2:$C$9</c:f>
              <c:numCache>
                <c:formatCode>General</c:formatCode>
                <c:ptCount val="8"/>
                <c:pt idx="0">
                  <c:v>638221</c:v>
                </c:pt>
                <c:pt idx="1">
                  <c:v>73588</c:v>
                </c:pt>
                <c:pt idx="2">
                  <c:v>60513</c:v>
                </c:pt>
                <c:pt idx="3">
                  <c:v>45170</c:v>
                </c:pt>
                <c:pt idx="4">
                  <c:v>36940</c:v>
                </c:pt>
                <c:pt idx="5">
                  <c:v>32732</c:v>
                </c:pt>
                <c:pt idx="6">
                  <c:v>20485</c:v>
                </c:pt>
                <c:pt idx="7">
                  <c:v>20274</c:v>
                </c:pt>
              </c:numCache>
            </c:numRef>
          </c:bubbleSize>
          <c:bubble3D val="0"/>
          <c:extLst>
            <c:ext xmlns:c15="http://schemas.microsoft.com/office/drawing/2012/chart" uri="{02D57815-91ED-43cb-92C2-25804820EDAC}">
              <c15:datalabelsRange>
                <c15:f>Sheet1!$E$2:$E$10</c15:f>
                <c15:dlblRangeCache>
                  <c:ptCount val="9"/>
                  <c:pt idx="0">
                    <c:v>Ruinart</c:v>
                  </c:pt>
                  <c:pt idx="1">
                    <c:v>Nicolas</c:v>
                  </c:pt>
                  <c:pt idx="2">
                    <c:v>Malard</c:v>
                  </c:pt>
                  <c:pt idx="3">
                    <c:v>Besserat De Bellefon</c:v>
                  </c:pt>
                  <c:pt idx="4">
                    <c:v>Henriot</c:v>
                  </c:pt>
                  <c:pt idx="5">
                    <c:v>Delamotte</c:v>
                  </c:pt>
                  <c:pt idx="6">
                    <c:v>De Bligny</c:v>
                  </c:pt>
                  <c:pt idx="7">
                    <c:v>Ayala</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18"/>
          <c:min val="28"/>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DDED602A-F235-4C0C-8A09-A5A02731BC6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04D80D69-4822-4089-AA47-01BE48C8282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B82EFFBC-1AC2-49E8-910A-53889CAB184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1AF82A92-C71E-4495-A805-1BE890A0D07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8D1E0263-6133-4675-A130-3298DF94E66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75266E3F-2F78-4B81-88D1-96ECF89AE37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199F1D1A-C919-4746-A49A-283A0D22456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6E5D2E45-7F8C-458F-AECE-4A429B57D55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57.3232</c:v>
                </c:pt>
                <c:pt idx="1">
                  <c:v>22.019500000000001</c:v>
                </c:pt>
                <c:pt idx="2">
                  <c:v>47.583399999999997</c:v>
                </c:pt>
                <c:pt idx="3">
                  <c:v>47.922400000000003</c:v>
                </c:pt>
                <c:pt idx="4">
                  <c:v>29.2836</c:v>
                </c:pt>
                <c:pt idx="5">
                  <c:v>29.9375</c:v>
                </c:pt>
                <c:pt idx="6">
                  <c:v>36.992400000000004</c:v>
                </c:pt>
                <c:pt idx="7">
                  <c:v>52.214700000000001</c:v>
                </c:pt>
              </c:numCache>
            </c:numRef>
          </c:xVal>
          <c:yVal>
            <c:numRef>
              <c:f>Sheet1!$B$2:$B$9</c:f>
              <c:numCache>
                <c:formatCode>General</c:formatCode>
                <c:ptCount val="8"/>
                <c:pt idx="0">
                  <c:v>1.4430000000000001</c:v>
                </c:pt>
                <c:pt idx="1">
                  <c:v>0.56299999999999994</c:v>
                </c:pt>
                <c:pt idx="2">
                  <c:v>1.181</c:v>
                </c:pt>
                <c:pt idx="3">
                  <c:v>1.0880000000000001</c:v>
                </c:pt>
                <c:pt idx="4">
                  <c:v>0.747</c:v>
                </c:pt>
                <c:pt idx="5">
                  <c:v>0.79200000000000004</c:v>
                </c:pt>
                <c:pt idx="6">
                  <c:v>0.94399999999999995</c:v>
                </c:pt>
                <c:pt idx="7">
                  <c:v>1.167</c:v>
                </c:pt>
              </c:numCache>
            </c:numRef>
          </c:yVal>
          <c:bubbleSize>
            <c:numRef>
              <c:f>Sheet1!$C$2:$C$9</c:f>
              <c:numCache>
                <c:formatCode>General</c:formatCode>
                <c:ptCount val="8"/>
                <c:pt idx="0">
                  <c:v>1311612</c:v>
                </c:pt>
                <c:pt idx="1">
                  <c:v>702400</c:v>
                </c:pt>
                <c:pt idx="2">
                  <c:v>658792</c:v>
                </c:pt>
                <c:pt idx="3">
                  <c:v>424928</c:v>
                </c:pt>
                <c:pt idx="4">
                  <c:v>304491</c:v>
                </c:pt>
                <c:pt idx="5">
                  <c:v>254439</c:v>
                </c:pt>
                <c:pt idx="6">
                  <c:v>251881</c:v>
                </c:pt>
                <c:pt idx="7">
                  <c:v>222748</c:v>
                </c:pt>
              </c:numCache>
            </c:numRef>
          </c:bubbleSize>
          <c:bubble3D val="0"/>
          <c:extLst>
            <c:ext xmlns:c15="http://schemas.microsoft.com/office/drawing/2012/chart" uri="{02D57815-91ED-43cb-92C2-25804820EDAC}">
              <c15:datalabelsRange>
                <c15:f>Sheet1!$E$2:$E$10</c15:f>
                <c15:dlblRangeCache>
                  <c:ptCount val="9"/>
                  <c:pt idx="0">
                    <c:v>Ruinart</c:v>
                  </c:pt>
                  <c:pt idx="1">
                    <c:v>Nicolas</c:v>
                  </c:pt>
                  <c:pt idx="2">
                    <c:v>Deutz</c:v>
                  </c:pt>
                  <c:pt idx="3">
                    <c:v>Laurent Perrier</c:v>
                  </c:pt>
                  <c:pt idx="4">
                    <c:v>Heidsieck &amp; Co Monopole</c:v>
                  </c:pt>
                  <c:pt idx="5">
                    <c:v>Canard Duchêne</c:v>
                  </c:pt>
                  <c:pt idx="6">
                    <c:v>Ayala</c:v>
                  </c:pt>
                  <c:pt idx="7">
                    <c:v>Taittinger</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9"/>
          <c:min val="18"/>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6589F6E4-D2E7-4910-8119-0999BBD114B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0B6B71E7-5270-4744-8C0E-6AEA241DA64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71-46D6-BBFE-7C00E0D51738}"/>
                </c:ext>
              </c:extLst>
            </c:dLbl>
            <c:dLbl>
              <c:idx val="3"/>
              <c:tx>
                <c:rich>
                  <a:bodyPr/>
                  <a:lstStyle/>
                  <a:p>
                    <a:fld id="{26876D1A-6967-4E98-A9EC-EFAD4BC312B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71-46D6-BBFE-7C00E0D51738}"/>
                </c:ext>
              </c:extLst>
            </c:dLbl>
            <c:dLbl>
              <c:idx val="4"/>
              <c:tx>
                <c:rich>
                  <a:bodyPr/>
                  <a:lstStyle/>
                  <a:p>
                    <a:fld id="{7B5BE11A-A470-49AA-A2F1-4C8D036E473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D871-46D6-BBFE-7C00E0D51738}"/>
                </c:ext>
              </c:extLst>
            </c:dLbl>
            <c:dLbl>
              <c:idx val="5"/>
              <c:tx>
                <c:rich>
                  <a:bodyPr/>
                  <a:lstStyle/>
                  <a:p>
                    <a:fld id="{BA411FEE-02DE-434F-8C3D-D4945C15C13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71-46D6-BBFE-7C00E0D51738}"/>
                </c:ext>
              </c:extLst>
            </c:dLbl>
            <c:dLbl>
              <c:idx val="6"/>
              <c:tx>
                <c:rich>
                  <a:bodyPr/>
                  <a:lstStyle/>
                  <a:p>
                    <a:fld id="{1B773B1D-BA97-45FE-A54D-C4F87CC7EA5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71-46D6-BBFE-7C00E0D51738}"/>
                </c:ext>
              </c:extLst>
            </c:dLbl>
            <c:dLbl>
              <c:idx val="7"/>
              <c:tx>
                <c:rich>
                  <a:bodyPr/>
                  <a:lstStyle/>
                  <a:p>
                    <a:fld id="{9CB234C5-D38C-4106-8B31-1BF3A4E9AEF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71-46D6-BBFE-7C00E0D51738}"/>
                </c:ext>
              </c:extLst>
            </c:dLbl>
            <c:dLbl>
              <c:idx val="8"/>
              <c:tx>
                <c:rich>
                  <a:bodyPr/>
                  <a:lstStyle/>
                  <a:p>
                    <a:fld id="{29D533C7-990E-4AA3-9D2F-388AA3F9512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29.617699999999999</c:v>
                </c:pt>
                <c:pt idx="1">
                  <c:v>30.427199999999999</c:v>
                </c:pt>
                <c:pt idx="2">
                  <c:v>31.374600000000001</c:v>
                </c:pt>
                <c:pt idx="3">
                  <c:v>35.311599999999999</c:v>
                </c:pt>
              </c:numCache>
            </c:numRef>
          </c:xVal>
          <c:yVal>
            <c:numRef>
              <c:f>Sheet1!$B$2:$B$5</c:f>
              <c:numCache>
                <c:formatCode>General</c:formatCode>
                <c:ptCount val="4"/>
                <c:pt idx="0">
                  <c:v>0.98699999999999999</c:v>
                </c:pt>
                <c:pt idx="1">
                  <c:v>1.016</c:v>
                </c:pt>
                <c:pt idx="2">
                  <c:v>1.042</c:v>
                </c:pt>
                <c:pt idx="3">
                  <c:v>1.0920000000000001</c:v>
                </c:pt>
              </c:numCache>
            </c:numRef>
          </c:yVal>
          <c:bubbleSize>
            <c:numRef>
              <c:f>Sheet1!$C$2:$C$5</c:f>
              <c:numCache>
                <c:formatCode>General</c:formatCode>
                <c:ptCount val="4"/>
                <c:pt idx="0">
                  <c:v>294104</c:v>
                </c:pt>
                <c:pt idx="1">
                  <c:v>80845</c:v>
                </c:pt>
                <c:pt idx="2">
                  <c:v>39281</c:v>
                </c:pt>
                <c:pt idx="3">
                  <c:v>10311</c:v>
                </c:pt>
              </c:numCache>
            </c:numRef>
          </c:bubbleSize>
          <c:bubble3D val="0"/>
          <c:extLst>
            <c:ext xmlns:c15="http://schemas.microsoft.com/office/drawing/2012/chart" uri="{02D57815-91ED-43cb-92C2-25804820EDAC}">
              <c15:datalabelsRange>
                <c15:f>Sheet1!$E$2:$E$10</c15:f>
                <c15:dlblRangeCache>
                  <c:ptCount val="9"/>
                  <c:pt idx="0">
                    <c:v>Malard</c:v>
                  </c:pt>
                  <c:pt idx="1">
                    <c:v>Vesselle</c:v>
                  </c:pt>
                  <c:pt idx="2">
                    <c:v>Louis Martin</c:v>
                  </c:pt>
                  <c:pt idx="3">
                    <c:v>Nicolas</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2"/>
          <c:min val="24"/>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CA-4C16-90F6-A0D9A3D8DA8E}"/>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CA-4C16-90F6-A0D9A3D8DA8E}"/>
                </c:ext>
              </c:extLst>
            </c:dLbl>
            <c:dLbl>
              <c:idx val="1"/>
              <c:tx>
                <c:rich>
                  <a:bodyPr/>
                  <a:lstStyle/>
                  <a:p>
                    <a:fld id="{642C5D23-E944-4E9B-AE2B-D9AAFB2DCE4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CA-4C16-90F6-A0D9A3D8DA8E}"/>
                </c:ext>
              </c:extLst>
            </c:dLbl>
            <c:dLbl>
              <c:idx val="2"/>
              <c:tx>
                <c:rich>
                  <a:bodyPr/>
                  <a:lstStyle/>
                  <a:p>
                    <a:fld id="{12B56423-C05B-44B3-A6A0-0FAC4914979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D8CA-4C16-90F6-A0D9A3D8DA8E}"/>
                </c:ext>
              </c:extLst>
            </c:dLbl>
            <c:dLbl>
              <c:idx val="3"/>
              <c:tx>
                <c:rich>
                  <a:bodyPr/>
                  <a:lstStyle/>
                  <a:p>
                    <a:fld id="{9B87FD79-3471-4DE0-B2B9-7F677C596BC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D8CA-4C16-90F6-A0D9A3D8DA8E}"/>
                </c:ext>
              </c:extLst>
            </c:dLbl>
            <c:dLbl>
              <c:idx val="4"/>
              <c:tx>
                <c:rich>
                  <a:bodyPr/>
                  <a:lstStyle/>
                  <a:p>
                    <a:fld id="{856D3698-0588-4565-8134-1ED4BE8AB7E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D8CA-4C16-90F6-A0D9A3D8DA8E}"/>
                </c:ext>
              </c:extLst>
            </c:dLbl>
            <c:dLbl>
              <c:idx val="5"/>
              <c:tx>
                <c:rich>
                  <a:bodyPr/>
                  <a:lstStyle/>
                  <a:p>
                    <a:fld id="{0A57B281-BDD3-4585-84EB-B39903CDD7E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CA-4C16-90F6-A0D9A3D8DA8E}"/>
                </c:ext>
              </c:extLst>
            </c:dLbl>
            <c:dLbl>
              <c:idx val="6"/>
              <c:tx>
                <c:rich>
                  <a:bodyPr/>
                  <a:lstStyle/>
                  <a:p>
                    <a:fld id="{B9985E62-5D20-4EBD-9D67-34557803528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CA-4C16-90F6-A0D9A3D8DA8E}"/>
                </c:ext>
              </c:extLst>
            </c:dLbl>
            <c:dLbl>
              <c:idx val="7"/>
              <c:tx>
                <c:rich>
                  <a:bodyPr/>
                  <a:lstStyle/>
                  <a:p>
                    <a:fld id="{46F0D305-94F3-40B2-91F2-E7AD521583B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CA-4C16-90F6-A0D9A3D8DA8E}"/>
                </c:ext>
              </c:extLst>
            </c:dLbl>
            <c:dLbl>
              <c:idx val="8"/>
              <c:tx>
                <c:rich>
                  <a:bodyPr/>
                  <a:lstStyle/>
                  <a:p>
                    <a:fld id="{52A012DA-1F01-4785-AC13-C4A99AB637F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CA-4C16-90F6-A0D9A3D8DA8E}"/>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31.130199999999999</c:v>
                </c:pt>
                <c:pt idx="1">
                  <c:v>43.843800000000002</c:v>
                </c:pt>
              </c:numCache>
            </c:numRef>
          </c:xVal>
          <c:yVal>
            <c:numRef>
              <c:f>Sheet1!$B$2:$B$3</c:f>
              <c:numCache>
                <c:formatCode>General</c:formatCode>
                <c:ptCount val="2"/>
                <c:pt idx="0">
                  <c:v>0.92900000000000005</c:v>
                </c:pt>
                <c:pt idx="1">
                  <c:v>1.3089999999999999</c:v>
                </c:pt>
              </c:numCache>
            </c:numRef>
          </c:yVal>
          <c:bubbleSize>
            <c:numRef>
              <c:f>Sheet1!$C$2:$C$3</c:f>
              <c:numCache>
                <c:formatCode>General</c:formatCode>
                <c:ptCount val="2"/>
                <c:pt idx="0">
                  <c:v>254707</c:v>
                </c:pt>
                <c:pt idx="1">
                  <c:v>81944</c:v>
                </c:pt>
              </c:numCache>
            </c:numRef>
          </c:bubbleSize>
          <c:bubble3D val="0"/>
          <c:extLst>
            <c:ext xmlns:c15="http://schemas.microsoft.com/office/drawing/2012/chart" uri="{02D57815-91ED-43cb-92C2-25804820EDAC}">
              <c15:datalabelsRange>
                <c15:f>Sheet1!$E$2:$E$10</c15:f>
                <c15:dlblRangeCache>
                  <c:ptCount val="9"/>
                  <c:pt idx="0">
                    <c:v>Nicolas Feuillatte</c:v>
                  </c:pt>
                  <c:pt idx="1">
                    <c:v>Moët &amp; Chandon</c:v>
                  </c:pt>
                </c15:dlblRangeCache>
              </c15:datalabelsRange>
            </c:ext>
            <c:ext xmlns:c16="http://schemas.microsoft.com/office/drawing/2014/chart" uri="{C3380CC4-5D6E-409C-BE32-E72D297353CC}">
              <c16:uniqueId val="{00000009-D8CA-4C16-90F6-A0D9A3D8DA8E}"/>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3"/>
          <c:min val="25"/>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0A04FC42-194F-4B27-B0E2-65742E6AB01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3C146A74-A195-4234-84F5-2256E201865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B304A2F3-9A50-4D11-9C37-F41B6EDFD18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6E6E9DED-E004-412E-8276-40CACCA42A3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D2A58176-263E-44CE-80A6-A5C6C5AAA84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7F6BF24F-5199-4ABC-A674-9618BE5CAE0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8F9DB485-86B5-42C3-AC7C-9278D3B3F44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2193212B-DC2B-47E0-B298-B0CE292B90F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11.451499999999999</c:v>
                </c:pt>
                <c:pt idx="1">
                  <c:v>12.7646</c:v>
                </c:pt>
                <c:pt idx="2">
                  <c:v>17.4328</c:v>
                </c:pt>
                <c:pt idx="3">
                  <c:v>9.1104000000000003</c:v>
                </c:pt>
                <c:pt idx="4">
                  <c:v>11.800599999999999</c:v>
                </c:pt>
                <c:pt idx="5">
                  <c:v>11.4077</c:v>
                </c:pt>
                <c:pt idx="6">
                  <c:v>13.4663</c:v>
                </c:pt>
                <c:pt idx="7">
                  <c:v>5.7388000000000003</c:v>
                </c:pt>
              </c:numCache>
            </c:numRef>
          </c:xVal>
          <c:yVal>
            <c:numRef>
              <c:f>Sheet1!$B$2:$B$9</c:f>
              <c:numCache>
                <c:formatCode>General</c:formatCode>
                <c:ptCount val="8"/>
                <c:pt idx="0">
                  <c:v>1.083</c:v>
                </c:pt>
                <c:pt idx="1">
                  <c:v>1.208</c:v>
                </c:pt>
                <c:pt idx="2">
                  <c:v>1.667</c:v>
                </c:pt>
                <c:pt idx="3">
                  <c:v>0.86199999999999999</c:v>
                </c:pt>
                <c:pt idx="4">
                  <c:v>1.0640000000000001</c:v>
                </c:pt>
                <c:pt idx="5">
                  <c:v>1.08</c:v>
                </c:pt>
                <c:pt idx="6">
                  <c:v>1.2729999999999999</c:v>
                </c:pt>
                <c:pt idx="7">
                  <c:v>0.54200000000000004</c:v>
                </c:pt>
              </c:numCache>
            </c:numRef>
          </c:yVal>
          <c:bubbleSize>
            <c:numRef>
              <c:f>Sheet1!$C$2:$C$9</c:f>
              <c:numCache>
                <c:formatCode>General</c:formatCode>
                <c:ptCount val="8"/>
                <c:pt idx="0">
                  <c:v>607538</c:v>
                </c:pt>
                <c:pt idx="1">
                  <c:v>507318</c:v>
                </c:pt>
                <c:pt idx="2">
                  <c:v>388332</c:v>
                </c:pt>
                <c:pt idx="3">
                  <c:v>323774</c:v>
                </c:pt>
                <c:pt idx="4">
                  <c:v>305234</c:v>
                </c:pt>
                <c:pt idx="5">
                  <c:v>282454</c:v>
                </c:pt>
                <c:pt idx="6">
                  <c:v>158041</c:v>
                </c:pt>
                <c:pt idx="7">
                  <c:v>100733</c:v>
                </c:pt>
              </c:numCache>
            </c:numRef>
          </c:bubbleSize>
          <c:bubble3D val="0"/>
          <c:extLst>
            <c:ext xmlns:c15="http://schemas.microsoft.com/office/drawing/2012/chart" uri="{02D57815-91ED-43cb-92C2-25804820EDAC}">
              <c15:datalabelsRange>
                <c15:f>Sheet1!$E$2:$E$10</c15:f>
                <c15:dlblRangeCache>
                  <c:ptCount val="9"/>
                  <c:pt idx="0">
                    <c:v>Bottega</c:v>
                  </c:pt>
                  <c:pt idx="1">
                    <c:v>Patriarche</c:v>
                  </c:pt>
                  <c:pt idx="2">
                    <c:v>Mure</c:v>
                  </c:pt>
                  <c:pt idx="3">
                    <c:v>Savian</c:v>
                  </c:pt>
                  <c:pt idx="4">
                    <c:v>Bouvet-Ladubay</c:v>
                  </c:pt>
                  <c:pt idx="5">
                    <c:v>Chateau Moncontour</c:v>
                  </c:pt>
                  <c:pt idx="6">
                    <c:v>De Chanceny</c:v>
                  </c:pt>
                  <c:pt idx="7">
                    <c:v>Kriter</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
          <c:min val="5"/>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3852A19-42D3-4C8A-BBF8-32A1D5757F3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6421761-EC88-4CD9-B80C-DE75A9CA7D9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DAB8BEB-C9AE-448B-9E1A-78E8A2AA639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1258139-4FA7-4DF0-85F0-F2C8850AE1A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ACF7C21-C1AA-4C2D-8295-33A5D145B82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68DB1BD-8CEE-430E-A694-76DDBDCB203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1C3DD3D0-BE27-4671-94B4-01D76DF00F4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58A5EE9E-C30F-4DE6-950B-10F85779C15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261.13850000000002</c:v>
                </c:pt>
                <c:pt idx="1">
                  <c:v>156.18090000000001</c:v>
                </c:pt>
                <c:pt idx="2">
                  <c:v>94.739800000000002</c:v>
                </c:pt>
                <c:pt idx="3">
                  <c:v>37.572499999999998</c:v>
                </c:pt>
                <c:pt idx="4">
                  <c:v>64.150199999999998</c:v>
                </c:pt>
                <c:pt idx="5">
                  <c:v>278.46809999999999</c:v>
                </c:pt>
                <c:pt idx="6">
                  <c:v>286.47370000000001</c:v>
                </c:pt>
              </c:numCache>
            </c:numRef>
          </c:xVal>
          <c:yVal>
            <c:numRef>
              <c:f>Sheet1!$B$2:$B$8</c:f>
              <c:numCache>
                <c:formatCode>General</c:formatCode>
                <c:ptCount val="7"/>
                <c:pt idx="0">
                  <c:v>1.9730000000000001</c:v>
                </c:pt>
                <c:pt idx="1">
                  <c:v>1.111</c:v>
                </c:pt>
                <c:pt idx="2">
                  <c:v>0.69399999999999995</c:v>
                </c:pt>
                <c:pt idx="3">
                  <c:v>0.29199999999999998</c:v>
                </c:pt>
                <c:pt idx="4">
                  <c:v>0.48899999999999999</c:v>
                </c:pt>
                <c:pt idx="5">
                  <c:v>1.802</c:v>
                </c:pt>
                <c:pt idx="6">
                  <c:v>1.9670000000000001</c:v>
                </c:pt>
              </c:numCache>
            </c:numRef>
          </c:yVal>
          <c:bubbleSize>
            <c:numRef>
              <c:f>Sheet1!$C$2:$C$8</c:f>
              <c:numCache>
                <c:formatCode>General</c:formatCode>
                <c:ptCount val="7"/>
                <c:pt idx="0">
                  <c:v>147021</c:v>
                </c:pt>
                <c:pt idx="1">
                  <c:v>76841</c:v>
                </c:pt>
                <c:pt idx="2">
                  <c:v>30222</c:v>
                </c:pt>
                <c:pt idx="3">
                  <c:v>25662</c:v>
                </c:pt>
                <c:pt idx="4">
                  <c:v>16230</c:v>
                </c:pt>
                <c:pt idx="5">
                  <c:v>13088</c:v>
                </c:pt>
                <c:pt idx="6">
                  <c:v>5443</c:v>
                </c:pt>
              </c:numCache>
            </c:numRef>
          </c:bubbleSize>
          <c:bubble3D val="0"/>
          <c:extLst>
            <c:ext xmlns:c15="http://schemas.microsoft.com/office/drawing/2012/chart" uri="{02D57815-91ED-43cb-92C2-25804820EDAC}">
              <c15:datalabelsRange>
                <c15:f>Sheet1!$E$2:$E$10</c15:f>
                <c15:dlblRangeCache>
                  <c:ptCount val="9"/>
                  <c:pt idx="0">
                    <c:v>Dom Perignon</c:v>
                  </c:pt>
                  <c:pt idx="1">
                    <c:v>Roederer</c:v>
                  </c:pt>
                  <c:pt idx="2">
                    <c:v>Ruinart</c:v>
                  </c:pt>
                  <c:pt idx="3">
                    <c:v>Malard</c:v>
                  </c:pt>
                  <c:pt idx="4">
                    <c:v>Laurent Perrier</c:v>
                  </c:pt>
                  <c:pt idx="5">
                    <c:v>Bollinger</c:v>
                  </c:pt>
                  <c:pt idx="6">
                    <c:v>Piper Heidsieck</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44"/>
          <c:min val="30"/>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30FC285B-9B6E-4412-B421-AAE90F3599E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52CD71C7-37A2-4267-A17D-6FA936E3CB1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CE9DE707-BBAE-484F-8D02-DD1DDB56A11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17E3F19F-9040-42AE-90ED-E81A7F2C971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5898E153-C905-4F87-AD53-F8F0DE33357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AEF868EF-1D73-4CF9-BED2-6ABEB50A57D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340A6284-2649-4119-B03B-8C25EF12342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E49633E7-2970-45E2-A406-955BD80D448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91.436000000000007</c:v>
                </c:pt>
                <c:pt idx="1">
                  <c:v>52.058999999999997</c:v>
                </c:pt>
                <c:pt idx="2">
                  <c:v>37.6539</c:v>
                </c:pt>
                <c:pt idx="3">
                  <c:v>80.916899999999998</c:v>
                </c:pt>
                <c:pt idx="4">
                  <c:v>26.9497</c:v>
                </c:pt>
                <c:pt idx="5">
                  <c:v>37.5413</c:v>
                </c:pt>
                <c:pt idx="6">
                  <c:v>41.015999999999998</c:v>
                </c:pt>
                <c:pt idx="7">
                  <c:v>36.271999999999998</c:v>
                </c:pt>
              </c:numCache>
            </c:numRef>
          </c:xVal>
          <c:yVal>
            <c:numRef>
              <c:f>Sheet1!$B$2:$B$9</c:f>
              <c:numCache>
                <c:formatCode>General</c:formatCode>
                <c:ptCount val="8"/>
                <c:pt idx="0">
                  <c:v>1.7410000000000001</c:v>
                </c:pt>
                <c:pt idx="1">
                  <c:v>1.1279999999999999</c:v>
                </c:pt>
                <c:pt idx="2">
                  <c:v>0.70199999999999996</c:v>
                </c:pt>
                <c:pt idx="3">
                  <c:v>1.5149999999999999</c:v>
                </c:pt>
                <c:pt idx="4">
                  <c:v>0.53900000000000003</c:v>
                </c:pt>
                <c:pt idx="5">
                  <c:v>0.70699999999999996</c:v>
                </c:pt>
                <c:pt idx="6">
                  <c:v>0.91500000000000004</c:v>
                </c:pt>
                <c:pt idx="7">
                  <c:v>0.67700000000000005</c:v>
                </c:pt>
              </c:numCache>
            </c:numRef>
          </c:yVal>
          <c:bubbleSize>
            <c:numRef>
              <c:f>Sheet1!$C$2:$C$9</c:f>
              <c:numCache>
                <c:formatCode>General</c:formatCode>
                <c:ptCount val="8"/>
                <c:pt idx="0">
                  <c:v>167785</c:v>
                </c:pt>
                <c:pt idx="1">
                  <c:v>84648</c:v>
                </c:pt>
                <c:pt idx="2">
                  <c:v>62995</c:v>
                </c:pt>
                <c:pt idx="3">
                  <c:v>60364</c:v>
                </c:pt>
                <c:pt idx="4">
                  <c:v>57807</c:v>
                </c:pt>
                <c:pt idx="5">
                  <c:v>33637</c:v>
                </c:pt>
                <c:pt idx="6">
                  <c:v>30721</c:v>
                </c:pt>
                <c:pt idx="7">
                  <c:v>27603</c:v>
                </c:pt>
              </c:numCache>
            </c:numRef>
          </c:bubbleSize>
          <c:bubble3D val="0"/>
          <c:extLst>
            <c:ext xmlns:c15="http://schemas.microsoft.com/office/drawing/2012/chart" uri="{02D57815-91ED-43cb-92C2-25804820EDAC}">
              <c15:datalabelsRange>
                <c15:f>Sheet1!$E$2:$E$10</c15:f>
                <c15:dlblRangeCache>
                  <c:ptCount val="9"/>
                  <c:pt idx="0">
                    <c:v>Ruinart</c:v>
                  </c:pt>
                  <c:pt idx="1">
                    <c:v>Deutz</c:v>
                  </c:pt>
                  <c:pt idx="2">
                    <c:v>Demoiselle</c:v>
                  </c:pt>
                  <c:pt idx="3">
                    <c:v>Laurent Perrier</c:v>
                  </c:pt>
                  <c:pt idx="4">
                    <c:v>Nicolas</c:v>
                  </c:pt>
                  <c:pt idx="5">
                    <c:v>Nicolas Feuillatte</c:v>
                  </c:pt>
                  <c:pt idx="6">
                    <c:v>Besserat De Bellefon</c:v>
                  </c:pt>
                  <c:pt idx="7">
                    <c:v>Malard</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10"/>
          <c:min val="22"/>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6162C6E5-4A34-407B-BF4B-AB7F4152071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D871-46D6-BBFE-7C00E0D51738}"/>
                </c:ext>
              </c:extLst>
            </c:dLbl>
            <c:dLbl>
              <c:idx val="2"/>
              <c:tx>
                <c:rich>
                  <a:bodyPr/>
                  <a:lstStyle/>
                  <a:p>
                    <a:fld id="{EB8409C6-08FF-4750-B762-071C3AE1901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D871-46D6-BBFE-7C00E0D51738}"/>
                </c:ext>
              </c:extLst>
            </c:dLbl>
            <c:dLbl>
              <c:idx val="3"/>
              <c:tx>
                <c:rich>
                  <a:bodyPr/>
                  <a:lstStyle/>
                  <a:p>
                    <a:fld id="{DF4593B8-5D9B-4927-86A4-29341B07629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D871-46D6-BBFE-7C00E0D51738}"/>
                </c:ext>
              </c:extLst>
            </c:dLbl>
            <c:dLbl>
              <c:idx val="4"/>
              <c:tx>
                <c:rich>
                  <a:bodyPr/>
                  <a:lstStyle/>
                  <a:p>
                    <a:fld id="{D6B17169-2D76-408F-9B00-E311A79F279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D871-46D6-BBFE-7C00E0D51738}"/>
                </c:ext>
              </c:extLst>
            </c:dLbl>
            <c:dLbl>
              <c:idx val="5"/>
              <c:tx>
                <c:rich>
                  <a:bodyPr/>
                  <a:lstStyle/>
                  <a:p>
                    <a:fld id="{FA7F85CD-FEB3-48F8-9165-47377211A38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71-46D6-BBFE-7C00E0D51738}"/>
                </c:ext>
              </c:extLst>
            </c:dLbl>
            <c:dLbl>
              <c:idx val="6"/>
              <c:tx>
                <c:rich>
                  <a:bodyPr/>
                  <a:lstStyle/>
                  <a:p>
                    <a:fld id="{60C114A4-FE85-4126-B411-38A64B0808C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71-46D6-BBFE-7C00E0D51738}"/>
                </c:ext>
              </c:extLst>
            </c:dLbl>
            <c:dLbl>
              <c:idx val="7"/>
              <c:tx>
                <c:rich>
                  <a:bodyPr/>
                  <a:lstStyle/>
                  <a:p>
                    <a:fld id="{9CF59742-4164-4484-A6E1-5648BAC0F53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71-46D6-BBFE-7C00E0D51738}"/>
                </c:ext>
              </c:extLst>
            </c:dLbl>
            <c:dLbl>
              <c:idx val="8"/>
              <c:tx>
                <c:rich>
                  <a:bodyPr/>
                  <a:lstStyle/>
                  <a:p>
                    <a:fld id="{FBB5DE32-70C1-4D45-B12E-DDC9073137F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2.7821</c:v>
                </c:pt>
              </c:numCache>
            </c:numRef>
          </c:xVal>
          <c:yVal>
            <c:numRef>
              <c:f>Sheet1!$B$2:$B$2</c:f>
              <c:numCache>
                <c:formatCode>General</c:formatCode>
                <c:ptCount val="1"/>
                <c:pt idx="0">
                  <c:v>1</c:v>
                </c:pt>
              </c:numCache>
            </c:numRef>
          </c:yVal>
          <c:bubbleSize>
            <c:numRef>
              <c:f>Sheet1!$C$2:$C$2</c:f>
              <c:numCache>
                <c:formatCode>General</c:formatCode>
                <c:ptCount val="1"/>
                <c:pt idx="0">
                  <c:v>74724</c:v>
                </c:pt>
              </c:numCache>
            </c:numRef>
          </c:bubbleSize>
          <c:bubble3D val="0"/>
          <c:extLst>
            <c:ext xmlns:c15="http://schemas.microsoft.com/office/drawing/2012/chart" uri="{02D57815-91ED-43cb-92C2-25804820EDAC}">
              <c15:datalabelsRange>
                <c15:f>Sheet1!$E$2:$E$10</c15:f>
                <c15:dlblRangeCache>
                  <c:ptCount val="9"/>
                  <c:pt idx="0">
                    <c:v>Patriarche</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5"/>
          <c:min val="10"/>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CA-4C16-90F6-A0D9A3D8DA8E}"/>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CA-4C16-90F6-A0D9A3D8DA8E}"/>
                </c:ext>
              </c:extLst>
            </c:dLbl>
            <c:dLbl>
              <c:idx val="1"/>
              <c:tx>
                <c:rich>
                  <a:bodyPr/>
                  <a:lstStyle/>
                  <a:p>
                    <a:fld id="{4619812C-582B-473E-B31D-9711722BDB5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CA-4C16-90F6-A0D9A3D8DA8E}"/>
                </c:ext>
              </c:extLst>
            </c:dLbl>
            <c:dLbl>
              <c:idx val="2"/>
              <c:tx>
                <c:rich>
                  <a:bodyPr/>
                  <a:lstStyle/>
                  <a:p>
                    <a:fld id="{0CE6268B-1F8D-42CA-87AC-24CF501534D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CA-4C16-90F6-A0D9A3D8DA8E}"/>
                </c:ext>
              </c:extLst>
            </c:dLbl>
            <c:dLbl>
              <c:idx val="3"/>
              <c:tx>
                <c:rich>
                  <a:bodyPr/>
                  <a:lstStyle/>
                  <a:p>
                    <a:fld id="{E4183059-38E7-44C1-9556-73200D99C02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D8CA-4C16-90F6-A0D9A3D8DA8E}"/>
                </c:ext>
              </c:extLst>
            </c:dLbl>
            <c:dLbl>
              <c:idx val="4"/>
              <c:tx>
                <c:rich>
                  <a:bodyPr/>
                  <a:lstStyle/>
                  <a:p>
                    <a:fld id="{83D4E84B-31AC-4331-8382-622E5D53B10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D8CA-4C16-90F6-A0D9A3D8DA8E}"/>
                </c:ext>
              </c:extLst>
            </c:dLbl>
            <c:dLbl>
              <c:idx val="5"/>
              <c:tx>
                <c:rich>
                  <a:bodyPr/>
                  <a:lstStyle/>
                  <a:p>
                    <a:fld id="{E1C6C601-E2BC-4346-82F1-FB115E2EF22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CA-4C16-90F6-A0D9A3D8DA8E}"/>
                </c:ext>
              </c:extLst>
            </c:dLbl>
            <c:dLbl>
              <c:idx val="6"/>
              <c:tx>
                <c:rich>
                  <a:bodyPr/>
                  <a:lstStyle/>
                  <a:p>
                    <a:fld id="{79785679-FC47-49C5-BB07-6509EA45523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CA-4C16-90F6-A0D9A3D8DA8E}"/>
                </c:ext>
              </c:extLst>
            </c:dLbl>
            <c:dLbl>
              <c:idx val="7"/>
              <c:tx>
                <c:rich>
                  <a:bodyPr/>
                  <a:lstStyle/>
                  <a:p>
                    <a:fld id="{3E6E9346-2DB8-4103-9F55-4FF85399613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CA-4C16-90F6-A0D9A3D8DA8E}"/>
                </c:ext>
              </c:extLst>
            </c:dLbl>
            <c:dLbl>
              <c:idx val="8"/>
              <c:tx>
                <c:rich>
                  <a:bodyPr/>
                  <a:lstStyle/>
                  <a:p>
                    <a:fld id="{8816CC40-22C0-47A1-BF51-B2BEBF21E2A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CA-4C16-90F6-A0D9A3D8DA8E}"/>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1.4999</c:v>
                </c:pt>
                <c:pt idx="1">
                  <c:v>9.0538000000000007</c:v>
                </c:pt>
                <c:pt idx="2">
                  <c:v>11.5052</c:v>
                </c:pt>
              </c:numCache>
            </c:numRef>
          </c:xVal>
          <c:yVal>
            <c:numRef>
              <c:f>Sheet1!$B$2:$B$4</c:f>
              <c:numCache>
                <c:formatCode>General</c:formatCode>
                <c:ptCount val="3"/>
                <c:pt idx="0">
                  <c:v>1.2909999999999999</c:v>
                </c:pt>
                <c:pt idx="1">
                  <c:v>1.0169999999999999</c:v>
                </c:pt>
                <c:pt idx="2">
                  <c:v>1.08</c:v>
                </c:pt>
              </c:numCache>
            </c:numRef>
          </c:yVal>
          <c:bubbleSize>
            <c:numRef>
              <c:f>Sheet1!$C$2:$C$4</c:f>
              <c:numCache>
                <c:formatCode>General</c:formatCode>
                <c:ptCount val="3"/>
                <c:pt idx="0">
                  <c:v>82178</c:v>
                </c:pt>
                <c:pt idx="1">
                  <c:v>39538</c:v>
                </c:pt>
                <c:pt idx="2">
                  <c:v>12207</c:v>
                </c:pt>
              </c:numCache>
            </c:numRef>
          </c:bubbleSize>
          <c:bubble3D val="0"/>
          <c:extLst>
            <c:ext xmlns:c15="http://schemas.microsoft.com/office/drawing/2012/chart" uri="{02D57815-91ED-43cb-92C2-25804820EDAC}">
              <c15:datalabelsRange>
                <c15:f>Sheet1!$E$2:$E$10</c15:f>
                <c15:dlblRangeCache>
                  <c:ptCount val="9"/>
                  <c:pt idx="0">
                    <c:v>Bottega</c:v>
                  </c:pt>
                  <c:pt idx="1">
                    <c:v>Savian</c:v>
                  </c:pt>
                  <c:pt idx="2">
                    <c:v>Contarini</c:v>
                  </c:pt>
                </c15:dlblRangeCache>
              </c15:datalabelsRange>
            </c:ext>
            <c:ext xmlns:c16="http://schemas.microsoft.com/office/drawing/2014/chart" uri="{C3380CC4-5D6E-409C-BE32-E72D297353CC}">
              <c16:uniqueId val="{00000009-D8CA-4C16-90F6-A0D9A3D8DA8E}"/>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4"/>
          <c:min val="7"/>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0060C93-A564-401D-AF38-A5B9DFE9187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6B1EFA5-0055-470D-8155-0A99C51C607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D1A339E-7F59-49D5-9867-72059D03F2B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4073CF93-FDFC-485C-80CC-7676B99ED47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7E05314D-F6DE-40CF-B4ED-40A4E9D2B3C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759AF4AF-9081-4AE1-AFC1-4D15371A5B5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18F2CABB-1969-4166-8B5D-FFF05168671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3143F9A6-5D6B-4B06-A994-F0F67A30F78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1.6388</c:v>
                </c:pt>
                <c:pt idx="1">
                  <c:v>11.379899999999999</c:v>
                </c:pt>
                <c:pt idx="2">
                  <c:v>13.565200000000001</c:v>
                </c:pt>
              </c:numCache>
            </c:numRef>
          </c:xVal>
          <c:yVal>
            <c:numRef>
              <c:f>Sheet1!$B$2:$B$4</c:f>
              <c:numCache>
                <c:formatCode>General</c:formatCode>
                <c:ptCount val="3"/>
                <c:pt idx="0">
                  <c:v>0.97599999999999998</c:v>
                </c:pt>
                <c:pt idx="1">
                  <c:v>0.98899999999999999</c:v>
                </c:pt>
                <c:pt idx="2">
                  <c:v>1.177</c:v>
                </c:pt>
              </c:numCache>
            </c:numRef>
          </c:yVal>
          <c:bubbleSize>
            <c:numRef>
              <c:f>Sheet1!$C$2:$C$4</c:f>
              <c:numCache>
                <c:formatCode>General</c:formatCode>
                <c:ptCount val="3"/>
                <c:pt idx="0">
                  <c:v>50745</c:v>
                </c:pt>
                <c:pt idx="1">
                  <c:v>43528</c:v>
                </c:pt>
                <c:pt idx="2">
                  <c:v>23088</c:v>
                </c:pt>
              </c:numCache>
            </c:numRef>
          </c:bubbleSize>
          <c:bubble3D val="0"/>
          <c:extLst>
            <c:ext xmlns:c15="http://schemas.microsoft.com/office/drawing/2012/chart" uri="{02D57815-91ED-43cb-92C2-25804820EDAC}">
              <c15:datalabelsRange>
                <c15:f>Sheet1!$E$2:$E$10</c15:f>
                <c15:dlblRangeCache>
                  <c:ptCount val="9"/>
                  <c:pt idx="0">
                    <c:v>Bouvet-Ladubay</c:v>
                  </c:pt>
                  <c:pt idx="1">
                    <c:v>Chateau Moncontour</c:v>
                  </c:pt>
                  <c:pt idx="2">
                    <c:v>De Chancen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6"/>
          <c:min val="9"/>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A2FDF8BE-E949-4E33-95AD-8E1550ECCA9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48EF-49EC-8B4D-EC25A4464CE3}"/>
                </c:ext>
              </c:extLst>
            </c:dLbl>
            <c:dLbl>
              <c:idx val="2"/>
              <c:tx>
                <c:rich>
                  <a:bodyPr/>
                  <a:lstStyle/>
                  <a:p>
                    <a:fld id="{2FB11DDA-E29B-47E9-8A33-46DE176D8E4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48EF-49EC-8B4D-EC25A4464CE3}"/>
                </c:ext>
              </c:extLst>
            </c:dLbl>
            <c:dLbl>
              <c:idx val="3"/>
              <c:tx>
                <c:rich>
                  <a:bodyPr/>
                  <a:lstStyle/>
                  <a:p>
                    <a:fld id="{57BE7D88-9E75-4BCF-9472-6D421644C12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48EF-49EC-8B4D-EC25A4464CE3}"/>
                </c:ext>
              </c:extLst>
            </c:dLbl>
            <c:dLbl>
              <c:idx val="4"/>
              <c:tx>
                <c:rich>
                  <a:bodyPr/>
                  <a:lstStyle/>
                  <a:p>
                    <a:fld id="{C0181D9E-6BC7-46E9-A28A-9FB7466A10F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48EF-49EC-8B4D-EC25A4464CE3}"/>
                </c:ext>
              </c:extLst>
            </c:dLbl>
            <c:dLbl>
              <c:idx val="5"/>
              <c:tx>
                <c:rich>
                  <a:bodyPr/>
                  <a:lstStyle/>
                  <a:p>
                    <a:fld id="{A913DB5D-C55B-4BC9-9765-E3F7468D78D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48EF-49EC-8B4D-EC25A4464CE3}"/>
                </c:ext>
              </c:extLst>
            </c:dLbl>
            <c:dLbl>
              <c:idx val="6"/>
              <c:tx>
                <c:rich>
                  <a:bodyPr/>
                  <a:lstStyle/>
                  <a:p>
                    <a:fld id="{CA942419-B549-4D17-B91F-75E66EB23B9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48EF-49EC-8B4D-EC25A4464CE3}"/>
                </c:ext>
              </c:extLst>
            </c:dLbl>
            <c:dLbl>
              <c:idx val="7"/>
              <c:tx>
                <c:rich>
                  <a:bodyPr/>
                  <a:lstStyle/>
                  <a:p>
                    <a:fld id="{C68CDA40-0CF0-44FA-BB75-CA49676AA45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48EF-49EC-8B4D-EC25A4464CE3}"/>
                </c:ext>
              </c:extLst>
            </c:dLbl>
            <c:dLbl>
              <c:idx val="8"/>
              <c:tx>
                <c:rich>
                  <a:bodyPr/>
                  <a:lstStyle/>
                  <a:p>
                    <a:fld id="{98277F8B-FCEE-4227-B7B8-BBA5FD897C4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7.365600000000001</c:v>
                </c:pt>
              </c:numCache>
            </c:numRef>
          </c:xVal>
          <c:yVal>
            <c:numRef>
              <c:f>Sheet1!$B$2:$B$2</c:f>
              <c:numCache>
                <c:formatCode>General</c:formatCode>
                <c:ptCount val="1"/>
                <c:pt idx="0">
                  <c:v>1.224</c:v>
                </c:pt>
              </c:numCache>
            </c:numRef>
          </c:yVal>
          <c:bubbleSize>
            <c:numRef>
              <c:f>Sheet1!$C$2:$C$2</c:f>
              <c:numCache>
                <c:formatCode>General</c:formatCode>
                <c:ptCount val="1"/>
                <c:pt idx="0">
                  <c:v>70435</c:v>
                </c:pt>
              </c:numCache>
            </c:numRef>
          </c:bubbleSize>
          <c:bubble3D val="0"/>
          <c:extLst>
            <c:ext xmlns:c15="http://schemas.microsoft.com/office/drawing/2012/chart" uri="{02D57815-91ED-43cb-92C2-25804820EDAC}">
              <c15:datalabelsRange>
                <c15:f>Sheet1!$E$2:$E$10</c15:f>
                <c15:dlblRangeCache>
                  <c:ptCount val="9"/>
                  <c:pt idx="0">
                    <c:v>Mure</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
          <c:min val="14"/>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FC66C5A3-5E6A-4B1E-B6BE-944FA9EE028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66C9D462-CFA3-4757-84EC-00731B3E069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D871-46D6-BBFE-7C00E0D51738}"/>
                </c:ext>
              </c:extLst>
            </c:dLbl>
            <c:dLbl>
              <c:idx val="3"/>
              <c:tx>
                <c:rich>
                  <a:bodyPr/>
                  <a:lstStyle/>
                  <a:p>
                    <a:fld id="{5008D282-DC9F-461F-9A23-09A80C61EC6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D871-46D6-BBFE-7C00E0D51738}"/>
                </c:ext>
              </c:extLst>
            </c:dLbl>
            <c:dLbl>
              <c:idx val="4"/>
              <c:tx>
                <c:rich>
                  <a:bodyPr/>
                  <a:lstStyle/>
                  <a:p>
                    <a:fld id="{321D7C0F-2A39-4BF5-8ED3-37ED04D14C2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D871-46D6-BBFE-7C00E0D51738}"/>
                </c:ext>
              </c:extLst>
            </c:dLbl>
            <c:dLbl>
              <c:idx val="5"/>
              <c:tx>
                <c:rich>
                  <a:bodyPr/>
                  <a:lstStyle/>
                  <a:p>
                    <a:fld id="{D14355F1-1666-451F-AABD-8BE038F40D9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71-46D6-BBFE-7C00E0D51738}"/>
                </c:ext>
              </c:extLst>
            </c:dLbl>
            <c:dLbl>
              <c:idx val="6"/>
              <c:tx>
                <c:rich>
                  <a:bodyPr/>
                  <a:lstStyle/>
                  <a:p>
                    <a:fld id="{F3995D1A-BA00-46B7-9E9A-6DC535DD7EE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71-46D6-BBFE-7C00E0D51738}"/>
                </c:ext>
              </c:extLst>
            </c:dLbl>
            <c:dLbl>
              <c:idx val="7"/>
              <c:tx>
                <c:rich>
                  <a:bodyPr/>
                  <a:lstStyle/>
                  <a:p>
                    <a:fld id="{9D4F30C9-0541-4CB2-BAFA-97AD5448C96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71-46D6-BBFE-7C00E0D51738}"/>
                </c:ext>
              </c:extLst>
            </c:dLbl>
            <c:dLbl>
              <c:idx val="8"/>
              <c:tx>
                <c:rich>
                  <a:bodyPr/>
                  <a:lstStyle/>
                  <a:p>
                    <a:fld id="{7A66B275-4C62-4E83-9A8F-A527EAA0C05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10.6694</c:v>
                </c:pt>
                <c:pt idx="1">
                  <c:v>10.2857</c:v>
                </c:pt>
              </c:numCache>
            </c:numRef>
          </c:xVal>
          <c:yVal>
            <c:numRef>
              <c:f>Sheet1!$B$2:$B$3</c:f>
              <c:numCache>
                <c:formatCode>General</c:formatCode>
                <c:ptCount val="2"/>
                <c:pt idx="0">
                  <c:v>1.0129999999999999</c:v>
                </c:pt>
                <c:pt idx="1">
                  <c:v>0.81699999999999995</c:v>
                </c:pt>
              </c:numCache>
            </c:numRef>
          </c:yVal>
          <c:bubbleSize>
            <c:numRef>
              <c:f>Sheet1!$C$2:$C$3</c:f>
              <c:numCache>
                <c:formatCode>General</c:formatCode>
                <c:ptCount val="2"/>
                <c:pt idx="0">
                  <c:v>10392</c:v>
                </c:pt>
                <c:pt idx="1">
                  <c:v>576</c:v>
                </c:pt>
              </c:numCache>
            </c:numRef>
          </c:bubbleSize>
          <c:bubble3D val="0"/>
          <c:extLst>
            <c:ext xmlns:c15="http://schemas.microsoft.com/office/drawing/2012/chart" uri="{02D57815-91ED-43cb-92C2-25804820EDAC}">
              <c15:datalabelsRange>
                <c15:f>Sheet1!$E$2:$E$10</c15:f>
                <c15:dlblRangeCache>
                  <c:ptCount val="9"/>
                  <c:pt idx="0">
                    <c:v>Cru La Maqueline</c:v>
                  </c:pt>
                  <c:pt idx="1">
                    <c:v>Celene</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3"/>
          <c:min val="8"/>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D284EB8-2F7A-43AE-915F-937EBC805B6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2386F79-13DD-429F-9AE9-8311E769AF6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F97AAE4-09FD-4B41-8556-10AD893EE53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701B33B-AF47-4259-9C41-DFF48680880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8A96CB3-6660-4E5B-8DEA-DD7D610B48B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CA80F587-186F-4074-8816-987443322CB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52B8A209-D407-49F4-9117-D8B6417C921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AF543F3F-0F01-473D-AFD1-C1807FFA2FD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98.499899999999997</c:v>
                </c:pt>
                <c:pt idx="1">
                  <c:v>39.097499999999997</c:v>
                </c:pt>
                <c:pt idx="2">
                  <c:v>35.116300000000003</c:v>
                </c:pt>
                <c:pt idx="3">
                  <c:v>59.410200000000003</c:v>
                </c:pt>
                <c:pt idx="4">
                  <c:v>46.718200000000003</c:v>
                </c:pt>
                <c:pt idx="5">
                  <c:v>37.393700000000003</c:v>
                </c:pt>
                <c:pt idx="6">
                  <c:v>53.1616</c:v>
                </c:pt>
                <c:pt idx="7">
                  <c:v>75.871099999999998</c:v>
                </c:pt>
              </c:numCache>
            </c:numRef>
          </c:xVal>
          <c:yVal>
            <c:numRef>
              <c:f>Sheet1!$B$2:$B$9</c:f>
              <c:numCache>
                <c:formatCode>General</c:formatCode>
                <c:ptCount val="8"/>
                <c:pt idx="0">
                  <c:v>1.365</c:v>
                </c:pt>
                <c:pt idx="1">
                  <c:v>0.58299999999999996</c:v>
                </c:pt>
                <c:pt idx="2">
                  <c:v>0.49399999999999999</c:v>
                </c:pt>
                <c:pt idx="3">
                  <c:v>0.86299999999999999</c:v>
                </c:pt>
                <c:pt idx="4">
                  <c:v>0.65500000000000003</c:v>
                </c:pt>
                <c:pt idx="5">
                  <c:v>0.52600000000000002</c:v>
                </c:pt>
                <c:pt idx="6">
                  <c:v>0.73699999999999999</c:v>
                </c:pt>
                <c:pt idx="7">
                  <c:v>1.0549999999999999</c:v>
                </c:pt>
              </c:numCache>
            </c:numRef>
          </c:yVal>
          <c:bubbleSize>
            <c:numRef>
              <c:f>Sheet1!$C$2:$C$9</c:f>
              <c:numCache>
                <c:formatCode>General</c:formatCode>
                <c:ptCount val="8"/>
                <c:pt idx="0">
                  <c:v>1109404</c:v>
                </c:pt>
                <c:pt idx="1">
                  <c:v>118739</c:v>
                </c:pt>
                <c:pt idx="2">
                  <c:v>108439</c:v>
                </c:pt>
                <c:pt idx="3">
                  <c:v>72421</c:v>
                </c:pt>
                <c:pt idx="4">
                  <c:v>62509</c:v>
                </c:pt>
                <c:pt idx="5">
                  <c:v>38179</c:v>
                </c:pt>
                <c:pt idx="6">
                  <c:v>38170</c:v>
                </c:pt>
                <c:pt idx="7">
                  <c:v>36494</c:v>
                </c:pt>
              </c:numCache>
            </c:numRef>
          </c:bubbleSize>
          <c:bubble3D val="0"/>
          <c:extLst>
            <c:ext xmlns:c15="http://schemas.microsoft.com/office/drawing/2012/chart" uri="{02D57815-91ED-43cb-92C2-25804820EDAC}">
              <c15:datalabelsRange>
                <c15:f>Sheet1!$E$2:$E$10</c15:f>
                <c15:dlblRangeCache>
                  <c:ptCount val="9"/>
                  <c:pt idx="0">
                    <c:v>Ruinart</c:v>
                  </c:pt>
                  <c:pt idx="1">
                    <c:v>Nicolas</c:v>
                  </c:pt>
                  <c:pt idx="2">
                    <c:v>Malard</c:v>
                  </c:pt>
                  <c:pt idx="3">
                    <c:v>Besserat De Bellefon</c:v>
                  </c:pt>
                  <c:pt idx="4">
                    <c:v>Henriot</c:v>
                  </c:pt>
                  <c:pt idx="5">
                    <c:v>De Bligny</c:v>
                  </c:pt>
                  <c:pt idx="6">
                    <c:v>Delamotte</c:v>
                  </c:pt>
                  <c:pt idx="7">
                    <c:v>Ayala</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18"/>
          <c:min val="28"/>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C7219EC7-F0FD-4527-9DCE-1D57BB204E0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2BEC656D-F98B-4032-82E2-F093F471C5B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A45519F4-DFC7-4F96-8E5D-4D6A8233EB8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3F244B47-1283-4A31-AFA1-255A48DEC33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32924E2C-8C5E-4B18-83BA-774C2E4A0DC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F780CE32-F079-47D0-9EC1-47582CD94DA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389A93B6-83FE-4EBA-9729-9383433FF13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731C64DF-2882-4389-956E-2F0A1B3D1E8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57.5045</c:v>
                </c:pt>
                <c:pt idx="1">
                  <c:v>22.205500000000001</c:v>
                </c:pt>
                <c:pt idx="2">
                  <c:v>48.715699999999998</c:v>
                </c:pt>
                <c:pt idx="3">
                  <c:v>48.909500000000001</c:v>
                </c:pt>
                <c:pt idx="4">
                  <c:v>29.253399999999999</c:v>
                </c:pt>
                <c:pt idx="5">
                  <c:v>37.168799999999997</c:v>
                </c:pt>
                <c:pt idx="6">
                  <c:v>30.1663</c:v>
                </c:pt>
                <c:pt idx="7">
                  <c:v>30.159199999999998</c:v>
                </c:pt>
              </c:numCache>
            </c:numRef>
          </c:xVal>
          <c:yVal>
            <c:numRef>
              <c:f>Sheet1!$B$2:$B$9</c:f>
              <c:numCache>
                <c:formatCode>General</c:formatCode>
                <c:ptCount val="8"/>
                <c:pt idx="0">
                  <c:v>1.452</c:v>
                </c:pt>
                <c:pt idx="1">
                  <c:v>0.56899999999999995</c:v>
                </c:pt>
                <c:pt idx="2">
                  <c:v>1.202</c:v>
                </c:pt>
                <c:pt idx="3">
                  <c:v>1.1060000000000001</c:v>
                </c:pt>
                <c:pt idx="4">
                  <c:v>0.751</c:v>
                </c:pt>
                <c:pt idx="5">
                  <c:v>0.95499999999999996</c:v>
                </c:pt>
                <c:pt idx="6">
                  <c:v>0.79700000000000004</c:v>
                </c:pt>
                <c:pt idx="7">
                  <c:v>0.77400000000000002</c:v>
                </c:pt>
              </c:numCache>
            </c:numRef>
          </c:yVal>
          <c:bubbleSize>
            <c:numRef>
              <c:f>Sheet1!$C$2:$C$9</c:f>
              <c:numCache>
                <c:formatCode>General</c:formatCode>
                <c:ptCount val="8"/>
                <c:pt idx="0">
                  <c:v>2006389</c:v>
                </c:pt>
                <c:pt idx="1">
                  <c:v>1080677</c:v>
                </c:pt>
                <c:pt idx="2">
                  <c:v>937826</c:v>
                </c:pt>
                <c:pt idx="3">
                  <c:v>550525</c:v>
                </c:pt>
                <c:pt idx="4">
                  <c:v>468611</c:v>
                </c:pt>
                <c:pt idx="5">
                  <c:v>431232</c:v>
                </c:pt>
                <c:pt idx="6">
                  <c:v>414756</c:v>
                </c:pt>
                <c:pt idx="7">
                  <c:v>402293</c:v>
                </c:pt>
              </c:numCache>
            </c:numRef>
          </c:bubbleSize>
          <c:bubble3D val="0"/>
          <c:extLst>
            <c:ext xmlns:c15="http://schemas.microsoft.com/office/drawing/2012/chart" uri="{02D57815-91ED-43cb-92C2-25804820EDAC}">
              <c15:datalabelsRange>
                <c15:f>Sheet1!$E$2:$E$10</c15:f>
                <c15:dlblRangeCache>
                  <c:ptCount val="9"/>
                  <c:pt idx="0">
                    <c:v>Ruinart</c:v>
                  </c:pt>
                  <c:pt idx="1">
                    <c:v>Nicolas</c:v>
                  </c:pt>
                  <c:pt idx="2">
                    <c:v>Deutz</c:v>
                  </c:pt>
                  <c:pt idx="3">
                    <c:v>Laurent Perrier</c:v>
                  </c:pt>
                  <c:pt idx="4">
                    <c:v>Heidsieck &amp; Co Monopole</c:v>
                  </c:pt>
                  <c:pt idx="5">
                    <c:v>Ayala</c:v>
                  </c:pt>
                  <c:pt idx="6">
                    <c:v>Canard Duchêne</c:v>
                  </c:pt>
                  <c:pt idx="7">
                    <c:v>De Bligny</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9"/>
          <c:min val="18"/>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E802BAD8-9ABC-4DFB-9726-1C86D2CE259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1513264B-5503-42C5-8C10-6AF081C2906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71-46D6-BBFE-7C00E0D51738}"/>
                </c:ext>
              </c:extLst>
            </c:dLbl>
            <c:dLbl>
              <c:idx val="3"/>
              <c:tx>
                <c:rich>
                  <a:bodyPr/>
                  <a:lstStyle/>
                  <a:p>
                    <a:fld id="{CA8FA091-7E2A-4ACD-8509-483E0BA4EDE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71-46D6-BBFE-7C00E0D51738}"/>
                </c:ext>
              </c:extLst>
            </c:dLbl>
            <c:dLbl>
              <c:idx val="4"/>
              <c:tx>
                <c:rich>
                  <a:bodyPr/>
                  <a:lstStyle/>
                  <a:p>
                    <a:fld id="{61FFF973-B5BB-4CB0-826F-583FAB8719B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D871-46D6-BBFE-7C00E0D51738}"/>
                </c:ext>
              </c:extLst>
            </c:dLbl>
            <c:dLbl>
              <c:idx val="5"/>
              <c:tx>
                <c:rich>
                  <a:bodyPr/>
                  <a:lstStyle/>
                  <a:p>
                    <a:fld id="{B78B8395-2801-422D-BEB1-E2E71BB4B2E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71-46D6-BBFE-7C00E0D51738}"/>
                </c:ext>
              </c:extLst>
            </c:dLbl>
            <c:dLbl>
              <c:idx val="6"/>
              <c:tx>
                <c:rich>
                  <a:bodyPr/>
                  <a:lstStyle/>
                  <a:p>
                    <a:fld id="{76C0266B-A534-489C-B7D0-DD429C52DF2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71-46D6-BBFE-7C00E0D51738}"/>
                </c:ext>
              </c:extLst>
            </c:dLbl>
            <c:dLbl>
              <c:idx val="7"/>
              <c:tx>
                <c:rich>
                  <a:bodyPr/>
                  <a:lstStyle/>
                  <a:p>
                    <a:fld id="{8C2CBF31-F41A-433A-9FAA-C1E2AC5369D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71-46D6-BBFE-7C00E0D51738}"/>
                </c:ext>
              </c:extLst>
            </c:dLbl>
            <c:dLbl>
              <c:idx val="8"/>
              <c:tx>
                <c:rich>
                  <a:bodyPr/>
                  <a:lstStyle/>
                  <a:p>
                    <a:fld id="{E597564A-7D16-4CFE-B7D3-13E13EA29C9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29.588699999999999</c:v>
                </c:pt>
                <c:pt idx="1">
                  <c:v>30.354199999999999</c:v>
                </c:pt>
                <c:pt idx="2">
                  <c:v>31.344000000000001</c:v>
                </c:pt>
                <c:pt idx="3">
                  <c:v>35.375900000000001</c:v>
                </c:pt>
              </c:numCache>
            </c:numRef>
          </c:xVal>
          <c:yVal>
            <c:numRef>
              <c:f>Sheet1!$B$2:$B$5</c:f>
              <c:numCache>
                <c:formatCode>General</c:formatCode>
                <c:ptCount val="4"/>
                <c:pt idx="0">
                  <c:v>0.98799999999999999</c:v>
                </c:pt>
                <c:pt idx="1">
                  <c:v>1.014</c:v>
                </c:pt>
                <c:pt idx="2">
                  <c:v>1.044</c:v>
                </c:pt>
                <c:pt idx="3">
                  <c:v>1.095</c:v>
                </c:pt>
              </c:numCache>
            </c:numRef>
          </c:yVal>
          <c:bubbleSize>
            <c:numRef>
              <c:f>Sheet1!$C$2:$C$5</c:f>
              <c:numCache>
                <c:formatCode>General</c:formatCode>
                <c:ptCount val="4"/>
                <c:pt idx="0">
                  <c:v>452589</c:v>
                </c:pt>
                <c:pt idx="1">
                  <c:v>112098</c:v>
                </c:pt>
                <c:pt idx="2">
                  <c:v>59585</c:v>
                </c:pt>
                <c:pt idx="3">
                  <c:v>14398</c:v>
                </c:pt>
              </c:numCache>
            </c:numRef>
          </c:bubbleSize>
          <c:bubble3D val="0"/>
          <c:extLst>
            <c:ext xmlns:c15="http://schemas.microsoft.com/office/drawing/2012/chart" uri="{02D57815-91ED-43cb-92C2-25804820EDAC}">
              <c15:datalabelsRange>
                <c15:f>Sheet1!$E$2:$E$10</c15:f>
                <c15:dlblRangeCache>
                  <c:ptCount val="9"/>
                  <c:pt idx="0">
                    <c:v>Malard</c:v>
                  </c:pt>
                  <c:pt idx="1">
                    <c:v>Vesselle</c:v>
                  </c:pt>
                  <c:pt idx="2">
                    <c:v>Louis Martin</c:v>
                  </c:pt>
                  <c:pt idx="3">
                    <c:v>Nicolas</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2"/>
          <c:min val="24"/>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80A08B99-FEAD-46A0-A47B-5B5B1978EA5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AEF9A000-3D29-458F-AC53-B42D9E585CB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D871-46D6-BBFE-7C00E0D51738}"/>
                </c:ext>
              </c:extLst>
            </c:dLbl>
            <c:dLbl>
              <c:idx val="3"/>
              <c:tx>
                <c:rich>
                  <a:bodyPr/>
                  <a:lstStyle/>
                  <a:p>
                    <a:fld id="{D5BB4F5E-19DE-4152-838B-FC351F6B0CD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D871-46D6-BBFE-7C00E0D51738}"/>
                </c:ext>
              </c:extLst>
            </c:dLbl>
            <c:dLbl>
              <c:idx val="4"/>
              <c:tx>
                <c:rich>
                  <a:bodyPr/>
                  <a:lstStyle/>
                  <a:p>
                    <a:fld id="{97959A3E-C0A7-4024-B7DD-0EB8D9F8A7C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D871-46D6-BBFE-7C00E0D51738}"/>
                </c:ext>
              </c:extLst>
            </c:dLbl>
            <c:dLbl>
              <c:idx val="5"/>
              <c:tx>
                <c:rich>
                  <a:bodyPr/>
                  <a:lstStyle/>
                  <a:p>
                    <a:fld id="{5FA8E2AD-D064-4270-97F1-1D99C201DED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71-46D6-BBFE-7C00E0D51738}"/>
                </c:ext>
              </c:extLst>
            </c:dLbl>
            <c:dLbl>
              <c:idx val="6"/>
              <c:tx>
                <c:rich>
                  <a:bodyPr/>
                  <a:lstStyle/>
                  <a:p>
                    <a:fld id="{8E0905B2-4D48-4AF3-9CCD-9F920A42BDC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71-46D6-BBFE-7C00E0D51738}"/>
                </c:ext>
              </c:extLst>
            </c:dLbl>
            <c:dLbl>
              <c:idx val="7"/>
              <c:tx>
                <c:rich>
                  <a:bodyPr/>
                  <a:lstStyle/>
                  <a:p>
                    <a:fld id="{39E00C0F-5436-4869-810D-EBDA3DEC028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71-46D6-BBFE-7C00E0D51738}"/>
                </c:ext>
              </c:extLst>
            </c:dLbl>
            <c:dLbl>
              <c:idx val="8"/>
              <c:tx>
                <c:rich>
                  <a:bodyPr/>
                  <a:lstStyle/>
                  <a:p>
                    <a:fld id="{33A4BE3E-B0F2-45B2-98A9-DCA5B02CA54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29.107099999999999</c:v>
                </c:pt>
                <c:pt idx="1">
                  <c:v>11.3858</c:v>
                </c:pt>
              </c:numCache>
            </c:numRef>
          </c:xVal>
          <c:yVal>
            <c:numRef>
              <c:f>Sheet1!$B$2:$B$3</c:f>
              <c:numCache>
                <c:formatCode>General</c:formatCode>
                <c:ptCount val="2"/>
                <c:pt idx="0">
                  <c:v>1.679</c:v>
                </c:pt>
                <c:pt idx="1">
                  <c:v>0.65800000000000003</c:v>
                </c:pt>
              </c:numCache>
            </c:numRef>
          </c:yVal>
          <c:bubbleSize>
            <c:numRef>
              <c:f>Sheet1!$C$2:$C$3</c:f>
              <c:numCache>
                <c:formatCode>General</c:formatCode>
                <c:ptCount val="2"/>
                <c:pt idx="0">
                  <c:v>322623</c:v>
                </c:pt>
                <c:pt idx="1">
                  <c:v>219371</c:v>
                </c:pt>
              </c:numCache>
            </c:numRef>
          </c:bubbleSize>
          <c:bubble3D val="0"/>
          <c:extLst>
            <c:ext xmlns:c15="http://schemas.microsoft.com/office/drawing/2012/chart" uri="{02D57815-91ED-43cb-92C2-25804820EDAC}">
              <c15:datalabelsRange>
                <c15:f>Sheet1!$E$2:$E$10</c15:f>
                <c15:dlblRangeCache>
                  <c:ptCount val="9"/>
                  <c:pt idx="0">
                    <c:v>De Chanceny</c:v>
                  </c:pt>
                  <c:pt idx="1">
                    <c:v>Lyre's</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5"/>
          <c:min val="9"/>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CA-4C16-90F6-A0D9A3D8DA8E}"/>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CA-4C16-90F6-A0D9A3D8DA8E}"/>
                </c:ext>
              </c:extLst>
            </c:dLbl>
            <c:dLbl>
              <c:idx val="1"/>
              <c:tx>
                <c:rich>
                  <a:bodyPr/>
                  <a:lstStyle/>
                  <a:p>
                    <a:fld id="{47BE9DF0-0CFD-45C4-A94D-61C5D54EAAE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CA-4C16-90F6-A0D9A3D8DA8E}"/>
                </c:ext>
              </c:extLst>
            </c:dLbl>
            <c:dLbl>
              <c:idx val="2"/>
              <c:tx>
                <c:rich>
                  <a:bodyPr/>
                  <a:lstStyle/>
                  <a:p>
                    <a:fld id="{B0CF8F5D-EFFC-4BBD-A74D-44B29277890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CA-4C16-90F6-A0D9A3D8DA8E}"/>
                </c:ext>
              </c:extLst>
            </c:dLbl>
            <c:dLbl>
              <c:idx val="3"/>
              <c:tx>
                <c:rich>
                  <a:bodyPr/>
                  <a:lstStyle/>
                  <a:p>
                    <a:fld id="{7F8B55C5-5782-4AC8-940A-C4BF47B326A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D8CA-4C16-90F6-A0D9A3D8DA8E}"/>
                </c:ext>
              </c:extLst>
            </c:dLbl>
            <c:dLbl>
              <c:idx val="4"/>
              <c:tx>
                <c:rich>
                  <a:bodyPr/>
                  <a:lstStyle/>
                  <a:p>
                    <a:fld id="{69704A87-19AC-4B86-AE70-7C2891ABA01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D8CA-4C16-90F6-A0D9A3D8DA8E}"/>
                </c:ext>
              </c:extLst>
            </c:dLbl>
            <c:dLbl>
              <c:idx val="5"/>
              <c:tx>
                <c:rich>
                  <a:bodyPr/>
                  <a:lstStyle/>
                  <a:p>
                    <a:fld id="{58872FD6-DD03-4660-93DF-8C4E0D2549E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CA-4C16-90F6-A0D9A3D8DA8E}"/>
                </c:ext>
              </c:extLst>
            </c:dLbl>
            <c:dLbl>
              <c:idx val="6"/>
              <c:tx>
                <c:rich>
                  <a:bodyPr/>
                  <a:lstStyle/>
                  <a:p>
                    <a:fld id="{F96E77AC-F988-484A-A4AB-6A068F3C71C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CA-4C16-90F6-A0D9A3D8DA8E}"/>
                </c:ext>
              </c:extLst>
            </c:dLbl>
            <c:dLbl>
              <c:idx val="7"/>
              <c:tx>
                <c:rich>
                  <a:bodyPr/>
                  <a:lstStyle/>
                  <a:p>
                    <a:fld id="{57ABAA1C-4EFB-4CF9-90AA-543D4D0EF48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CA-4C16-90F6-A0D9A3D8DA8E}"/>
                </c:ext>
              </c:extLst>
            </c:dLbl>
            <c:dLbl>
              <c:idx val="8"/>
              <c:tx>
                <c:rich>
                  <a:bodyPr/>
                  <a:lstStyle/>
                  <a:p>
                    <a:fld id="{05FAABE7-D3C2-4774-8F02-D2C8297BE94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CA-4C16-90F6-A0D9A3D8DA8E}"/>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31.094999999999999</c:v>
                </c:pt>
                <c:pt idx="1">
                  <c:v>43.808300000000003</c:v>
                </c:pt>
                <c:pt idx="2">
                  <c:v>38.920200000000001</c:v>
                </c:pt>
              </c:numCache>
            </c:numRef>
          </c:xVal>
          <c:yVal>
            <c:numRef>
              <c:f>Sheet1!$B$2:$B$4</c:f>
              <c:numCache>
                <c:formatCode>General</c:formatCode>
                <c:ptCount val="3"/>
                <c:pt idx="0">
                  <c:v>0.94099999999999995</c:v>
                </c:pt>
                <c:pt idx="1">
                  <c:v>1.325</c:v>
                </c:pt>
                <c:pt idx="2">
                  <c:v>1.161</c:v>
                </c:pt>
              </c:numCache>
            </c:numRef>
          </c:yVal>
          <c:bubbleSize>
            <c:numRef>
              <c:f>Sheet1!$C$2:$C$4</c:f>
              <c:numCache>
                <c:formatCode>General</c:formatCode>
                <c:ptCount val="3"/>
                <c:pt idx="0">
                  <c:v>410703</c:v>
                </c:pt>
                <c:pt idx="1">
                  <c:v>99620</c:v>
                </c:pt>
                <c:pt idx="2">
                  <c:v>7317</c:v>
                </c:pt>
              </c:numCache>
            </c:numRef>
          </c:bubbleSize>
          <c:bubble3D val="0"/>
          <c:extLst>
            <c:ext xmlns:c15="http://schemas.microsoft.com/office/drawing/2012/chart" uri="{02D57815-91ED-43cb-92C2-25804820EDAC}">
              <c15:datalabelsRange>
                <c15:f>Sheet1!$E$2:$E$10</c15:f>
                <c15:dlblRangeCache>
                  <c:ptCount val="9"/>
                  <c:pt idx="0">
                    <c:v>Nicolas Feuillatte</c:v>
                  </c:pt>
                  <c:pt idx="1">
                    <c:v>Moët &amp; Chandon</c:v>
                  </c:pt>
                  <c:pt idx="2">
                    <c:v>Canard Duchêne</c:v>
                  </c:pt>
                </c15:dlblRangeCache>
              </c15:datalabelsRange>
            </c:ext>
            <c:ext xmlns:c16="http://schemas.microsoft.com/office/drawing/2014/chart" uri="{C3380CC4-5D6E-409C-BE32-E72D297353CC}">
              <c16:uniqueId val="{00000009-D8CA-4C16-90F6-A0D9A3D8DA8E}"/>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3"/>
          <c:min val="25"/>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90542A2-F910-4DA4-936D-E5A3623314E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0560F0D-DAFF-4D61-88D2-8E58105EAFA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52544F5-8D30-4EB5-9015-481FBF9387E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F781EB5-9514-461B-A437-5059F038EB3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362A2B5-3F54-4E59-BBF8-68668A537EC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5B89C0F-F5C2-4954-AD40-572901CEE07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64EDA111-D6D8-43B8-BEF6-67C564292D6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34520A54-AAB0-4C7B-AFCD-82E97FD2AEB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60.51639999999998</c:v>
                </c:pt>
                <c:pt idx="1">
                  <c:v>165.85769999999999</c:v>
                </c:pt>
                <c:pt idx="2">
                  <c:v>94.170299999999997</c:v>
                </c:pt>
                <c:pt idx="3">
                  <c:v>37.135100000000001</c:v>
                </c:pt>
                <c:pt idx="4">
                  <c:v>271.21949999999998</c:v>
                </c:pt>
                <c:pt idx="5">
                  <c:v>227.80430000000001</c:v>
                </c:pt>
                <c:pt idx="6">
                  <c:v>64.681399999999996</c:v>
                </c:pt>
                <c:pt idx="7">
                  <c:v>232.8065</c:v>
                </c:pt>
              </c:numCache>
            </c:numRef>
          </c:xVal>
          <c:yVal>
            <c:numRef>
              <c:f>Sheet1!$B$2:$B$9</c:f>
              <c:numCache>
                <c:formatCode>General</c:formatCode>
                <c:ptCount val="8"/>
                <c:pt idx="0">
                  <c:v>1.883</c:v>
                </c:pt>
                <c:pt idx="1">
                  <c:v>1.165</c:v>
                </c:pt>
                <c:pt idx="2">
                  <c:v>0.68300000000000005</c:v>
                </c:pt>
                <c:pt idx="3">
                  <c:v>0.27300000000000002</c:v>
                </c:pt>
                <c:pt idx="4">
                  <c:v>1.6559999999999999</c:v>
                </c:pt>
                <c:pt idx="5">
                  <c:v>1.375</c:v>
                </c:pt>
                <c:pt idx="6">
                  <c:v>0.46300000000000002</c:v>
                </c:pt>
                <c:pt idx="7">
                  <c:v>1.5289999999999999</c:v>
                </c:pt>
              </c:numCache>
            </c:numRef>
          </c:yVal>
          <c:bubbleSize>
            <c:numRef>
              <c:f>Sheet1!$C$2:$C$9</c:f>
              <c:numCache>
                <c:formatCode>General</c:formatCode>
                <c:ptCount val="8"/>
                <c:pt idx="0">
                  <c:v>222481</c:v>
                </c:pt>
                <c:pt idx="1">
                  <c:v>129369</c:v>
                </c:pt>
                <c:pt idx="2">
                  <c:v>59704</c:v>
                </c:pt>
                <c:pt idx="3">
                  <c:v>37655</c:v>
                </c:pt>
                <c:pt idx="4">
                  <c:v>11120</c:v>
                </c:pt>
                <c:pt idx="5">
                  <c:v>10479</c:v>
                </c:pt>
                <c:pt idx="6">
                  <c:v>7309</c:v>
                </c:pt>
                <c:pt idx="7">
                  <c:v>7217</c:v>
                </c:pt>
              </c:numCache>
            </c:numRef>
          </c:bubbleSize>
          <c:bubble3D val="0"/>
          <c:extLst>
            <c:ext xmlns:c15="http://schemas.microsoft.com/office/drawing/2012/chart" uri="{02D57815-91ED-43cb-92C2-25804820EDAC}">
              <c15:datalabelsRange>
                <c15:f>Sheet1!$E$2:$E$10</c15:f>
                <c15:dlblRangeCache>
                  <c:ptCount val="9"/>
                  <c:pt idx="0">
                    <c:v>Dom Perignon</c:v>
                  </c:pt>
                  <c:pt idx="1">
                    <c:v>Roederer</c:v>
                  </c:pt>
                  <c:pt idx="2">
                    <c:v>Ruinart</c:v>
                  </c:pt>
                  <c:pt idx="3">
                    <c:v>Malard</c:v>
                  </c:pt>
                  <c:pt idx="4">
                    <c:v>Piper Heidsieck</c:v>
                  </c:pt>
                  <c:pt idx="5">
                    <c:v>Bollinger</c:v>
                  </c:pt>
                  <c:pt idx="6">
                    <c:v>Laurent Perrier</c:v>
                  </c:pt>
                  <c:pt idx="7">
                    <c:v>Pommer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25"/>
          <c:min val="30"/>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1A01C197-A576-43A8-B539-341C683EB9D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89792633-6C4D-4C2D-B5CE-97CCB9EEA4A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DFAFB25C-DA13-413C-BAF8-DC16A898545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B069D4E4-28EF-4830-BFB2-091B350127A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557D5DCF-6C9F-4253-AC49-790992512CE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007955E2-4E7D-4A4D-9162-34C8F3E8CD3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7F0422C2-26EF-4996-BB76-CF1165C41F3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08434916-12C4-4CFF-B124-3E17C5D7FD5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90.765900000000002</c:v>
                </c:pt>
                <c:pt idx="1">
                  <c:v>52.744999999999997</c:v>
                </c:pt>
                <c:pt idx="2">
                  <c:v>37.506500000000003</c:v>
                </c:pt>
                <c:pt idx="3">
                  <c:v>27.058199999999999</c:v>
                </c:pt>
                <c:pt idx="4">
                  <c:v>81.447900000000004</c:v>
                </c:pt>
                <c:pt idx="5">
                  <c:v>37.611499999999999</c:v>
                </c:pt>
                <c:pt idx="6">
                  <c:v>41.043500000000002</c:v>
                </c:pt>
                <c:pt idx="7">
                  <c:v>36.133699999999997</c:v>
                </c:pt>
              </c:numCache>
            </c:numRef>
          </c:xVal>
          <c:yVal>
            <c:numRef>
              <c:f>Sheet1!$B$2:$B$9</c:f>
              <c:numCache>
                <c:formatCode>General</c:formatCode>
                <c:ptCount val="8"/>
                <c:pt idx="0">
                  <c:v>1.7350000000000001</c:v>
                </c:pt>
                <c:pt idx="1">
                  <c:v>1.0980000000000001</c:v>
                </c:pt>
                <c:pt idx="2">
                  <c:v>0.69799999999999995</c:v>
                </c:pt>
                <c:pt idx="3">
                  <c:v>0.54200000000000004</c:v>
                </c:pt>
                <c:pt idx="4">
                  <c:v>1.5089999999999999</c:v>
                </c:pt>
                <c:pt idx="5">
                  <c:v>0.70199999999999996</c:v>
                </c:pt>
                <c:pt idx="6">
                  <c:v>0.91600000000000004</c:v>
                </c:pt>
                <c:pt idx="7">
                  <c:v>0.67400000000000004</c:v>
                </c:pt>
              </c:numCache>
            </c:numRef>
          </c:yVal>
          <c:bubbleSize>
            <c:numRef>
              <c:f>Sheet1!$C$2:$C$9</c:f>
              <c:numCache>
                <c:formatCode>General</c:formatCode>
                <c:ptCount val="8"/>
                <c:pt idx="0">
                  <c:v>277653</c:v>
                </c:pt>
                <c:pt idx="1">
                  <c:v>140671</c:v>
                </c:pt>
                <c:pt idx="2">
                  <c:v>112332</c:v>
                </c:pt>
                <c:pt idx="3">
                  <c:v>93973</c:v>
                </c:pt>
                <c:pt idx="4">
                  <c:v>83647</c:v>
                </c:pt>
                <c:pt idx="5">
                  <c:v>53145</c:v>
                </c:pt>
                <c:pt idx="6">
                  <c:v>45271</c:v>
                </c:pt>
                <c:pt idx="7">
                  <c:v>41337</c:v>
                </c:pt>
              </c:numCache>
            </c:numRef>
          </c:bubbleSize>
          <c:bubble3D val="0"/>
          <c:extLst>
            <c:ext xmlns:c15="http://schemas.microsoft.com/office/drawing/2012/chart" uri="{02D57815-91ED-43cb-92C2-25804820EDAC}">
              <c15:datalabelsRange>
                <c15:f>Sheet1!$E$2:$E$10</c15:f>
                <c15:dlblRangeCache>
                  <c:ptCount val="9"/>
                  <c:pt idx="0">
                    <c:v>Ruinart</c:v>
                  </c:pt>
                  <c:pt idx="1">
                    <c:v>Deutz</c:v>
                  </c:pt>
                  <c:pt idx="2">
                    <c:v>Demoiselle</c:v>
                  </c:pt>
                  <c:pt idx="3">
                    <c:v>Nicolas</c:v>
                  </c:pt>
                  <c:pt idx="4">
                    <c:v>Laurent Perrier</c:v>
                  </c:pt>
                  <c:pt idx="5">
                    <c:v>Nicolas Feuillatte</c:v>
                  </c:pt>
                  <c:pt idx="6">
                    <c:v>Besserat De Bellefon</c:v>
                  </c:pt>
                  <c:pt idx="7">
                    <c:v>Malard</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09"/>
          <c:min val="22"/>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34D5747A-03BF-4108-948B-54023DC0E08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D871-46D6-BBFE-7C00E0D51738}"/>
                </c:ext>
              </c:extLst>
            </c:dLbl>
            <c:dLbl>
              <c:idx val="2"/>
              <c:tx>
                <c:rich>
                  <a:bodyPr/>
                  <a:lstStyle/>
                  <a:p>
                    <a:fld id="{D217D3DC-35F6-4EE1-90B2-470714F8BC5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D871-46D6-BBFE-7C00E0D51738}"/>
                </c:ext>
              </c:extLst>
            </c:dLbl>
            <c:dLbl>
              <c:idx val="3"/>
              <c:tx>
                <c:rich>
                  <a:bodyPr/>
                  <a:lstStyle/>
                  <a:p>
                    <a:fld id="{5212530C-2A38-4F7C-A08D-0053E653367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D871-46D6-BBFE-7C00E0D51738}"/>
                </c:ext>
              </c:extLst>
            </c:dLbl>
            <c:dLbl>
              <c:idx val="4"/>
              <c:tx>
                <c:rich>
                  <a:bodyPr/>
                  <a:lstStyle/>
                  <a:p>
                    <a:fld id="{B7696491-8026-4759-96CB-BAB4EF6F1F0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D871-46D6-BBFE-7C00E0D51738}"/>
                </c:ext>
              </c:extLst>
            </c:dLbl>
            <c:dLbl>
              <c:idx val="5"/>
              <c:tx>
                <c:rich>
                  <a:bodyPr/>
                  <a:lstStyle/>
                  <a:p>
                    <a:fld id="{7BB38B8F-CE78-4822-A94F-C03C7E24E01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71-46D6-BBFE-7C00E0D51738}"/>
                </c:ext>
              </c:extLst>
            </c:dLbl>
            <c:dLbl>
              <c:idx val="6"/>
              <c:tx>
                <c:rich>
                  <a:bodyPr/>
                  <a:lstStyle/>
                  <a:p>
                    <a:fld id="{FDE69E2C-9F88-49F3-ABE3-5B701514AB3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71-46D6-BBFE-7C00E0D51738}"/>
                </c:ext>
              </c:extLst>
            </c:dLbl>
            <c:dLbl>
              <c:idx val="7"/>
              <c:tx>
                <c:rich>
                  <a:bodyPr/>
                  <a:lstStyle/>
                  <a:p>
                    <a:fld id="{52D8A42E-47D4-4F1E-ACBD-3EB5075F8CC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71-46D6-BBFE-7C00E0D51738}"/>
                </c:ext>
              </c:extLst>
            </c:dLbl>
            <c:dLbl>
              <c:idx val="8"/>
              <c:tx>
                <c:rich>
                  <a:bodyPr/>
                  <a:lstStyle/>
                  <a:p>
                    <a:fld id="{D9C4EE1C-496F-4363-8B84-8A9D7356B01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2.696099999999999</c:v>
                </c:pt>
              </c:numCache>
            </c:numRef>
          </c:xVal>
          <c:yVal>
            <c:numRef>
              <c:f>Sheet1!$B$2:$B$2</c:f>
              <c:numCache>
                <c:formatCode>General</c:formatCode>
                <c:ptCount val="1"/>
                <c:pt idx="0">
                  <c:v>1</c:v>
                </c:pt>
              </c:numCache>
            </c:numRef>
          </c:yVal>
          <c:bubbleSize>
            <c:numRef>
              <c:f>Sheet1!$C$2:$C$2</c:f>
              <c:numCache>
                <c:formatCode>General</c:formatCode>
                <c:ptCount val="1"/>
                <c:pt idx="0">
                  <c:v>111713</c:v>
                </c:pt>
              </c:numCache>
            </c:numRef>
          </c:bubbleSize>
          <c:bubble3D val="0"/>
          <c:extLst>
            <c:ext xmlns:c15="http://schemas.microsoft.com/office/drawing/2012/chart" uri="{02D57815-91ED-43cb-92C2-25804820EDAC}">
              <c15:datalabelsRange>
                <c15:f>Sheet1!$E$2:$E$10</c15:f>
                <c15:dlblRangeCache>
                  <c:ptCount val="9"/>
                  <c:pt idx="0">
                    <c:v>Patriarche</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5"/>
          <c:min val="10"/>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CA-4C16-90F6-A0D9A3D8DA8E}"/>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CA-4C16-90F6-A0D9A3D8DA8E}"/>
                </c:ext>
              </c:extLst>
            </c:dLbl>
            <c:dLbl>
              <c:idx val="1"/>
              <c:tx>
                <c:rich>
                  <a:bodyPr/>
                  <a:lstStyle/>
                  <a:p>
                    <a:fld id="{F7C1EDFC-7DA4-40D0-B0B3-B499A646476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CA-4C16-90F6-A0D9A3D8DA8E}"/>
                </c:ext>
              </c:extLst>
            </c:dLbl>
            <c:dLbl>
              <c:idx val="2"/>
              <c:tx>
                <c:rich>
                  <a:bodyPr/>
                  <a:lstStyle/>
                  <a:p>
                    <a:fld id="{9D40F2B8-88E3-44C0-A05D-254E89B3A3E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CA-4C16-90F6-A0D9A3D8DA8E}"/>
                </c:ext>
              </c:extLst>
            </c:dLbl>
            <c:dLbl>
              <c:idx val="3"/>
              <c:tx>
                <c:rich>
                  <a:bodyPr/>
                  <a:lstStyle/>
                  <a:p>
                    <a:fld id="{881515CA-A8CC-4522-8779-22D25D98A75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D8CA-4C16-90F6-A0D9A3D8DA8E}"/>
                </c:ext>
              </c:extLst>
            </c:dLbl>
            <c:dLbl>
              <c:idx val="4"/>
              <c:tx>
                <c:rich>
                  <a:bodyPr/>
                  <a:lstStyle/>
                  <a:p>
                    <a:fld id="{32429D3A-BBC3-4B61-9913-79D97F79FB8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D8CA-4C16-90F6-A0D9A3D8DA8E}"/>
                </c:ext>
              </c:extLst>
            </c:dLbl>
            <c:dLbl>
              <c:idx val="5"/>
              <c:tx>
                <c:rich>
                  <a:bodyPr/>
                  <a:lstStyle/>
                  <a:p>
                    <a:fld id="{35FC7961-7415-4BB5-AF39-E47F80C96CE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CA-4C16-90F6-A0D9A3D8DA8E}"/>
                </c:ext>
              </c:extLst>
            </c:dLbl>
            <c:dLbl>
              <c:idx val="6"/>
              <c:tx>
                <c:rich>
                  <a:bodyPr/>
                  <a:lstStyle/>
                  <a:p>
                    <a:fld id="{623677DE-4915-450C-8A1E-0C1E1D1A842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CA-4C16-90F6-A0D9A3D8DA8E}"/>
                </c:ext>
              </c:extLst>
            </c:dLbl>
            <c:dLbl>
              <c:idx val="7"/>
              <c:tx>
                <c:rich>
                  <a:bodyPr/>
                  <a:lstStyle/>
                  <a:p>
                    <a:fld id="{DDF74D42-81C8-40CC-9166-D32ED4F5274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CA-4C16-90F6-A0D9A3D8DA8E}"/>
                </c:ext>
              </c:extLst>
            </c:dLbl>
            <c:dLbl>
              <c:idx val="8"/>
              <c:tx>
                <c:rich>
                  <a:bodyPr/>
                  <a:lstStyle/>
                  <a:p>
                    <a:fld id="{111F6EF3-1D21-4947-9008-C83308E4B94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CA-4C16-90F6-A0D9A3D8DA8E}"/>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1.404999999999999</c:v>
                </c:pt>
                <c:pt idx="1">
                  <c:v>9.0840999999999994</c:v>
                </c:pt>
                <c:pt idx="2">
                  <c:v>11.535</c:v>
                </c:pt>
              </c:numCache>
            </c:numRef>
          </c:xVal>
          <c:yVal>
            <c:numRef>
              <c:f>Sheet1!$B$2:$B$4</c:f>
              <c:numCache>
                <c:formatCode>General</c:formatCode>
                <c:ptCount val="3"/>
                <c:pt idx="0">
                  <c:v>1.266</c:v>
                </c:pt>
                <c:pt idx="1">
                  <c:v>1.008</c:v>
                </c:pt>
                <c:pt idx="2">
                  <c:v>1.07</c:v>
                </c:pt>
              </c:numCache>
            </c:numRef>
          </c:yVal>
          <c:bubbleSize>
            <c:numRef>
              <c:f>Sheet1!$C$2:$C$4</c:f>
              <c:numCache>
                <c:formatCode>General</c:formatCode>
                <c:ptCount val="3"/>
                <c:pt idx="0">
                  <c:v>150888</c:v>
                </c:pt>
                <c:pt idx="1">
                  <c:v>86281</c:v>
                </c:pt>
                <c:pt idx="2">
                  <c:v>19102</c:v>
                </c:pt>
              </c:numCache>
            </c:numRef>
          </c:bubbleSize>
          <c:bubble3D val="0"/>
          <c:extLst>
            <c:ext xmlns:c15="http://schemas.microsoft.com/office/drawing/2012/chart" uri="{02D57815-91ED-43cb-92C2-25804820EDAC}">
              <c15:datalabelsRange>
                <c15:f>Sheet1!$E$2:$E$10</c15:f>
                <c15:dlblRangeCache>
                  <c:ptCount val="9"/>
                  <c:pt idx="0">
                    <c:v>Bottega</c:v>
                  </c:pt>
                  <c:pt idx="1">
                    <c:v>Savian</c:v>
                  </c:pt>
                  <c:pt idx="2">
                    <c:v>Contarini</c:v>
                  </c:pt>
                </c15:dlblRangeCache>
              </c15:datalabelsRange>
            </c:ext>
            <c:ext xmlns:c16="http://schemas.microsoft.com/office/drawing/2014/chart" uri="{C3380CC4-5D6E-409C-BE32-E72D297353CC}">
              <c16:uniqueId val="{00000009-D8CA-4C16-90F6-A0D9A3D8DA8E}"/>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4"/>
          <c:min val="7"/>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E8A1539-A038-4EBD-B066-7CA851599F5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6CA4909-3930-4187-B399-9DFEA2A5CC2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BF33796-69DE-4B88-9F58-626ADAA99E8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C56FDD26-0BB4-4473-8717-BFD81278137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A4B700D0-CF84-48B8-8973-BF87B08A7F9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8170372F-00AE-4BEB-AE53-4EBBABBBFF1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BF7EC436-076E-4985-A924-812018CC5F1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FF6D0211-9A07-40C5-9359-4E86B7CA24D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1.7463</c:v>
                </c:pt>
                <c:pt idx="1">
                  <c:v>11.4129</c:v>
                </c:pt>
                <c:pt idx="2">
                  <c:v>13.5061</c:v>
                </c:pt>
              </c:numCache>
            </c:numRef>
          </c:xVal>
          <c:yVal>
            <c:numRef>
              <c:f>Sheet1!$B$2:$B$4</c:f>
              <c:numCache>
                <c:formatCode>General</c:formatCode>
                <c:ptCount val="3"/>
                <c:pt idx="0">
                  <c:v>0.96699999999999997</c:v>
                </c:pt>
                <c:pt idx="1">
                  <c:v>0.97799999999999998</c:v>
                </c:pt>
                <c:pt idx="2">
                  <c:v>1.155</c:v>
                </c:pt>
              </c:numCache>
            </c:numRef>
          </c:yVal>
          <c:bubbleSize>
            <c:numRef>
              <c:f>Sheet1!$C$2:$C$4</c:f>
              <c:numCache>
                <c:formatCode>General</c:formatCode>
                <c:ptCount val="3"/>
                <c:pt idx="0">
                  <c:v>74413</c:v>
                </c:pt>
                <c:pt idx="1">
                  <c:v>70235</c:v>
                </c:pt>
                <c:pt idx="2">
                  <c:v>42355</c:v>
                </c:pt>
              </c:numCache>
            </c:numRef>
          </c:bubbleSize>
          <c:bubble3D val="0"/>
          <c:extLst>
            <c:ext xmlns:c15="http://schemas.microsoft.com/office/drawing/2012/chart" uri="{02D57815-91ED-43cb-92C2-25804820EDAC}">
              <c15:datalabelsRange>
                <c15:f>Sheet1!$E$2:$E$10</c15:f>
                <c15:dlblRangeCache>
                  <c:ptCount val="9"/>
                  <c:pt idx="0">
                    <c:v>Bouvet-Ladubay</c:v>
                  </c:pt>
                  <c:pt idx="1">
                    <c:v>Chateau Moncontour</c:v>
                  </c:pt>
                  <c:pt idx="2">
                    <c:v>De Chancen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6"/>
          <c:min val="9"/>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68219AA4-5795-4566-9ECA-5748C9F7A0D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48EF-49EC-8B4D-EC25A4464CE3}"/>
                </c:ext>
              </c:extLst>
            </c:dLbl>
            <c:dLbl>
              <c:idx val="2"/>
              <c:tx>
                <c:rich>
                  <a:bodyPr/>
                  <a:lstStyle/>
                  <a:p>
                    <a:fld id="{E5D3D4DA-E766-4FD5-94F6-FF5DC4177A9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48EF-49EC-8B4D-EC25A4464CE3}"/>
                </c:ext>
              </c:extLst>
            </c:dLbl>
            <c:dLbl>
              <c:idx val="3"/>
              <c:tx>
                <c:rich>
                  <a:bodyPr/>
                  <a:lstStyle/>
                  <a:p>
                    <a:fld id="{12BCB121-7BBF-4D49-A200-3FC3917577C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48EF-49EC-8B4D-EC25A4464CE3}"/>
                </c:ext>
              </c:extLst>
            </c:dLbl>
            <c:dLbl>
              <c:idx val="4"/>
              <c:tx>
                <c:rich>
                  <a:bodyPr/>
                  <a:lstStyle/>
                  <a:p>
                    <a:fld id="{80899467-6903-4D1E-A608-085C05F420E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48EF-49EC-8B4D-EC25A4464CE3}"/>
                </c:ext>
              </c:extLst>
            </c:dLbl>
            <c:dLbl>
              <c:idx val="5"/>
              <c:tx>
                <c:rich>
                  <a:bodyPr/>
                  <a:lstStyle/>
                  <a:p>
                    <a:fld id="{BC276AF0-1BA4-4E14-8F3B-1B2B21CC47C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48EF-49EC-8B4D-EC25A4464CE3}"/>
                </c:ext>
              </c:extLst>
            </c:dLbl>
            <c:dLbl>
              <c:idx val="6"/>
              <c:tx>
                <c:rich>
                  <a:bodyPr/>
                  <a:lstStyle/>
                  <a:p>
                    <a:fld id="{35FFF599-13A8-4F52-B016-71605DDD210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48EF-49EC-8B4D-EC25A4464CE3}"/>
                </c:ext>
              </c:extLst>
            </c:dLbl>
            <c:dLbl>
              <c:idx val="7"/>
              <c:tx>
                <c:rich>
                  <a:bodyPr/>
                  <a:lstStyle/>
                  <a:p>
                    <a:fld id="{E8101D57-B407-4150-853B-BDD054AF6F3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48EF-49EC-8B4D-EC25A4464CE3}"/>
                </c:ext>
              </c:extLst>
            </c:dLbl>
            <c:dLbl>
              <c:idx val="8"/>
              <c:tx>
                <c:rich>
                  <a:bodyPr/>
                  <a:lstStyle/>
                  <a:p>
                    <a:fld id="{9A8AD074-486E-4A68-8FE2-289ED4A2047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7.397300000000001</c:v>
                </c:pt>
              </c:numCache>
            </c:numRef>
          </c:xVal>
          <c:yVal>
            <c:numRef>
              <c:f>Sheet1!$B$2:$B$2</c:f>
              <c:numCache>
                <c:formatCode>General</c:formatCode>
                <c:ptCount val="1"/>
                <c:pt idx="0">
                  <c:v>1.0489999999999999</c:v>
                </c:pt>
              </c:numCache>
            </c:numRef>
          </c:yVal>
          <c:bubbleSize>
            <c:numRef>
              <c:f>Sheet1!$C$2:$C$2</c:f>
              <c:numCache>
                <c:formatCode>General</c:formatCode>
                <c:ptCount val="1"/>
                <c:pt idx="0">
                  <c:v>76009</c:v>
                </c:pt>
              </c:numCache>
            </c:numRef>
          </c:bubbleSize>
          <c:bubble3D val="0"/>
          <c:extLst>
            <c:ext xmlns:c15="http://schemas.microsoft.com/office/drawing/2012/chart" uri="{02D57815-91ED-43cb-92C2-25804820EDAC}">
              <c15:datalabelsRange>
                <c15:f>Sheet1!$E$2:$E$10</c15:f>
                <c15:dlblRangeCache>
                  <c:ptCount val="9"/>
                  <c:pt idx="0">
                    <c:v>Mure</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
          <c:min val="14"/>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2D26F57A-D3EB-4636-8258-5F075DA5525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E07AD587-B13C-4DCA-B799-D41B160B95E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D871-46D6-BBFE-7C00E0D51738}"/>
                </c:ext>
              </c:extLst>
            </c:dLbl>
            <c:dLbl>
              <c:idx val="3"/>
              <c:tx>
                <c:rich>
                  <a:bodyPr/>
                  <a:lstStyle/>
                  <a:p>
                    <a:fld id="{F548D61E-F26C-4012-A91F-2326086027A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D871-46D6-BBFE-7C00E0D51738}"/>
                </c:ext>
              </c:extLst>
            </c:dLbl>
            <c:dLbl>
              <c:idx val="4"/>
              <c:tx>
                <c:rich>
                  <a:bodyPr/>
                  <a:lstStyle/>
                  <a:p>
                    <a:fld id="{AB641AEB-52C4-496E-98DD-A9164E920ED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D871-46D6-BBFE-7C00E0D51738}"/>
                </c:ext>
              </c:extLst>
            </c:dLbl>
            <c:dLbl>
              <c:idx val="5"/>
              <c:tx>
                <c:rich>
                  <a:bodyPr/>
                  <a:lstStyle/>
                  <a:p>
                    <a:fld id="{30B1B3FE-3CFC-43E4-8968-DB542CB750C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71-46D6-BBFE-7C00E0D51738}"/>
                </c:ext>
              </c:extLst>
            </c:dLbl>
            <c:dLbl>
              <c:idx val="6"/>
              <c:tx>
                <c:rich>
                  <a:bodyPr/>
                  <a:lstStyle/>
                  <a:p>
                    <a:fld id="{BEDF79BA-DE00-478D-832A-62C4A000141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71-46D6-BBFE-7C00E0D51738}"/>
                </c:ext>
              </c:extLst>
            </c:dLbl>
            <c:dLbl>
              <c:idx val="7"/>
              <c:tx>
                <c:rich>
                  <a:bodyPr/>
                  <a:lstStyle/>
                  <a:p>
                    <a:fld id="{488A4B17-FA81-499D-8D3E-0C667F3112A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71-46D6-BBFE-7C00E0D51738}"/>
                </c:ext>
              </c:extLst>
            </c:dLbl>
            <c:dLbl>
              <c:idx val="8"/>
              <c:tx>
                <c:rich>
                  <a:bodyPr/>
                  <a:lstStyle/>
                  <a:p>
                    <a:fld id="{4C577027-3B9E-425F-B822-7076975C883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10.7494</c:v>
                </c:pt>
                <c:pt idx="1">
                  <c:v>9.81</c:v>
                </c:pt>
              </c:numCache>
            </c:numRef>
          </c:xVal>
          <c:yVal>
            <c:numRef>
              <c:f>Sheet1!$B$2:$B$3</c:f>
              <c:numCache>
                <c:formatCode>General</c:formatCode>
                <c:ptCount val="2"/>
                <c:pt idx="0">
                  <c:v>0.98399999999999999</c:v>
                </c:pt>
                <c:pt idx="1">
                  <c:v>0.84399999999999997</c:v>
                </c:pt>
              </c:numCache>
            </c:numRef>
          </c:yVal>
          <c:bubbleSize>
            <c:numRef>
              <c:f>Sheet1!$C$2:$C$3</c:f>
              <c:numCache>
                <c:formatCode>General</c:formatCode>
                <c:ptCount val="2"/>
                <c:pt idx="0">
                  <c:v>13985</c:v>
                </c:pt>
                <c:pt idx="1">
                  <c:v>1962</c:v>
                </c:pt>
              </c:numCache>
            </c:numRef>
          </c:bubbleSize>
          <c:bubble3D val="0"/>
          <c:extLst>
            <c:ext xmlns:c15="http://schemas.microsoft.com/office/drawing/2012/chart" uri="{02D57815-91ED-43cb-92C2-25804820EDAC}">
              <c15:datalabelsRange>
                <c15:f>Sheet1!$E$2:$E$10</c15:f>
                <c15:dlblRangeCache>
                  <c:ptCount val="9"/>
                  <c:pt idx="0">
                    <c:v>Cru La Maqueline</c:v>
                  </c:pt>
                  <c:pt idx="1">
                    <c:v>Celene</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3"/>
          <c:min val="8"/>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8EFFC41-EBBF-446E-9031-71BCA466A5A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1D95917-2095-4AD8-97F8-5E034F3B8B0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36BC4E1-3BA2-4A98-8256-7BDDAE4E1FC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4DC3A61-CB90-4980-B782-2D76CF9A471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6DC60FAC-4F9E-4823-87FF-5A2B8F20289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DB4A139-99CA-4C01-8C38-A6E2F556B4A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891C0789-DB9C-4AF5-AEEC-6BD1A52FD63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2EF754DB-C1B4-46F9-850E-D2CB9086FF1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99.423199999999994</c:v>
                </c:pt>
                <c:pt idx="1">
                  <c:v>39.362900000000003</c:v>
                </c:pt>
                <c:pt idx="2">
                  <c:v>35.230899999999998</c:v>
                </c:pt>
                <c:pt idx="3">
                  <c:v>58.4313</c:v>
                </c:pt>
                <c:pt idx="4">
                  <c:v>46.652500000000003</c:v>
                </c:pt>
                <c:pt idx="5">
                  <c:v>37.884399999999999</c:v>
                </c:pt>
                <c:pt idx="6">
                  <c:v>52.983499999999999</c:v>
                </c:pt>
                <c:pt idx="7">
                  <c:v>76.6631</c:v>
                </c:pt>
              </c:numCache>
            </c:numRef>
          </c:xVal>
          <c:yVal>
            <c:numRef>
              <c:f>Sheet1!$B$2:$B$9</c:f>
              <c:numCache>
                <c:formatCode>General</c:formatCode>
                <c:ptCount val="8"/>
                <c:pt idx="0">
                  <c:v>1.347</c:v>
                </c:pt>
                <c:pt idx="1">
                  <c:v>0.56899999999999995</c:v>
                </c:pt>
                <c:pt idx="2">
                  <c:v>0.49</c:v>
                </c:pt>
                <c:pt idx="3">
                  <c:v>0.85399999999999998</c:v>
                </c:pt>
                <c:pt idx="4">
                  <c:v>0.64200000000000002</c:v>
                </c:pt>
                <c:pt idx="5">
                  <c:v>0.52600000000000002</c:v>
                </c:pt>
                <c:pt idx="6">
                  <c:v>0.72799999999999998</c:v>
                </c:pt>
                <c:pt idx="7">
                  <c:v>1.0449999999999999</c:v>
                </c:pt>
              </c:numCache>
            </c:numRef>
          </c:yVal>
          <c:bubbleSize>
            <c:numRef>
              <c:f>Sheet1!$C$2:$C$9</c:f>
              <c:numCache>
                <c:formatCode>General</c:formatCode>
                <c:ptCount val="8"/>
                <c:pt idx="0">
                  <c:v>910915</c:v>
                </c:pt>
                <c:pt idx="1">
                  <c:v>87307</c:v>
                </c:pt>
                <c:pt idx="2">
                  <c:v>80714</c:v>
                </c:pt>
                <c:pt idx="3">
                  <c:v>60827</c:v>
                </c:pt>
                <c:pt idx="4">
                  <c:v>55050</c:v>
                </c:pt>
                <c:pt idx="5">
                  <c:v>38983</c:v>
                </c:pt>
                <c:pt idx="6">
                  <c:v>35234</c:v>
                </c:pt>
                <c:pt idx="7">
                  <c:v>28672</c:v>
                </c:pt>
              </c:numCache>
            </c:numRef>
          </c:bubbleSize>
          <c:bubble3D val="0"/>
          <c:extLst>
            <c:ext xmlns:c15="http://schemas.microsoft.com/office/drawing/2012/chart" uri="{02D57815-91ED-43cb-92C2-25804820EDAC}">
              <c15:datalabelsRange>
                <c15:f>Sheet1!$E$2:$E$10</c15:f>
                <c15:dlblRangeCache>
                  <c:ptCount val="9"/>
                  <c:pt idx="0">
                    <c:v>Ruinart</c:v>
                  </c:pt>
                  <c:pt idx="1">
                    <c:v>Nicolas</c:v>
                  </c:pt>
                  <c:pt idx="2">
                    <c:v>Malard</c:v>
                  </c:pt>
                  <c:pt idx="3">
                    <c:v>Besserat De Bellefon</c:v>
                  </c:pt>
                  <c:pt idx="4">
                    <c:v>Henriot</c:v>
                  </c:pt>
                  <c:pt idx="5">
                    <c:v>De Bligny</c:v>
                  </c:pt>
                  <c:pt idx="6">
                    <c:v>Delamotte</c:v>
                  </c:pt>
                  <c:pt idx="7">
                    <c:v>Ayala</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19"/>
          <c:min val="28"/>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7B1DD9B4-93B2-43A5-9E90-23FCCA204B0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6BD3486C-48D7-45BD-BE7C-B85E939B866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2F272250-03E9-4724-BA2F-B3A6D27EC85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E2168219-7E55-42B9-B1A2-4A74F3BA5F2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02C19325-8C4F-4FB7-A7F6-85E6EE0780B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FEE7BF05-1E97-4394-A7C7-CD3E390AF6B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BDD407DE-5822-4D51-B7A4-C9AECDE1A77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4980B061-1E24-4BE0-B95F-A9E5AC15C8C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57.110700000000001</c:v>
                </c:pt>
                <c:pt idx="1">
                  <c:v>22.341100000000001</c:v>
                </c:pt>
                <c:pt idx="2">
                  <c:v>48.279400000000003</c:v>
                </c:pt>
                <c:pt idx="3">
                  <c:v>49.332900000000002</c:v>
                </c:pt>
                <c:pt idx="4">
                  <c:v>29.312200000000001</c:v>
                </c:pt>
                <c:pt idx="5">
                  <c:v>30.2136</c:v>
                </c:pt>
                <c:pt idx="6">
                  <c:v>30.749199999999998</c:v>
                </c:pt>
                <c:pt idx="7">
                  <c:v>37.334899999999998</c:v>
                </c:pt>
              </c:numCache>
            </c:numRef>
          </c:xVal>
          <c:yVal>
            <c:numRef>
              <c:f>Sheet1!$B$2:$B$9</c:f>
              <c:numCache>
                <c:formatCode>General</c:formatCode>
                <c:ptCount val="8"/>
                <c:pt idx="0">
                  <c:v>1.4410000000000001</c:v>
                </c:pt>
                <c:pt idx="1">
                  <c:v>0.57099999999999995</c:v>
                </c:pt>
                <c:pt idx="2">
                  <c:v>1.1919999999999999</c:v>
                </c:pt>
                <c:pt idx="3">
                  <c:v>1.099</c:v>
                </c:pt>
                <c:pt idx="4">
                  <c:v>0.75</c:v>
                </c:pt>
                <c:pt idx="5">
                  <c:v>0.77400000000000002</c:v>
                </c:pt>
                <c:pt idx="6">
                  <c:v>0.81</c:v>
                </c:pt>
                <c:pt idx="7">
                  <c:v>0.95499999999999996</c:v>
                </c:pt>
              </c:numCache>
            </c:numRef>
          </c:yVal>
          <c:bubbleSize>
            <c:numRef>
              <c:f>Sheet1!$C$2:$C$9</c:f>
              <c:numCache>
                <c:formatCode>General</c:formatCode>
                <c:ptCount val="8"/>
                <c:pt idx="0">
                  <c:v>1553868</c:v>
                </c:pt>
                <c:pt idx="1">
                  <c:v>834864</c:v>
                </c:pt>
                <c:pt idx="2">
                  <c:v>799265</c:v>
                </c:pt>
                <c:pt idx="3">
                  <c:v>423079</c:v>
                </c:pt>
                <c:pt idx="4">
                  <c:v>405270</c:v>
                </c:pt>
                <c:pt idx="5">
                  <c:v>333890</c:v>
                </c:pt>
                <c:pt idx="6">
                  <c:v>316901</c:v>
                </c:pt>
                <c:pt idx="7">
                  <c:v>305997</c:v>
                </c:pt>
              </c:numCache>
            </c:numRef>
          </c:bubbleSize>
          <c:bubble3D val="0"/>
          <c:extLst>
            <c:ext xmlns:c15="http://schemas.microsoft.com/office/drawing/2012/chart" uri="{02D57815-91ED-43cb-92C2-25804820EDAC}">
              <c15:datalabelsRange>
                <c15:f>Sheet1!$E$2:$E$10</c15:f>
                <c15:dlblRangeCache>
                  <c:ptCount val="9"/>
                  <c:pt idx="0">
                    <c:v>Ruinart</c:v>
                  </c:pt>
                  <c:pt idx="1">
                    <c:v>Nicolas</c:v>
                  </c:pt>
                  <c:pt idx="2">
                    <c:v>Deutz</c:v>
                  </c:pt>
                  <c:pt idx="3">
                    <c:v>Laurent Perrier</c:v>
                  </c:pt>
                  <c:pt idx="4">
                    <c:v>Heidsieck &amp; Co Monopole</c:v>
                  </c:pt>
                  <c:pt idx="5">
                    <c:v>De Bligny</c:v>
                  </c:pt>
                  <c:pt idx="6">
                    <c:v>Canard Duchêne</c:v>
                  </c:pt>
                  <c:pt idx="7">
                    <c:v>Ayala</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9"/>
          <c:min val="18"/>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10356C6-E501-4B8F-BE2C-979BB77C3ED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ED9B112-AEED-42B7-9B19-4A284296B78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6FE4111-AB06-4E6A-8DE9-DA0FCDECABA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054F9F7-29F5-45FD-87F2-70BE65F0840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6627A16-D730-4A66-9CB8-5AA8F87DD36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6526B5E-5CA0-4FC4-B260-64D6AA1C33D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20F2767-F781-4C3B-9EE2-C03B42103EE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A4B4DE5D-8E16-4A88-931B-F5F6B45B72A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4.946400000000001</c:v>
                </c:pt>
                <c:pt idx="1">
                  <c:v>31.078299999999999</c:v>
                </c:pt>
                <c:pt idx="2">
                  <c:v>26.586600000000001</c:v>
                </c:pt>
                <c:pt idx="3">
                  <c:v>24.309100000000001</c:v>
                </c:pt>
                <c:pt idx="4">
                  <c:v>18.720199999999998</c:v>
                </c:pt>
                <c:pt idx="5">
                  <c:v>41.6464</c:v>
                </c:pt>
                <c:pt idx="6">
                  <c:v>28.857299999999999</c:v>
                </c:pt>
                <c:pt idx="7">
                  <c:v>28.788599999999999</c:v>
                </c:pt>
              </c:numCache>
            </c:numRef>
          </c:xVal>
          <c:yVal>
            <c:numRef>
              <c:f>Sheet1!$B$2:$B$9</c:f>
              <c:numCache>
                <c:formatCode>General</c:formatCode>
                <c:ptCount val="8"/>
                <c:pt idx="0">
                  <c:v>1.099</c:v>
                </c:pt>
                <c:pt idx="1">
                  <c:v>1.5009999999999999</c:v>
                </c:pt>
                <c:pt idx="2">
                  <c:v>1.2769999999999999</c:v>
                </c:pt>
                <c:pt idx="3">
                  <c:v>1.1040000000000001</c:v>
                </c:pt>
                <c:pt idx="4">
                  <c:v>0.30499999999999999</c:v>
                </c:pt>
                <c:pt idx="5">
                  <c:v>1.988</c:v>
                </c:pt>
                <c:pt idx="6">
                  <c:v>1.4419999999999999</c:v>
                </c:pt>
                <c:pt idx="7">
                  <c:v>1.3759999999999999</c:v>
                </c:pt>
              </c:numCache>
            </c:numRef>
          </c:yVal>
          <c:bubbleSize>
            <c:numRef>
              <c:f>Sheet1!$C$2:$C$9</c:f>
              <c:numCache>
                <c:formatCode>General</c:formatCode>
                <c:ptCount val="8"/>
                <c:pt idx="0">
                  <c:v>81150444</c:v>
                </c:pt>
                <c:pt idx="1">
                  <c:v>40272704</c:v>
                </c:pt>
                <c:pt idx="2">
                  <c:v>37152564</c:v>
                </c:pt>
                <c:pt idx="3">
                  <c:v>28145421</c:v>
                </c:pt>
                <c:pt idx="4">
                  <c:v>26885600</c:v>
                </c:pt>
                <c:pt idx="5">
                  <c:v>22739166</c:v>
                </c:pt>
                <c:pt idx="6">
                  <c:v>18912061</c:v>
                </c:pt>
                <c:pt idx="7">
                  <c:v>18082204</c:v>
                </c:pt>
              </c:numCache>
            </c:numRef>
          </c:bubbleSize>
          <c:bubble3D val="0"/>
          <c:extLst>
            <c:ext xmlns:c15="http://schemas.microsoft.com/office/drawing/2012/chart" uri="{02D57815-91ED-43cb-92C2-25804820EDAC}">
              <c15:datalabelsRange>
                <c15:f>Sheet1!$E$2:$E$10</c15:f>
                <c15:dlblRangeCache>
                  <c:ptCount val="9"/>
                  <c:pt idx="0">
                    <c:v>Nicolas Feuillatte</c:v>
                  </c:pt>
                  <c:pt idx="1">
                    <c:v>Mumm</c:v>
                  </c:pt>
                  <c:pt idx="2">
                    <c:v>Canard Duchêne</c:v>
                  </c:pt>
                  <c:pt idx="3">
                    <c:v>Alfred De Rothschild</c:v>
                  </c:pt>
                  <c:pt idx="4">
                    <c:v>Charles Lafitte</c:v>
                  </c:pt>
                  <c:pt idx="5">
                    <c:v>Moët &amp; Chandon</c:v>
                  </c:pt>
                  <c:pt idx="6">
                    <c:v>Tsarine</c:v>
                  </c:pt>
                  <c:pt idx="7">
                    <c:v>Demoisell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0"/>
          <c:min val="15"/>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BD13AD27-0526-45D0-BEA9-6F9FAD8B260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441962B3-9D38-429B-AC57-63791AA16C9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71-46D6-BBFE-7C00E0D51738}"/>
                </c:ext>
              </c:extLst>
            </c:dLbl>
            <c:dLbl>
              <c:idx val="3"/>
              <c:tx>
                <c:rich>
                  <a:bodyPr/>
                  <a:lstStyle/>
                  <a:p>
                    <a:fld id="{06CE45AD-7246-4BAF-80C8-A16B821653C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71-46D6-BBFE-7C00E0D51738}"/>
                </c:ext>
              </c:extLst>
            </c:dLbl>
            <c:dLbl>
              <c:idx val="4"/>
              <c:tx>
                <c:rich>
                  <a:bodyPr/>
                  <a:lstStyle/>
                  <a:p>
                    <a:fld id="{D13E05DD-E1F5-4718-B796-9A92483C193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D871-46D6-BBFE-7C00E0D51738}"/>
                </c:ext>
              </c:extLst>
            </c:dLbl>
            <c:dLbl>
              <c:idx val="5"/>
              <c:tx>
                <c:rich>
                  <a:bodyPr/>
                  <a:lstStyle/>
                  <a:p>
                    <a:fld id="{98720922-1C04-4711-A84A-D4E8D277BA9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71-46D6-BBFE-7C00E0D51738}"/>
                </c:ext>
              </c:extLst>
            </c:dLbl>
            <c:dLbl>
              <c:idx val="6"/>
              <c:tx>
                <c:rich>
                  <a:bodyPr/>
                  <a:lstStyle/>
                  <a:p>
                    <a:fld id="{C9DB063E-CAC2-4BF7-8DC1-115C53B1980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71-46D6-BBFE-7C00E0D51738}"/>
                </c:ext>
              </c:extLst>
            </c:dLbl>
            <c:dLbl>
              <c:idx val="7"/>
              <c:tx>
                <c:rich>
                  <a:bodyPr/>
                  <a:lstStyle/>
                  <a:p>
                    <a:fld id="{1D4A302B-B7BC-45A2-AEA5-A29B338F7A4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71-46D6-BBFE-7C00E0D51738}"/>
                </c:ext>
              </c:extLst>
            </c:dLbl>
            <c:dLbl>
              <c:idx val="8"/>
              <c:tx>
                <c:rich>
                  <a:bodyPr/>
                  <a:lstStyle/>
                  <a:p>
                    <a:fld id="{53655E95-5562-4459-A5C9-FBE0DF80F12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29.644600000000001</c:v>
                </c:pt>
                <c:pt idx="1">
                  <c:v>30.648399999999999</c:v>
                </c:pt>
                <c:pt idx="2">
                  <c:v>31.499199999999998</c:v>
                </c:pt>
                <c:pt idx="3">
                  <c:v>35.204099999999997</c:v>
                </c:pt>
              </c:numCache>
            </c:numRef>
          </c:xVal>
          <c:yVal>
            <c:numRef>
              <c:f>Sheet1!$B$2:$B$5</c:f>
              <c:numCache>
                <c:formatCode>General</c:formatCode>
                <c:ptCount val="4"/>
                <c:pt idx="0">
                  <c:v>0.98699999999999999</c:v>
                </c:pt>
                <c:pt idx="1">
                  <c:v>1.02</c:v>
                </c:pt>
                <c:pt idx="2">
                  <c:v>1.0489999999999999</c:v>
                </c:pt>
                <c:pt idx="3">
                  <c:v>1.0669999999999999</c:v>
                </c:pt>
              </c:numCache>
            </c:numRef>
          </c:yVal>
          <c:bubbleSize>
            <c:numRef>
              <c:f>Sheet1!$C$2:$C$5</c:f>
              <c:numCache>
                <c:formatCode>General</c:formatCode>
                <c:ptCount val="4"/>
                <c:pt idx="0">
                  <c:v>397653</c:v>
                </c:pt>
                <c:pt idx="1">
                  <c:v>109231</c:v>
                </c:pt>
                <c:pt idx="2">
                  <c:v>41012</c:v>
                </c:pt>
                <c:pt idx="3">
                  <c:v>15349</c:v>
                </c:pt>
              </c:numCache>
            </c:numRef>
          </c:bubbleSize>
          <c:bubble3D val="0"/>
          <c:extLst>
            <c:ext xmlns:c15="http://schemas.microsoft.com/office/drawing/2012/chart" uri="{02D57815-91ED-43cb-92C2-25804820EDAC}">
              <c15:datalabelsRange>
                <c15:f>Sheet1!$E$2:$E$10</c15:f>
                <c15:dlblRangeCache>
                  <c:ptCount val="9"/>
                  <c:pt idx="0">
                    <c:v>Malard</c:v>
                  </c:pt>
                  <c:pt idx="1">
                    <c:v>Vesselle</c:v>
                  </c:pt>
                  <c:pt idx="2">
                    <c:v>Louis Martin</c:v>
                  </c:pt>
                  <c:pt idx="3">
                    <c:v>Nicolas</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2"/>
          <c:min val="24"/>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CA-4C16-90F6-A0D9A3D8DA8E}"/>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CA-4C16-90F6-A0D9A3D8DA8E}"/>
                </c:ext>
              </c:extLst>
            </c:dLbl>
            <c:dLbl>
              <c:idx val="1"/>
              <c:tx>
                <c:rich>
                  <a:bodyPr/>
                  <a:lstStyle/>
                  <a:p>
                    <a:fld id="{20E73948-BE8F-473A-918A-336A53069C4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CA-4C16-90F6-A0D9A3D8DA8E}"/>
                </c:ext>
              </c:extLst>
            </c:dLbl>
            <c:dLbl>
              <c:idx val="2"/>
              <c:tx>
                <c:rich>
                  <a:bodyPr/>
                  <a:lstStyle/>
                  <a:p>
                    <a:fld id="{2832CC5B-7C3C-4169-9BC1-72EED04332A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CA-4C16-90F6-A0D9A3D8DA8E}"/>
                </c:ext>
              </c:extLst>
            </c:dLbl>
            <c:dLbl>
              <c:idx val="3"/>
              <c:tx>
                <c:rich>
                  <a:bodyPr/>
                  <a:lstStyle/>
                  <a:p>
                    <a:fld id="{6EACA0B0-8287-4022-861C-F59BF5CF5DD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D8CA-4C16-90F6-A0D9A3D8DA8E}"/>
                </c:ext>
              </c:extLst>
            </c:dLbl>
            <c:dLbl>
              <c:idx val="4"/>
              <c:tx>
                <c:rich>
                  <a:bodyPr/>
                  <a:lstStyle/>
                  <a:p>
                    <a:fld id="{2CBEFD2B-43BE-4DB7-8D68-317DE9EA28C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D8CA-4C16-90F6-A0D9A3D8DA8E}"/>
                </c:ext>
              </c:extLst>
            </c:dLbl>
            <c:dLbl>
              <c:idx val="5"/>
              <c:tx>
                <c:rich>
                  <a:bodyPr/>
                  <a:lstStyle/>
                  <a:p>
                    <a:fld id="{4F57157A-2230-40CC-A287-DE128124AB8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CA-4C16-90F6-A0D9A3D8DA8E}"/>
                </c:ext>
              </c:extLst>
            </c:dLbl>
            <c:dLbl>
              <c:idx val="6"/>
              <c:tx>
                <c:rich>
                  <a:bodyPr/>
                  <a:lstStyle/>
                  <a:p>
                    <a:fld id="{A1421F3E-4F99-45EB-B843-98B567BD113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CA-4C16-90F6-A0D9A3D8DA8E}"/>
                </c:ext>
              </c:extLst>
            </c:dLbl>
            <c:dLbl>
              <c:idx val="7"/>
              <c:tx>
                <c:rich>
                  <a:bodyPr/>
                  <a:lstStyle/>
                  <a:p>
                    <a:fld id="{6E9270B2-D65E-46CD-960F-5F03301A585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CA-4C16-90F6-A0D9A3D8DA8E}"/>
                </c:ext>
              </c:extLst>
            </c:dLbl>
            <c:dLbl>
              <c:idx val="8"/>
              <c:tx>
                <c:rich>
                  <a:bodyPr/>
                  <a:lstStyle/>
                  <a:p>
                    <a:fld id="{466DE286-C01A-4897-85D8-6D2A5562B7C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CA-4C16-90F6-A0D9A3D8DA8E}"/>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31.053699999999999</c:v>
                </c:pt>
                <c:pt idx="1">
                  <c:v>43.280700000000003</c:v>
                </c:pt>
                <c:pt idx="2">
                  <c:v>39.226999999999997</c:v>
                </c:pt>
              </c:numCache>
            </c:numRef>
          </c:xVal>
          <c:yVal>
            <c:numRef>
              <c:f>Sheet1!$B$2:$B$4</c:f>
              <c:numCache>
                <c:formatCode>General</c:formatCode>
                <c:ptCount val="3"/>
                <c:pt idx="0">
                  <c:v>0.94099999999999995</c:v>
                </c:pt>
                <c:pt idx="1">
                  <c:v>1.3109999999999999</c:v>
                </c:pt>
                <c:pt idx="2">
                  <c:v>1.153</c:v>
                </c:pt>
              </c:numCache>
            </c:numRef>
          </c:yVal>
          <c:bubbleSize>
            <c:numRef>
              <c:f>Sheet1!$C$2:$C$4</c:f>
              <c:numCache>
                <c:formatCode>General</c:formatCode>
                <c:ptCount val="3"/>
                <c:pt idx="0">
                  <c:v>343050</c:v>
                </c:pt>
                <c:pt idx="1">
                  <c:v>84657</c:v>
                </c:pt>
                <c:pt idx="2">
                  <c:v>7257</c:v>
                </c:pt>
              </c:numCache>
            </c:numRef>
          </c:bubbleSize>
          <c:bubble3D val="0"/>
          <c:extLst>
            <c:ext xmlns:c15="http://schemas.microsoft.com/office/drawing/2012/chart" uri="{02D57815-91ED-43cb-92C2-25804820EDAC}">
              <c15:datalabelsRange>
                <c15:f>Sheet1!$E$2:$E$10</c15:f>
                <c15:dlblRangeCache>
                  <c:ptCount val="9"/>
                  <c:pt idx="0">
                    <c:v>Nicolas Feuillatte</c:v>
                  </c:pt>
                  <c:pt idx="1">
                    <c:v>Moët &amp; Chandon</c:v>
                  </c:pt>
                  <c:pt idx="2">
                    <c:v>Canard Duchêne</c:v>
                  </c:pt>
                </c15:dlblRangeCache>
              </c15:datalabelsRange>
            </c:ext>
            <c:ext xmlns:c16="http://schemas.microsoft.com/office/drawing/2014/chart" uri="{C3380CC4-5D6E-409C-BE32-E72D297353CC}">
              <c16:uniqueId val="{00000009-D8CA-4C16-90F6-A0D9A3D8DA8E}"/>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2"/>
          <c:min val="25"/>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2384203-3269-47C1-933C-1E523D3A6DC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B2C0265-9515-4A42-B786-F389FF66299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6A91237-4DD7-40C4-B054-627E3B64E54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4E5BF4A-6291-4A60-970A-DF4A01A173D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CC56843-ACCF-442F-AB61-151C9FA3758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C88F7A3C-50C4-435C-B1C2-6B61FD0C0CA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3F5D5559-67D4-4D18-AACD-67AC855277D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2D706257-41A9-4322-9463-3A5D37439BB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62.88659999999999</c:v>
                </c:pt>
                <c:pt idx="1">
                  <c:v>168.5444</c:v>
                </c:pt>
                <c:pt idx="2">
                  <c:v>93.754300000000001</c:v>
                </c:pt>
                <c:pt idx="3">
                  <c:v>37.530099999999997</c:v>
                </c:pt>
                <c:pt idx="4">
                  <c:v>229.54740000000001</c:v>
                </c:pt>
                <c:pt idx="5">
                  <c:v>65.619699999999995</c:v>
                </c:pt>
                <c:pt idx="6">
                  <c:v>241.26089999999999</c:v>
                </c:pt>
                <c:pt idx="7">
                  <c:v>304</c:v>
                </c:pt>
              </c:numCache>
            </c:numRef>
          </c:xVal>
          <c:yVal>
            <c:numRef>
              <c:f>Sheet1!$B$2:$B$9</c:f>
              <c:numCache>
                <c:formatCode>General</c:formatCode>
                <c:ptCount val="8"/>
                <c:pt idx="0">
                  <c:v>2.0529999999999999</c:v>
                </c:pt>
                <c:pt idx="1">
                  <c:v>1.206</c:v>
                </c:pt>
                <c:pt idx="2">
                  <c:v>0.71</c:v>
                </c:pt>
                <c:pt idx="3">
                  <c:v>0.29499999999999998</c:v>
                </c:pt>
                <c:pt idx="4">
                  <c:v>1.6319999999999999</c:v>
                </c:pt>
                <c:pt idx="5">
                  <c:v>0.48799999999999999</c:v>
                </c:pt>
                <c:pt idx="6">
                  <c:v>1.492</c:v>
                </c:pt>
                <c:pt idx="7">
                  <c:v>1.798</c:v>
                </c:pt>
              </c:numCache>
            </c:numRef>
          </c:yVal>
          <c:bubbleSize>
            <c:numRef>
              <c:f>Sheet1!$C$2:$C$9</c:f>
              <c:numCache>
                <c:formatCode>General</c:formatCode>
                <c:ptCount val="8"/>
                <c:pt idx="0">
                  <c:v>150634</c:v>
                </c:pt>
                <c:pt idx="1">
                  <c:v>87306</c:v>
                </c:pt>
                <c:pt idx="2">
                  <c:v>43127</c:v>
                </c:pt>
                <c:pt idx="3">
                  <c:v>33627</c:v>
                </c:pt>
                <c:pt idx="4">
                  <c:v>21807</c:v>
                </c:pt>
                <c:pt idx="5">
                  <c:v>9318</c:v>
                </c:pt>
                <c:pt idx="6">
                  <c:v>5549</c:v>
                </c:pt>
                <c:pt idx="7">
                  <c:v>5168</c:v>
                </c:pt>
              </c:numCache>
            </c:numRef>
          </c:bubbleSize>
          <c:bubble3D val="0"/>
          <c:extLst>
            <c:ext xmlns:c15="http://schemas.microsoft.com/office/drawing/2012/chart" uri="{02D57815-91ED-43cb-92C2-25804820EDAC}">
              <c15:datalabelsRange>
                <c15:f>Sheet1!$E$2:$E$10</c15:f>
                <c15:dlblRangeCache>
                  <c:ptCount val="9"/>
                  <c:pt idx="0">
                    <c:v>Dom Perignon</c:v>
                  </c:pt>
                  <c:pt idx="1">
                    <c:v>Roederer</c:v>
                  </c:pt>
                  <c:pt idx="2">
                    <c:v>Ruinart</c:v>
                  </c:pt>
                  <c:pt idx="3">
                    <c:v>Malard</c:v>
                  </c:pt>
                  <c:pt idx="4">
                    <c:v>Bollinger</c:v>
                  </c:pt>
                  <c:pt idx="5">
                    <c:v>Laurent Perrier</c:v>
                  </c:pt>
                  <c:pt idx="6">
                    <c:v>Pommery</c:v>
                  </c:pt>
                  <c:pt idx="7">
                    <c:v>Piper Heidsieck</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65"/>
          <c:min val="30"/>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D7A67D6B-1E6F-4EC0-8684-F4B5CBB1CFC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6F3872E5-0D34-4A54-AF74-56DB0C8B6F5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FB7BD9E8-E985-40B1-9ED1-D69DC5C2274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63271A9F-7496-4DCC-90ED-5FBBB10442C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2A36E285-35FB-4605-93E7-940B7B16081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5A2F9CA4-91BB-476B-AB95-54067CB50B5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BE05EBF9-3E11-46C4-9865-8343A35D16D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2A97CDC0-BE00-4D24-8C87-87B6F0E39BB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90.509</c:v>
                </c:pt>
                <c:pt idx="1">
                  <c:v>52.050600000000003</c:v>
                </c:pt>
                <c:pt idx="2">
                  <c:v>27.031600000000001</c:v>
                </c:pt>
                <c:pt idx="3">
                  <c:v>37.606999999999999</c:v>
                </c:pt>
                <c:pt idx="4">
                  <c:v>81.073999999999998</c:v>
                </c:pt>
                <c:pt idx="5">
                  <c:v>37.692500000000003</c:v>
                </c:pt>
                <c:pt idx="6">
                  <c:v>40.941499999999998</c:v>
                </c:pt>
                <c:pt idx="7">
                  <c:v>36.332299999999996</c:v>
                </c:pt>
              </c:numCache>
            </c:numRef>
          </c:xVal>
          <c:yVal>
            <c:numRef>
              <c:f>Sheet1!$B$2:$B$9</c:f>
              <c:numCache>
                <c:formatCode>General</c:formatCode>
                <c:ptCount val="8"/>
                <c:pt idx="0">
                  <c:v>1.738</c:v>
                </c:pt>
                <c:pt idx="1">
                  <c:v>1.1140000000000001</c:v>
                </c:pt>
                <c:pt idx="2">
                  <c:v>0.53900000000000003</c:v>
                </c:pt>
                <c:pt idx="3">
                  <c:v>0.70799999999999996</c:v>
                </c:pt>
                <c:pt idx="4">
                  <c:v>1.5169999999999999</c:v>
                </c:pt>
                <c:pt idx="5">
                  <c:v>0.71</c:v>
                </c:pt>
                <c:pt idx="6">
                  <c:v>0.92800000000000005</c:v>
                </c:pt>
                <c:pt idx="7">
                  <c:v>0.68500000000000005</c:v>
                </c:pt>
              </c:numCache>
            </c:numRef>
          </c:yVal>
          <c:bubbleSize>
            <c:numRef>
              <c:f>Sheet1!$C$2:$C$9</c:f>
              <c:numCache>
                <c:formatCode>General</c:formatCode>
                <c:ptCount val="8"/>
                <c:pt idx="0">
                  <c:v>225639</c:v>
                </c:pt>
                <c:pt idx="1">
                  <c:v>89423</c:v>
                </c:pt>
                <c:pt idx="2">
                  <c:v>79662</c:v>
                </c:pt>
                <c:pt idx="3">
                  <c:v>66602</c:v>
                </c:pt>
                <c:pt idx="4">
                  <c:v>54806</c:v>
                </c:pt>
                <c:pt idx="5">
                  <c:v>37881</c:v>
                </c:pt>
                <c:pt idx="6">
                  <c:v>36397</c:v>
                </c:pt>
                <c:pt idx="7">
                  <c:v>33571</c:v>
                </c:pt>
              </c:numCache>
            </c:numRef>
          </c:bubbleSize>
          <c:bubble3D val="0"/>
          <c:extLst>
            <c:ext xmlns:c15="http://schemas.microsoft.com/office/drawing/2012/chart" uri="{02D57815-91ED-43cb-92C2-25804820EDAC}">
              <c15:datalabelsRange>
                <c15:f>Sheet1!$E$2:$E$10</c15:f>
                <c15:dlblRangeCache>
                  <c:ptCount val="9"/>
                  <c:pt idx="0">
                    <c:v>Ruinart</c:v>
                  </c:pt>
                  <c:pt idx="1">
                    <c:v>Deutz</c:v>
                  </c:pt>
                  <c:pt idx="2">
                    <c:v>Nicolas</c:v>
                  </c:pt>
                  <c:pt idx="3">
                    <c:v>Demoiselle</c:v>
                  </c:pt>
                  <c:pt idx="4">
                    <c:v>Laurent Perrier</c:v>
                  </c:pt>
                  <c:pt idx="5">
                    <c:v>Nicolas Feuillatte</c:v>
                  </c:pt>
                  <c:pt idx="6">
                    <c:v>Besserat De Bellefon</c:v>
                  </c:pt>
                  <c:pt idx="7">
                    <c:v>Malard</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09"/>
          <c:min val="22"/>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8E853C3F-1386-44D3-BB37-40F1CBAA2C3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D871-46D6-BBFE-7C00E0D51738}"/>
                </c:ext>
              </c:extLst>
            </c:dLbl>
            <c:dLbl>
              <c:idx val="2"/>
              <c:tx>
                <c:rich>
                  <a:bodyPr/>
                  <a:lstStyle/>
                  <a:p>
                    <a:fld id="{A246B82F-DAC8-47F5-B905-80ABC751E05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D871-46D6-BBFE-7C00E0D51738}"/>
                </c:ext>
              </c:extLst>
            </c:dLbl>
            <c:dLbl>
              <c:idx val="3"/>
              <c:tx>
                <c:rich>
                  <a:bodyPr/>
                  <a:lstStyle/>
                  <a:p>
                    <a:fld id="{65931A08-6872-4680-B8AE-23414A8A07E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D871-46D6-BBFE-7C00E0D51738}"/>
                </c:ext>
              </c:extLst>
            </c:dLbl>
            <c:dLbl>
              <c:idx val="4"/>
              <c:tx>
                <c:rich>
                  <a:bodyPr/>
                  <a:lstStyle/>
                  <a:p>
                    <a:fld id="{66D8625C-62DE-4E7F-9D7C-38D550C5875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D871-46D6-BBFE-7C00E0D51738}"/>
                </c:ext>
              </c:extLst>
            </c:dLbl>
            <c:dLbl>
              <c:idx val="5"/>
              <c:tx>
                <c:rich>
                  <a:bodyPr/>
                  <a:lstStyle/>
                  <a:p>
                    <a:fld id="{1B7519D3-54F9-4B05-A6B5-97BE82BBFC8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71-46D6-BBFE-7C00E0D51738}"/>
                </c:ext>
              </c:extLst>
            </c:dLbl>
            <c:dLbl>
              <c:idx val="6"/>
              <c:tx>
                <c:rich>
                  <a:bodyPr/>
                  <a:lstStyle/>
                  <a:p>
                    <a:fld id="{71C7AE06-BE6D-4163-AE8F-05D698E227A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71-46D6-BBFE-7C00E0D51738}"/>
                </c:ext>
              </c:extLst>
            </c:dLbl>
            <c:dLbl>
              <c:idx val="7"/>
              <c:tx>
                <c:rich>
                  <a:bodyPr/>
                  <a:lstStyle/>
                  <a:p>
                    <a:fld id="{988D0C2A-F345-4F74-9EF3-D84BD2BDD4E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71-46D6-BBFE-7C00E0D51738}"/>
                </c:ext>
              </c:extLst>
            </c:dLbl>
            <c:dLbl>
              <c:idx val="8"/>
              <c:tx>
                <c:rich>
                  <a:bodyPr/>
                  <a:lstStyle/>
                  <a:p>
                    <a:fld id="{AA6F51B3-73BD-47A2-875C-6EB9CDC83D6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2.751099999999999</c:v>
                </c:pt>
              </c:numCache>
            </c:numRef>
          </c:xVal>
          <c:yVal>
            <c:numRef>
              <c:f>Sheet1!$B$2:$B$2</c:f>
              <c:numCache>
                <c:formatCode>General</c:formatCode>
                <c:ptCount val="1"/>
                <c:pt idx="0">
                  <c:v>0.97599999999999998</c:v>
                </c:pt>
              </c:numCache>
            </c:numRef>
          </c:yVal>
          <c:bubbleSize>
            <c:numRef>
              <c:f>Sheet1!$C$2:$C$2</c:f>
              <c:numCache>
                <c:formatCode>General</c:formatCode>
                <c:ptCount val="1"/>
                <c:pt idx="0">
                  <c:v>99140</c:v>
                </c:pt>
              </c:numCache>
            </c:numRef>
          </c:bubbleSize>
          <c:bubble3D val="0"/>
          <c:extLst>
            <c:ext xmlns:c15="http://schemas.microsoft.com/office/drawing/2012/chart" uri="{02D57815-91ED-43cb-92C2-25804820EDAC}">
              <c15:datalabelsRange>
                <c15:f>Sheet1!$E$2:$E$10</c15:f>
                <c15:dlblRangeCache>
                  <c:ptCount val="9"/>
                  <c:pt idx="0">
                    <c:v>Patriarche</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5"/>
          <c:min val="10"/>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CA-4C16-90F6-A0D9A3D8DA8E}"/>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CA-4C16-90F6-A0D9A3D8DA8E}"/>
                </c:ext>
              </c:extLst>
            </c:dLbl>
            <c:dLbl>
              <c:idx val="1"/>
              <c:tx>
                <c:rich>
                  <a:bodyPr/>
                  <a:lstStyle/>
                  <a:p>
                    <a:fld id="{C912E22F-57FE-4424-8D3A-602DFB86937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CA-4C16-90F6-A0D9A3D8DA8E}"/>
                </c:ext>
              </c:extLst>
            </c:dLbl>
            <c:dLbl>
              <c:idx val="2"/>
              <c:tx>
                <c:rich>
                  <a:bodyPr/>
                  <a:lstStyle/>
                  <a:p>
                    <a:fld id="{8DAE8800-E978-4347-8CAB-2C8DAED8912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CA-4C16-90F6-A0D9A3D8DA8E}"/>
                </c:ext>
              </c:extLst>
            </c:dLbl>
            <c:dLbl>
              <c:idx val="3"/>
              <c:tx>
                <c:rich>
                  <a:bodyPr/>
                  <a:lstStyle/>
                  <a:p>
                    <a:fld id="{99F9A1A4-5021-4C1B-9F48-C63602540E2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D8CA-4C16-90F6-A0D9A3D8DA8E}"/>
                </c:ext>
              </c:extLst>
            </c:dLbl>
            <c:dLbl>
              <c:idx val="4"/>
              <c:tx>
                <c:rich>
                  <a:bodyPr/>
                  <a:lstStyle/>
                  <a:p>
                    <a:fld id="{EDDC244C-5D35-4514-90F3-92E750B7931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D8CA-4C16-90F6-A0D9A3D8DA8E}"/>
                </c:ext>
              </c:extLst>
            </c:dLbl>
            <c:dLbl>
              <c:idx val="5"/>
              <c:tx>
                <c:rich>
                  <a:bodyPr/>
                  <a:lstStyle/>
                  <a:p>
                    <a:fld id="{A3EFD91D-9E13-4F84-98A0-17FD83AE6F2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CA-4C16-90F6-A0D9A3D8DA8E}"/>
                </c:ext>
              </c:extLst>
            </c:dLbl>
            <c:dLbl>
              <c:idx val="6"/>
              <c:tx>
                <c:rich>
                  <a:bodyPr/>
                  <a:lstStyle/>
                  <a:p>
                    <a:fld id="{A2040F98-2F73-4CFB-8E2F-0F634F555C1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CA-4C16-90F6-A0D9A3D8DA8E}"/>
                </c:ext>
              </c:extLst>
            </c:dLbl>
            <c:dLbl>
              <c:idx val="7"/>
              <c:tx>
                <c:rich>
                  <a:bodyPr/>
                  <a:lstStyle/>
                  <a:p>
                    <a:fld id="{E547AFB5-C265-4559-8A3C-3A56C8C0131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CA-4C16-90F6-A0D9A3D8DA8E}"/>
                </c:ext>
              </c:extLst>
            </c:dLbl>
            <c:dLbl>
              <c:idx val="8"/>
              <c:tx>
                <c:rich>
                  <a:bodyPr/>
                  <a:lstStyle/>
                  <a:p>
                    <a:fld id="{850834E3-F39D-4D04-9A11-0EB4DD4D5AB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CA-4C16-90F6-A0D9A3D8DA8E}"/>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1.3996</c:v>
                </c:pt>
                <c:pt idx="1">
                  <c:v>9.1219000000000001</c:v>
                </c:pt>
                <c:pt idx="2">
                  <c:v>11.543699999999999</c:v>
                </c:pt>
              </c:numCache>
            </c:numRef>
          </c:xVal>
          <c:yVal>
            <c:numRef>
              <c:f>Sheet1!$B$2:$B$4</c:f>
              <c:numCache>
                <c:formatCode>General</c:formatCode>
                <c:ptCount val="3"/>
                <c:pt idx="0">
                  <c:v>1.276</c:v>
                </c:pt>
                <c:pt idx="1">
                  <c:v>1.0229999999999999</c:v>
                </c:pt>
                <c:pt idx="2">
                  <c:v>1.0820000000000001</c:v>
                </c:pt>
              </c:numCache>
            </c:numRef>
          </c:yVal>
          <c:bubbleSize>
            <c:numRef>
              <c:f>Sheet1!$C$2:$C$4</c:f>
              <c:numCache>
                <c:formatCode>General</c:formatCode>
                <c:ptCount val="3"/>
                <c:pt idx="0">
                  <c:v>101593</c:v>
                </c:pt>
                <c:pt idx="1">
                  <c:v>56501</c:v>
                </c:pt>
                <c:pt idx="2">
                  <c:v>17154</c:v>
                </c:pt>
              </c:numCache>
            </c:numRef>
          </c:bubbleSize>
          <c:bubble3D val="0"/>
          <c:extLst>
            <c:ext xmlns:c15="http://schemas.microsoft.com/office/drawing/2012/chart" uri="{02D57815-91ED-43cb-92C2-25804820EDAC}">
              <c15:datalabelsRange>
                <c15:f>Sheet1!$E$2:$E$10</c15:f>
                <c15:dlblRangeCache>
                  <c:ptCount val="9"/>
                  <c:pt idx="0">
                    <c:v>Bottega</c:v>
                  </c:pt>
                  <c:pt idx="1">
                    <c:v>Savian</c:v>
                  </c:pt>
                  <c:pt idx="2">
                    <c:v>Contarini</c:v>
                  </c:pt>
                </c15:dlblRangeCache>
              </c15:datalabelsRange>
            </c:ext>
            <c:ext xmlns:c16="http://schemas.microsoft.com/office/drawing/2014/chart" uri="{C3380CC4-5D6E-409C-BE32-E72D297353CC}">
              <c16:uniqueId val="{00000009-D8CA-4C16-90F6-A0D9A3D8DA8E}"/>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4"/>
          <c:min val="7"/>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6A8C41D-F929-47E6-9868-C3F3F0AED5B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B33DB89-38E1-4569-8D9F-882B037A824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148C803-2BE3-4A96-B3ED-7EACD7808CE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FF5EAE27-02BB-4862-B4A7-B351E1C43DA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5FFB1869-FC05-43B9-89D8-10C96F3B56A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BFB77D4B-27B5-4B3A-AE4D-B272A300161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F817161C-72D8-46E0-9807-F7D9BE5A51C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5449DEFC-7A89-43D0-B2D3-301D3C2661A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1.9292</c:v>
                </c:pt>
                <c:pt idx="1">
                  <c:v>11.428000000000001</c:v>
                </c:pt>
                <c:pt idx="2">
                  <c:v>13.4643</c:v>
                </c:pt>
              </c:numCache>
            </c:numRef>
          </c:xVal>
          <c:yVal>
            <c:numRef>
              <c:f>Sheet1!$B$2:$B$4</c:f>
              <c:numCache>
                <c:formatCode>General</c:formatCode>
                <c:ptCount val="3"/>
                <c:pt idx="0">
                  <c:v>0.97</c:v>
                </c:pt>
                <c:pt idx="1">
                  <c:v>0.98399999999999999</c:v>
                </c:pt>
                <c:pt idx="2">
                  <c:v>1.1579999999999999</c:v>
                </c:pt>
              </c:numCache>
            </c:numRef>
          </c:yVal>
          <c:bubbleSize>
            <c:numRef>
              <c:f>Sheet1!$C$2:$C$4</c:f>
              <c:numCache>
                <c:formatCode>General</c:formatCode>
                <c:ptCount val="3"/>
                <c:pt idx="0">
                  <c:v>55399</c:v>
                </c:pt>
                <c:pt idx="1">
                  <c:v>53220</c:v>
                </c:pt>
                <c:pt idx="2">
                  <c:v>27871</c:v>
                </c:pt>
              </c:numCache>
            </c:numRef>
          </c:bubbleSize>
          <c:bubble3D val="0"/>
          <c:extLst>
            <c:ext xmlns:c15="http://schemas.microsoft.com/office/drawing/2012/chart" uri="{02D57815-91ED-43cb-92C2-25804820EDAC}">
              <c15:datalabelsRange>
                <c15:f>Sheet1!$E$2:$E$10</c15:f>
                <c15:dlblRangeCache>
                  <c:ptCount val="9"/>
                  <c:pt idx="0">
                    <c:v>Bouvet-Ladubay</c:v>
                  </c:pt>
                  <c:pt idx="1">
                    <c:v>Chateau Moncontour</c:v>
                  </c:pt>
                  <c:pt idx="2">
                    <c:v>De Chancen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6"/>
          <c:min val="9"/>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9752C9CB-F31C-44D8-AB11-39C8C1C0A04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48EF-49EC-8B4D-EC25A4464CE3}"/>
                </c:ext>
              </c:extLst>
            </c:dLbl>
            <c:dLbl>
              <c:idx val="2"/>
              <c:tx>
                <c:rich>
                  <a:bodyPr/>
                  <a:lstStyle/>
                  <a:p>
                    <a:fld id="{30F2AC5C-5C5B-4FF3-B073-611F3CB85D0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48EF-49EC-8B4D-EC25A4464CE3}"/>
                </c:ext>
              </c:extLst>
            </c:dLbl>
            <c:dLbl>
              <c:idx val="3"/>
              <c:tx>
                <c:rich>
                  <a:bodyPr/>
                  <a:lstStyle/>
                  <a:p>
                    <a:fld id="{407FF6EA-AC98-421F-BCE2-9FDEF4700AA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48EF-49EC-8B4D-EC25A4464CE3}"/>
                </c:ext>
              </c:extLst>
            </c:dLbl>
            <c:dLbl>
              <c:idx val="4"/>
              <c:tx>
                <c:rich>
                  <a:bodyPr/>
                  <a:lstStyle/>
                  <a:p>
                    <a:fld id="{43A43E4B-0F37-4EDC-883F-C6FB0AB7787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48EF-49EC-8B4D-EC25A4464CE3}"/>
                </c:ext>
              </c:extLst>
            </c:dLbl>
            <c:dLbl>
              <c:idx val="5"/>
              <c:tx>
                <c:rich>
                  <a:bodyPr/>
                  <a:lstStyle/>
                  <a:p>
                    <a:fld id="{D462D3DD-8A63-43AE-9190-3651FED8758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48EF-49EC-8B4D-EC25A4464CE3}"/>
                </c:ext>
              </c:extLst>
            </c:dLbl>
            <c:dLbl>
              <c:idx val="6"/>
              <c:tx>
                <c:rich>
                  <a:bodyPr/>
                  <a:lstStyle/>
                  <a:p>
                    <a:fld id="{9B442A81-4A22-4732-9834-7A15FD86A14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48EF-49EC-8B4D-EC25A4464CE3}"/>
                </c:ext>
              </c:extLst>
            </c:dLbl>
            <c:dLbl>
              <c:idx val="7"/>
              <c:tx>
                <c:rich>
                  <a:bodyPr/>
                  <a:lstStyle/>
                  <a:p>
                    <a:fld id="{4881CE47-4ED6-47B5-8D98-0220F8D0A20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48EF-49EC-8B4D-EC25A4464CE3}"/>
                </c:ext>
              </c:extLst>
            </c:dLbl>
            <c:dLbl>
              <c:idx val="8"/>
              <c:tx>
                <c:rich>
                  <a:bodyPr/>
                  <a:lstStyle/>
                  <a:p>
                    <a:fld id="{C26DD4C3-9A22-4AE7-9830-3209BB139B1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7.6111</c:v>
                </c:pt>
              </c:numCache>
            </c:numRef>
          </c:xVal>
          <c:yVal>
            <c:numRef>
              <c:f>Sheet1!$B$2:$B$2</c:f>
              <c:numCache>
                <c:formatCode>General</c:formatCode>
                <c:ptCount val="1"/>
                <c:pt idx="0">
                  <c:v>1.2490000000000001</c:v>
                </c:pt>
              </c:numCache>
            </c:numRef>
          </c:yVal>
          <c:bubbleSize>
            <c:numRef>
              <c:f>Sheet1!$C$2:$C$2</c:f>
              <c:numCache>
                <c:formatCode>General</c:formatCode>
                <c:ptCount val="1"/>
                <c:pt idx="0">
                  <c:v>82244</c:v>
                </c:pt>
              </c:numCache>
            </c:numRef>
          </c:bubbleSize>
          <c:bubble3D val="0"/>
          <c:extLst>
            <c:ext xmlns:c15="http://schemas.microsoft.com/office/drawing/2012/chart" uri="{02D57815-91ED-43cb-92C2-25804820EDAC}">
              <c15:datalabelsRange>
                <c15:f>Sheet1!$E$2:$E$10</c15:f>
                <c15:dlblRangeCache>
                  <c:ptCount val="9"/>
                  <c:pt idx="0">
                    <c:v>Mure</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
          <c:min val="14"/>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6C6C6386-9762-4BE6-B1E3-5EE29D36254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BB5D4DF6-FD26-41F6-9684-6906058AC2E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D871-46D6-BBFE-7C00E0D51738}"/>
                </c:ext>
              </c:extLst>
            </c:dLbl>
            <c:dLbl>
              <c:idx val="3"/>
              <c:tx>
                <c:rich>
                  <a:bodyPr/>
                  <a:lstStyle/>
                  <a:p>
                    <a:fld id="{4CB95E26-2C3D-472F-9B82-4F09EDDD3B2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D871-46D6-BBFE-7C00E0D51738}"/>
                </c:ext>
              </c:extLst>
            </c:dLbl>
            <c:dLbl>
              <c:idx val="4"/>
              <c:tx>
                <c:rich>
                  <a:bodyPr/>
                  <a:lstStyle/>
                  <a:p>
                    <a:fld id="{7EE7DC15-4C5D-40AB-A081-3B52005F637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D871-46D6-BBFE-7C00E0D51738}"/>
                </c:ext>
              </c:extLst>
            </c:dLbl>
            <c:dLbl>
              <c:idx val="5"/>
              <c:tx>
                <c:rich>
                  <a:bodyPr/>
                  <a:lstStyle/>
                  <a:p>
                    <a:fld id="{ED8D44C5-265B-416D-B010-9CDF21F0366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71-46D6-BBFE-7C00E0D51738}"/>
                </c:ext>
              </c:extLst>
            </c:dLbl>
            <c:dLbl>
              <c:idx val="6"/>
              <c:tx>
                <c:rich>
                  <a:bodyPr/>
                  <a:lstStyle/>
                  <a:p>
                    <a:fld id="{B0E623C3-39A6-485A-AB41-3D0C10AC9C4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71-46D6-BBFE-7C00E0D51738}"/>
                </c:ext>
              </c:extLst>
            </c:dLbl>
            <c:dLbl>
              <c:idx val="7"/>
              <c:tx>
                <c:rich>
                  <a:bodyPr/>
                  <a:lstStyle/>
                  <a:p>
                    <a:fld id="{F72B79AD-16B9-459A-966E-F6C30DFD084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71-46D6-BBFE-7C00E0D51738}"/>
                </c:ext>
              </c:extLst>
            </c:dLbl>
            <c:dLbl>
              <c:idx val="8"/>
              <c:tx>
                <c:rich>
                  <a:bodyPr/>
                  <a:lstStyle/>
                  <a:p>
                    <a:fld id="{5F107266-94B4-4C6D-9823-BA3D788519B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10.7454</c:v>
                </c:pt>
                <c:pt idx="1">
                  <c:v>9.6069999999999993</c:v>
                </c:pt>
              </c:numCache>
            </c:numRef>
          </c:xVal>
          <c:yVal>
            <c:numRef>
              <c:f>Sheet1!$B$2:$B$3</c:f>
              <c:numCache>
                <c:formatCode>General</c:formatCode>
                <c:ptCount val="2"/>
                <c:pt idx="0">
                  <c:v>1.036</c:v>
                </c:pt>
                <c:pt idx="1">
                  <c:v>0.84399999999999997</c:v>
                </c:pt>
              </c:numCache>
            </c:numRef>
          </c:yVal>
          <c:bubbleSize>
            <c:numRef>
              <c:f>Sheet1!$C$2:$C$3</c:f>
              <c:numCache>
                <c:formatCode>General</c:formatCode>
                <c:ptCount val="2"/>
                <c:pt idx="0">
                  <c:v>10509</c:v>
                </c:pt>
                <c:pt idx="1">
                  <c:v>1931</c:v>
                </c:pt>
              </c:numCache>
            </c:numRef>
          </c:bubbleSize>
          <c:bubble3D val="0"/>
          <c:extLst>
            <c:ext xmlns:c15="http://schemas.microsoft.com/office/drawing/2012/chart" uri="{02D57815-91ED-43cb-92C2-25804820EDAC}">
              <c15:datalabelsRange>
                <c15:f>Sheet1!$E$2:$E$10</c15:f>
                <c15:dlblRangeCache>
                  <c:ptCount val="9"/>
                  <c:pt idx="0">
                    <c:v>Cru La Maqueline</c:v>
                  </c:pt>
                  <c:pt idx="1">
                    <c:v>Celene</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3"/>
          <c:min val="8"/>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CF76697-B38C-48B3-9EBA-C3E42A64115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FE9484F-EAE5-4EE5-867C-BE3A060B7F5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FD83A2F-715D-490A-B8D6-3B4F0825530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53234F3-2B66-4284-AB21-4B968A83DB9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66653344-AE66-465D-82EE-69F50C5DD95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4B7F40B-29E3-4813-806E-80C1BD0B558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63B3B253-1D6F-4E0C-8D0F-F5C35F59F75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DAC8F2CB-45BE-42E0-A52A-C8B115BA6DA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99.013999999999996</c:v>
                </c:pt>
                <c:pt idx="1">
                  <c:v>40.125500000000002</c:v>
                </c:pt>
                <c:pt idx="2">
                  <c:v>35.324399999999997</c:v>
                </c:pt>
                <c:pt idx="3">
                  <c:v>58.5242</c:v>
                </c:pt>
                <c:pt idx="4">
                  <c:v>37.983400000000003</c:v>
                </c:pt>
                <c:pt idx="5">
                  <c:v>47.084000000000003</c:v>
                </c:pt>
                <c:pt idx="6">
                  <c:v>53.462699999999998</c:v>
                </c:pt>
                <c:pt idx="7">
                  <c:v>75.419600000000003</c:v>
                </c:pt>
              </c:numCache>
            </c:numRef>
          </c:xVal>
          <c:yVal>
            <c:numRef>
              <c:f>Sheet1!$B$2:$B$9</c:f>
              <c:numCache>
                <c:formatCode>General</c:formatCode>
                <c:ptCount val="8"/>
                <c:pt idx="0">
                  <c:v>1.411</c:v>
                </c:pt>
                <c:pt idx="1">
                  <c:v>0.59699999999999998</c:v>
                </c:pt>
                <c:pt idx="2">
                  <c:v>0.51300000000000001</c:v>
                </c:pt>
                <c:pt idx="3">
                  <c:v>0.90300000000000002</c:v>
                </c:pt>
                <c:pt idx="4">
                  <c:v>0.55300000000000005</c:v>
                </c:pt>
                <c:pt idx="5">
                  <c:v>0.68100000000000005</c:v>
                </c:pt>
                <c:pt idx="6">
                  <c:v>0.76900000000000002</c:v>
                </c:pt>
                <c:pt idx="7">
                  <c:v>1.0760000000000001</c:v>
                </c:pt>
              </c:numCache>
            </c:numRef>
          </c:yVal>
          <c:bubbleSize>
            <c:numRef>
              <c:f>Sheet1!$C$2:$C$9</c:f>
              <c:numCache>
                <c:formatCode>General</c:formatCode>
                <c:ptCount val="8"/>
                <c:pt idx="0">
                  <c:v>763497</c:v>
                </c:pt>
                <c:pt idx="1">
                  <c:v>108419</c:v>
                </c:pt>
                <c:pt idx="2">
                  <c:v>84390</c:v>
                </c:pt>
                <c:pt idx="3">
                  <c:v>56944</c:v>
                </c:pt>
                <c:pt idx="4">
                  <c:v>47935</c:v>
                </c:pt>
                <c:pt idx="5">
                  <c:v>45954</c:v>
                </c:pt>
                <c:pt idx="6">
                  <c:v>30848</c:v>
                </c:pt>
                <c:pt idx="7">
                  <c:v>30017</c:v>
                </c:pt>
              </c:numCache>
            </c:numRef>
          </c:bubbleSize>
          <c:bubble3D val="0"/>
          <c:extLst>
            <c:ext xmlns:c15="http://schemas.microsoft.com/office/drawing/2012/chart" uri="{02D57815-91ED-43cb-92C2-25804820EDAC}">
              <c15:datalabelsRange>
                <c15:f>Sheet1!$E$2:$E$10</c15:f>
                <c15:dlblRangeCache>
                  <c:ptCount val="9"/>
                  <c:pt idx="0">
                    <c:v>Ruinart</c:v>
                  </c:pt>
                  <c:pt idx="1">
                    <c:v>Nicolas</c:v>
                  </c:pt>
                  <c:pt idx="2">
                    <c:v>Malard</c:v>
                  </c:pt>
                  <c:pt idx="3">
                    <c:v>Besserat De Bellefon</c:v>
                  </c:pt>
                  <c:pt idx="4">
                    <c:v>De Bligny</c:v>
                  </c:pt>
                  <c:pt idx="5">
                    <c:v>Henriot</c:v>
                  </c:pt>
                  <c:pt idx="6">
                    <c:v>Delamotte</c:v>
                  </c:pt>
                  <c:pt idx="7">
                    <c:v>Ayala</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19"/>
          <c:min val="28"/>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3DEF35B3-0726-4F2E-BBA3-239A22BFDF0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FF61EF92-A7BD-4807-B587-15A72B4B01D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3BE87C20-641B-46D7-9FEE-B6969051AB2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79D20E96-4968-4737-A5B3-C0A1B4FCED6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CCF1705C-9129-4069-9A84-55355F00EEF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01107856-0FE1-4D5F-B8D0-640D5F9596D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C6ECBB52-648A-43DD-8DC2-ED5B3F6B377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D75A17E5-3D74-4687-B353-C6D2E1F0554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4.4570999999999996</c:v>
                </c:pt>
                <c:pt idx="1">
                  <c:v>4.2683</c:v>
                </c:pt>
                <c:pt idx="2">
                  <c:v>5.8516000000000004</c:v>
                </c:pt>
                <c:pt idx="3">
                  <c:v>7.1054000000000004</c:v>
                </c:pt>
                <c:pt idx="4">
                  <c:v>6.9976000000000003</c:v>
                </c:pt>
                <c:pt idx="5">
                  <c:v>6.3528000000000002</c:v>
                </c:pt>
                <c:pt idx="6">
                  <c:v>4.9625000000000004</c:v>
                </c:pt>
                <c:pt idx="7">
                  <c:v>7.1954000000000002</c:v>
                </c:pt>
              </c:numCache>
            </c:numRef>
          </c:xVal>
          <c:yVal>
            <c:numRef>
              <c:f>Sheet1!$B$2:$B$9</c:f>
              <c:numCache>
                <c:formatCode>General</c:formatCode>
                <c:ptCount val="8"/>
                <c:pt idx="0">
                  <c:v>1.129</c:v>
                </c:pt>
                <c:pt idx="1">
                  <c:v>0.38600000000000001</c:v>
                </c:pt>
                <c:pt idx="2">
                  <c:v>1.2929999999999999</c:v>
                </c:pt>
                <c:pt idx="3">
                  <c:v>1.3169999999999999</c:v>
                </c:pt>
                <c:pt idx="4">
                  <c:v>1.863</c:v>
                </c:pt>
                <c:pt idx="5">
                  <c:v>1.575</c:v>
                </c:pt>
                <c:pt idx="6">
                  <c:v>0.44600000000000001</c:v>
                </c:pt>
                <c:pt idx="7">
                  <c:v>1.4530000000000001</c:v>
                </c:pt>
              </c:numCache>
            </c:numRef>
          </c:yVal>
          <c:bubbleSize>
            <c:numRef>
              <c:f>Sheet1!$C$2:$C$9</c:f>
              <c:numCache>
                <c:formatCode>General</c:formatCode>
                <c:ptCount val="8"/>
                <c:pt idx="0">
                  <c:v>132987950</c:v>
                </c:pt>
                <c:pt idx="1">
                  <c:v>39552397</c:v>
                </c:pt>
                <c:pt idx="2">
                  <c:v>33996423</c:v>
                </c:pt>
                <c:pt idx="3">
                  <c:v>32603771</c:v>
                </c:pt>
                <c:pt idx="4">
                  <c:v>26217786</c:v>
                </c:pt>
                <c:pt idx="5">
                  <c:v>21162718</c:v>
                </c:pt>
                <c:pt idx="6">
                  <c:v>19453979</c:v>
                </c:pt>
                <c:pt idx="7">
                  <c:v>17071028</c:v>
                </c:pt>
              </c:numCache>
            </c:numRef>
          </c:bubbleSize>
          <c:bubble3D val="0"/>
          <c:extLst>
            <c:ext xmlns:c15="http://schemas.microsoft.com/office/drawing/2012/chart" uri="{02D57815-91ED-43cb-92C2-25804820EDAC}">
              <c15:datalabelsRange>
                <c15:f>Sheet1!$E$2:$E$10</c15:f>
                <c15:dlblRangeCache>
                  <c:ptCount val="9"/>
                  <c:pt idx="0">
                    <c:v>Mdd</c:v>
                  </c:pt>
                  <c:pt idx="1">
                    <c:v>Charles Volner</c:v>
                  </c:pt>
                  <c:pt idx="2">
                    <c:v>Freixenet</c:v>
                  </c:pt>
                  <c:pt idx="3">
                    <c:v>Wolfberger</c:v>
                  </c:pt>
                  <c:pt idx="4">
                    <c:v>Riccadonna</c:v>
                  </c:pt>
                  <c:pt idx="5">
                    <c:v>Vilaveroni</c:v>
                  </c:pt>
                  <c:pt idx="6">
                    <c:v>Kriter</c:v>
                  </c:pt>
                  <c:pt idx="7">
                    <c:v>Arthur Metz</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9"/>
          <c:min val="3"/>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66C67DAB-5B5E-4117-85C1-E3B5C672CCA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B9475B31-8F2E-41A7-833C-8407A0D88A4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C92F16F7-ACDA-4250-BE32-07299372C13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364EAE45-2223-48FD-8332-28706AC403A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8572B5CC-2D78-452C-A628-1429D28DD2E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4E58ADE3-1C83-4E53-9CA1-E4785F6EB6D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FC3BFC82-EB90-469E-B9F8-41D080F7E10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51A856B4-A217-4E72-B454-8A4889894B8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56.8733</c:v>
                </c:pt>
                <c:pt idx="1">
                  <c:v>22.2439</c:v>
                </c:pt>
                <c:pt idx="2">
                  <c:v>49.049300000000002</c:v>
                </c:pt>
                <c:pt idx="3">
                  <c:v>49.148099999999999</c:v>
                </c:pt>
                <c:pt idx="4">
                  <c:v>29.232500000000002</c:v>
                </c:pt>
                <c:pt idx="5">
                  <c:v>30.978899999999999</c:v>
                </c:pt>
                <c:pt idx="6">
                  <c:v>37.4146</c:v>
                </c:pt>
                <c:pt idx="7">
                  <c:v>30.294499999999999</c:v>
                </c:pt>
              </c:numCache>
            </c:numRef>
          </c:xVal>
          <c:yVal>
            <c:numRef>
              <c:f>Sheet1!$B$2:$B$9</c:f>
              <c:numCache>
                <c:formatCode>General</c:formatCode>
                <c:ptCount val="8"/>
                <c:pt idx="0">
                  <c:v>1.4530000000000001</c:v>
                </c:pt>
                <c:pt idx="1">
                  <c:v>0.57399999999999995</c:v>
                </c:pt>
                <c:pt idx="2">
                  <c:v>1.208</c:v>
                </c:pt>
                <c:pt idx="3">
                  <c:v>1.115</c:v>
                </c:pt>
                <c:pt idx="4">
                  <c:v>0.75600000000000001</c:v>
                </c:pt>
                <c:pt idx="5">
                  <c:v>0.82499999999999996</c:v>
                </c:pt>
                <c:pt idx="6">
                  <c:v>0.96799999999999997</c:v>
                </c:pt>
                <c:pt idx="7">
                  <c:v>0.78300000000000003</c:v>
                </c:pt>
              </c:numCache>
            </c:numRef>
          </c:yVal>
          <c:bubbleSize>
            <c:numRef>
              <c:f>Sheet1!$C$2:$C$9</c:f>
              <c:numCache>
                <c:formatCode>General</c:formatCode>
                <c:ptCount val="8"/>
                <c:pt idx="0">
                  <c:v>1440828</c:v>
                </c:pt>
                <c:pt idx="1">
                  <c:v>843512</c:v>
                </c:pt>
                <c:pt idx="2">
                  <c:v>699492</c:v>
                </c:pt>
                <c:pt idx="3">
                  <c:v>368021</c:v>
                </c:pt>
                <c:pt idx="4">
                  <c:v>367569</c:v>
                </c:pt>
                <c:pt idx="5">
                  <c:v>320291</c:v>
                </c:pt>
                <c:pt idx="6">
                  <c:v>307024</c:v>
                </c:pt>
                <c:pt idx="7">
                  <c:v>302794</c:v>
                </c:pt>
              </c:numCache>
            </c:numRef>
          </c:bubbleSize>
          <c:bubble3D val="0"/>
          <c:extLst>
            <c:ext xmlns:c15="http://schemas.microsoft.com/office/drawing/2012/chart" uri="{02D57815-91ED-43cb-92C2-25804820EDAC}">
              <c15:datalabelsRange>
                <c15:f>Sheet1!$E$2:$E$10</c15:f>
                <c15:dlblRangeCache>
                  <c:ptCount val="9"/>
                  <c:pt idx="0">
                    <c:v>Ruinart</c:v>
                  </c:pt>
                  <c:pt idx="1">
                    <c:v>Nicolas</c:v>
                  </c:pt>
                  <c:pt idx="2">
                    <c:v>Deutz</c:v>
                  </c:pt>
                  <c:pt idx="3">
                    <c:v>Laurent Perrier</c:v>
                  </c:pt>
                  <c:pt idx="4">
                    <c:v>Heidsieck &amp; Co Monopole</c:v>
                  </c:pt>
                  <c:pt idx="5">
                    <c:v>Canard Duchêne</c:v>
                  </c:pt>
                  <c:pt idx="6">
                    <c:v>Ayala</c:v>
                  </c:pt>
                  <c:pt idx="7">
                    <c:v>De Bligny</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8"/>
          <c:min val="18"/>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8F961DD7-6E46-4CD5-A97C-559D31DD57A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63765842-8B75-4092-B560-9D1E825E4C0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71-46D6-BBFE-7C00E0D51738}"/>
                </c:ext>
              </c:extLst>
            </c:dLbl>
            <c:dLbl>
              <c:idx val="3"/>
              <c:tx>
                <c:rich>
                  <a:bodyPr/>
                  <a:lstStyle/>
                  <a:p>
                    <a:fld id="{D04BD351-A39A-41E1-817E-BEA7CB6B090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71-46D6-BBFE-7C00E0D51738}"/>
                </c:ext>
              </c:extLst>
            </c:dLbl>
            <c:dLbl>
              <c:idx val="4"/>
              <c:tx>
                <c:rich>
                  <a:bodyPr/>
                  <a:lstStyle/>
                  <a:p>
                    <a:fld id="{4143E969-6447-4A80-BB39-AB860184981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D871-46D6-BBFE-7C00E0D51738}"/>
                </c:ext>
              </c:extLst>
            </c:dLbl>
            <c:dLbl>
              <c:idx val="5"/>
              <c:tx>
                <c:rich>
                  <a:bodyPr/>
                  <a:lstStyle/>
                  <a:p>
                    <a:fld id="{3CDE027A-2E07-4B78-8278-668E6A4F4A4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71-46D6-BBFE-7C00E0D51738}"/>
                </c:ext>
              </c:extLst>
            </c:dLbl>
            <c:dLbl>
              <c:idx val="6"/>
              <c:tx>
                <c:rich>
                  <a:bodyPr/>
                  <a:lstStyle/>
                  <a:p>
                    <a:fld id="{689A395F-DD25-41B1-80D1-EC225FAE956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71-46D6-BBFE-7C00E0D51738}"/>
                </c:ext>
              </c:extLst>
            </c:dLbl>
            <c:dLbl>
              <c:idx val="7"/>
              <c:tx>
                <c:rich>
                  <a:bodyPr/>
                  <a:lstStyle/>
                  <a:p>
                    <a:fld id="{45100ADE-098C-491D-9E81-21B4B35A1BF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71-46D6-BBFE-7C00E0D51738}"/>
                </c:ext>
              </c:extLst>
            </c:dLbl>
            <c:dLbl>
              <c:idx val="8"/>
              <c:tx>
                <c:rich>
                  <a:bodyPr/>
                  <a:lstStyle/>
                  <a:p>
                    <a:fld id="{524C51A3-6E8A-4FD7-BC4B-6D7AF15B20B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29.6189</c:v>
                </c:pt>
                <c:pt idx="1">
                  <c:v>30.450399999999998</c:v>
                </c:pt>
                <c:pt idx="2">
                  <c:v>31.941800000000001</c:v>
                </c:pt>
                <c:pt idx="3">
                  <c:v>34.472900000000003</c:v>
                </c:pt>
              </c:numCache>
            </c:numRef>
          </c:xVal>
          <c:yVal>
            <c:numRef>
              <c:f>Sheet1!$B$2:$B$5</c:f>
              <c:numCache>
                <c:formatCode>General</c:formatCode>
                <c:ptCount val="4"/>
                <c:pt idx="0">
                  <c:v>0.98599999999999999</c:v>
                </c:pt>
                <c:pt idx="1">
                  <c:v>1.016</c:v>
                </c:pt>
                <c:pt idx="2">
                  <c:v>1.0640000000000001</c:v>
                </c:pt>
                <c:pt idx="3">
                  <c:v>1.06</c:v>
                </c:pt>
              </c:numCache>
            </c:numRef>
          </c:yVal>
          <c:bubbleSize>
            <c:numRef>
              <c:f>Sheet1!$C$2:$C$5</c:f>
              <c:numCache>
                <c:formatCode>General</c:formatCode>
                <c:ptCount val="4"/>
                <c:pt idx="0">
                  <c:v>354983</c:v>
                </c:pt>
                <c:pt idx="1">
                  <c:v>90468</c:v>
                </c:pt>
                <c:pt idx="2">
                  <c:v>40598</c:v>
                </c:pt>
                <c:pt idx="3">
                  <c:v>19684</c:v>
                </c:pt>
              </c:numCache>
            </c:numRef>
          </c:bubbleSize>
          <c:bubble3D val="0"/>
          <c:extLst>
            <c:ext xmlns:c15="http://schemas.microsoft.com/office/drawing/2012/chart" uri="{02D57815-91ED-43cb-92C2-25804820EDAC}">
              <c15:datalabelsRange>
                <c15:f>Sheet1!$E$2:$E$10</c15:f>
                <c15:dlblRangeCache>
                  <c:ptCount val="9"/>
                  <c:pt idx="0">
                    <c:v>Malard</c:v>
                  </c:pt>
                  <c:pt idx="1">
                    <c:v>Vesselle</c:v>
                  </c:pt>
                  <c:pt idx="2">
                    <c:v>Louis Martin</c:v>
                  </c:pt>
                  <c:pt idx="3">
                    <c:v>Nicolas</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1"/>
          <c:min val="24"/>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CA-4C16-90F6-A0D9A3D8DA8E}"/>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CA-4C16-90F6-A0D9A3D8DA8E}"/>
                </c:ext>
              </c:extLst>
            </c:dLbl>
            <c:dLbl>
              <c:idx val="1"/>
              <c:tx>
                <c:rich>
                  <a:bodyPr/>
                  <a:lstStyle/>
                  <a:p>
                    <a:fld id="{96BBF5BF-44A9-4476-B9C8-FEF27BAB397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CA-4C16-90F6-A0D9A3D8DA8E}"/>
                </c:ext>
              </c:extLst>
            </c:dLbl>
            <c:dLbl>
              <c:idx val="2"/>
              <c:tx>
                <c:rich>
                  <a:bodyPr/>
                  <a:lstStyle/>
                  <a:p>
                    <a:fld id="{A492449A-C805-4A66-8A4C-5A9B697F41D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CA-4C16-90F6-A0D9A3D8DA8E}"/>
                </c:ext>
              </c:extLst>
            </c:dLbl>
            <c:dLbl>
              <c:idx val="3"/>
              <c:tx>
                <c:rich>
                  <a:bodyPr/>
                  <a:lstStyle/>
                  <a:p>
                    <a:fld id="{0ABC77B1-1A27-423D-ACFE-812C58D7B7B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D8CA-4C16-90F6-A0D9A3D8DA8E}"/>
                </c:ext>
              </c:extLst>
            </c:dLbl>
            <c:dLbl>
              <c:idx val="4"/>
              <c:tx>
                <c:rich>
                  <a:bodyPr/>
                  <a:lstStyle/>
                  <a:p>
                    <a:fld id="{26614311-2354-4F6D-B743-07742884951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D8CA-4C16-90F6-A0D9A3D8DA8E}"/>
                </c:ext>
              </c:extLst>
            </c:dLbl>
            <c:dLbl>
              <c:idx val="5"/>
              <c:tx>
                <c:rich>
                  <a:bodyPr/>
                  <a:lstStyle/>
                  <a:p>
                    <a:fld id="{3E0394A3-1905-4887-9322-0CD73C77BD4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CA-4C16-90F6-A0D9A3D8DA8E}"/>
                </c:ext>
              </c:extLst>
            </c:dLbl>
            <c:dLbl>
              <c:idx val="6"/>
              <c:tx>
                <c:rich>
                  <a:bodyPr/>
                  <a:lstStyle/>
                  <a:p>
                    <a:fld id="{D6F74DC7-5408-4086-9054-63F528D2F8D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CA-4C16-90F6-A0D9A3D8DA8E}"/>
                </c:ext>
              </c:extLst>
            </c:dLbl>
            <c:dLbl>
              <c:idx val="7"/>
              <c:tx>
                <c:rich>
                  <a:bodyPr/>
                  <a:lstStyle/>
                  <a:p>
                    <a:fld id="{06AF8094-033E-4CA4-99DB-16C68FF1BAC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CA-4C16-90F6-A0D9A3D8DA8E}"/>
                </c:ext>
              </c:extLst>
            </c:dLbl>
            <c:dLbl>
              <c:idx val="8"/>
              <c:tx>
                <c:rich>
                  <a:bodyPr/>
                  <a:lstStyle/>
                  <a:p>
                    <a:fld id="{C67A8FB9-FBF6-4FF8-A657-CB1A732B1A8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CA-4C16-90F6-A0D9A3D8DA8E}"/>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31.4998</c:v>
                </c:pt>
                <c:pt idx="1">
                  <c:v>43.330100000000002</c:v>
                </c:pt>
                <c:pt idx="2">
                  <c:v>39.1479</c:v>
                </c:pt>
              </c:numCache>
            </c:numRef>
          </c:xVal>
          <c:yVal>
            <c:numRef>
              <c:f>Sheet1!$B$2:$B$4</c:f>
              <c:numCache>
                <c:formatCode>General</c:formatCode>
                <c:ptCount val="3"/>
                <c:pt idx="0">
                  <c:v>0.94699999999999995</c:v>
                </c:pt>
                <c:pt idx="1">
                  <c:v>1.302</c:v>
                </c:pt>
                <c:pt idx="2">
                  <c:v>1.1080000000000001</c:v>
                </c:pt>
              </c:numCache>
            </c:numRef>
          </c:yVal>
          <c:bubbleSize>
            <c:numRef>
              <c:f>Sheet1!$C$2:$C$4</c:f>
              <c:numCache>
                <c:formatCode>General</c:formatCode>
                <c:ptCount val="3"/>
                <c:pt idx="0">
                  <c:v>274206</c:v>
                </c:pt>
                <c:pt idx="1">
                  <c:v>61962</c:v>
                </c:pt>
                <c:pt idx="2">
                  <c:v>5559</c:v>
                </c:pt>
              </c:numCache>
            </c:numRef>
          </c:bubbleSize>
          <c:bubble3D val="0"/>
          <c:extLst>
            <c:ext xmlns:c15="http://schemas.microsoft.com/office/drawing/2012/chart" uri="{02D57815-91ED-43cb-92C2-25804820EDAC}">
              <c15:datalabelsRange>
                <c15:f>Sheet1!$E$2:$E$10</c15:f>
                <c15:dlblRangeCache>
                  <c:ptCount val="9"/>
                  <c:pt idx="0">
                    <c:v>Nicolas Feuillatte</c:v>
                  </c:pt>
                  <c:pt idx="1">
                    <c:v>Moët &amp; Chandon</c:v>
                  </c:pt>
                  <c:pt idx="2">
                    <c:v>Canard Duchêne</c:v>
                  </c:pt>
                </c15:dlblRangeCache>
              </c15:datalabelsRange>
            </c:ext>
            <c:ext xmlns:c16="http://schemas.microsoft.com/office/drawing/2014/chart" uri="{C3380CC4-5D6E-409C-BE32-E72D297353CC}">
              <c16:uniqueId val="{00000009-D8CA-4C16-90F6-A0D9A3D8DA8E}"/>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2"/>
          <c:min val="25"/>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1BC39A5-631C-4D8C-9126-68922F14B54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F9E90AB-0609-4919-B609-48FC7B29F94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9390799-FD73-46A7-9EEF-C3DA7B09F19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319504C-8555-4F1A-8DFF-39D99F212B4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6CDD9913-50D0-40E9-A8B6-DC9FAFB2320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A48E0D7-55D0-42DA-8507-FA66DCC0C86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AB213BA-268A-41EC-B578-1A14A766EB8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1A8B209E-572E-40F6-A111-073D86262AC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62.78809999999999</c:v>
                </c:pt>
                <c:pt idx="1">
                  <c:v>155.79660000000001</c:v>
                </c:pt>
                <c:pt idx="2">
                  <c:v>37.944800000000001</c:v>
                </c:pt>
                <c:pt idx="3">
                  <c:v>93.186499999999995</c:v>
                </c:pt>
                <c:pt idx="4">
                  <c:v>66.116100000000003</c:v>
                </c:pt>
                <c:pt idx="5">
                  <c:v>242.03229999999999</c:v>
                </c:pt>
                <c:pt idx="6">
                  <c:v>241.36840000000001</c:v>
                </c:pt>
                <c:pt idx="7">
                  <c:v>255.86670000000001</c:v>
                </c:pt>
              </c:numCache>
            </c:numRef>
          </c:xVal>
          <c:yVal>
            <c:numRef>
              <c:f>Sheet1!$B$2:$B$9</c:f>
              <c:numCache>
                <c:formatCode>General</c:formatCode>
                <c:ptCount val="8"/>
                <c:pt idx="0">
                  <c:v>2.42</c:v>
                </c:pt>
                <c:pt idx="1">
                  <c:v>1.2869999999999999</c:v>
                </c:pt>
                <c:pt idx="2">
                  <c:v>0.35899999999999999</c:v>
                </c:pt>
                <c:pt idx="3">
                  <c:v>0.82199999999999995</c:v>
                </c:pt>
                <c:pt idx="4">
                  <c:v>0.58199999999999996</c:v>
                </c:pt>
                <c:pt idx="5">
                  <c:v>1.9179999999999999</c:v>
                </c:pt>
                <c:pt idx="6">
                  <c:v>1.8240000000000001</c:v>
                </c:pt>
                <c:pt idx="7">
                  <c:v>1.8320000000000001</c:v>
                </c:pt>
              </c:numCache>
            </c:numRef>
          </c:yVal>
          <c:bubbleSize>
            <c:numRef>
              <c:f>Sheet1!$C$2:$C$9</c:f>
              <c:numCache>
                <c:formatCode>General</c:formatCode>
                <c:ptCount val="8"/>
                <c:pt idx="0">
                  <c:v>124036</c:v>
                </c:pt>
                <c:pt idx="1">
                  <c:v>64344</c:v>
                </c:pt>
                <c:pt idx="2">
                  <c:v>45344</c:v>
                </c:pt>
                <c:pt idx="3">
                  <c:v>41468</c:v>
                </c:pt>
                <c:pt idx="4">
                  <c:v>10248</c:v>
                </c:pt>
                <c:pt idx="5">
                  <c:v>7503</c:v>
                </c:pt>
                <c:pt idx="6">
                  <c:v>4586</c:v>
                </c:pt>
                <c:pt idx="7">
                  <c:v>3838</c:v>
                </c:pt>
              </c:numCache>
            </c:numRef>
          </c:bubbleSize>
          <c:bubble3D val="0"/>
          <c:extLst>
            <c:ext xmlns:c15="http://schemas.microsoft.com/office/drawing/2012/chart" uri="{02D57815-91ED-43cb-92C2-25804820EDAC}">
              <c15:datalabelsRange>
                <c15:f>Sheet1!$E$2:$E$10</c15:f>
                <c15:dlblRangeCache>
                  <c:ptCount val="9"/>
                  <c:pt idx="0">
                    <c:v>Dom Perignon</c:v>
                  </c:pt>
                  <c:pt idx="1">
                    <c:v>Roederer</c:v>
                  </c:pt>
                  <c:pt idx="2">
                    <c:v>Malard</c:v>
                  </c:pt>
                  <c:pt idx="3">
                    <c:v>Ruinart</c:v>
                  </c:pt>
                  <c:pt idx="4">
                    <c:v>Laurent Perrier</c:v>
                  </c:pt>
                  <c:pt idx="5">
                    <c:v>Bollinger</c:v>
                  </c:pt>
                  <c:pt idx="6">
                    <c:v>Piper Heidsieck</c:v>
                  </c:pt>
                  <c:pt idx="7">
                    <c:v>Pommer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15"/>
          <c:min val="30"/>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1A1F27FE-31AE-43AA-B6C5-8BB446301B8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8F3722AA-CD81-4F05-9235-8B1A840ADD6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90DAFDED-531C-4E3E-803C-33972DBEE21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92C18339-4BBB-4FAD-91A1-E00D311EFE5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07F41342-7949-4CB1-993F-C8264F04503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A62703E5-3976-46DE-B01F-1F1FE769E5A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CB41AB04-1079-48C7-BE83-F555D2FF19A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81ECC64E-0CC4-42F4-B688-3DB12E8092C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91.327299999999994</c:v>
                </c:pt>
                <c:pt idx="1">
                  <c:v>53.070300000000003</c:v>
                </c:pt>
                <c:pt idx="2">
                  <c:v>26.328800000000001</c:v>
                </c:pt>
                <c:pt idx="3">
                  <c:v>37.6845</c:v>
                </c:pt>
                <c:pt idx="4">
                  <c:v>81.751900000000006</c:v>
                </c:pt>
                <c:pt idx="5">
                  <c:v>37.932200000000002</c:v>
                </c:pt>
                <c:pt idx="6">
                  <c:v>36.190100000000001</c:v>
                </c:pt>
                <c:pt idx="7">
                  <c:v>41.236199999999997</c:v>
                </c:pt>
              </c:numCache>
            </c:numRef>
          </c:xVal>
          <c:yVal>
            <c:numRef>
              <c:f>Sheet1!$B$2:$B$9</c:f>
              <c:numCache>
                <c:formatCode>General</c:formatCode>
                <c:ptCount val="8"/>
                <c:pt idx="0">
                  <c:v>1.7669999999999999</c:v>
                </c:pt>
                <c:pt idx="1">
                  <c:v>1.131</c:v>
                </c:pt>
                <c:pt idx="2">
                  <c:v>0.53800000000000003</c:v>
                </c:pt>
                <c:pt idx="3">
                  <c:v>0.71899999999999997</c:v>
                </c:pt>
                <c:pt idx="4">
                  <c:v>1.554</c:v>
                </c:pt>
                <c:pt idx="5">
                  <c:v>0.72399999999999998</c:v>
                </c:pt>
                <c:pt idx="6">
                  <c:v>0.69599999999999995</c:v>
                </c:pt>
                <c:pt idx="7">
                  <c:v>0.93200000000000005</c:v>
                </c:pt>
              </c:numCache>
            </c:numRef>
          </c:yVal>
          <c:bubbleSize>
            <c:numRef>
              <c:f>Sheet1!$C$2:$C$9</c:f>
              <c:numCache>
                <c:formatCode>General</c:formatCode>
                <c:ptCount val="8"/>
                <c:pt idx="0">
                  <c:v>206491</c:v>
                </c:pt>
                <c:pt idx="1">
                  <c:v>87619</c:v>
                </c:pt>
                <c:pt idx="2">
                  <c:v>75116</c:v>
                </c:pt>
                <c:pt idx="3">
                  <c:v>68925</c:v>
                </c:pt>
                <c:pt idx="4">
                  <c:v>53384</c:v>
                </c:pt>
                <c:pt idx="5">
                  <c:v>36946</c:v>
                </c:pt>
                <c:pt idx="6">
                  <c:v>32933</c:v>
                </c:pt>
                <c:pt idx="7">
                  <c:v>31422</c:v>
                </c:pt>
              </c:numCache>
            </c:numRef>
          </c:bubbleSize>
          <c:bubble3D val="0"/>
          <c:extLst>
            <c:ext xmlns:c15="http://schemas.microsoft.com/office/drawing/2012/chart" uri="{02D57815-91ED-43cb-92C2-25804820EDAC}">
              <c15:datalabelsRange>
                <c15:f>Sheet1!$E$2:$E$10</c15:f>
                <c15:dlblRangeCache>
                  <c:ptCount val="9"/>
                  <c:pt idx="0">
                    <c:v>Ruinart</c:v>
                  </c:pt>
                  <c:pt idx="1">
                    <c:v>Deutz</c:v>
                  </c:pt>
                  <c:pt idx="2">
                    <c:v>Nicolas</c:v>
                  </c:pt>
                  <c:pt idx="3">
                    <c:v>Demoiselle</c:v>
                  </c:pt>
                  <c:pt idx="4">
                    <c:v>Laurent Perrier</c:v>
                  </c:pt>
                  <c:pt idx="5">
                    <c:v>Nicolas Feuillatte</c:v>
                  </c:pt>
                  <c:pt idx="6">
                    <c:v>Malard</c:v>
                  </c:pt>
                  <c:pt idx="7">
                    <c:v>Besserat De Bellefon</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10"/>
          <c:min val="21"/>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0967D059-C353-4F43-B8A3-D80BE115A81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D871-46D6-BBFE-7C00E0D51738}"/>
                </c:ext>
              </c:extLst>
            </c:dLbl>
            <c:dLbl>
              <c:idx val="2"/>
              <c:tx>
                <c:rich>
                  <a:bodyPr/>
                  <a:lstStyle/>
                  <a:p>
                    <a:fld id="{FE0592E2-F3B1-412B-959C-ACEEBEB3A55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D871-46D6-BBFE-7C00E0D51738}"/>
                </c:ext>
              </c:extLst>
            </c:dLbl>
            <c:dLbl>
              <c:idx val="3"/>
              <c:tx>
                <c:rich>
                  <a:bodyPr/>
                  <a:lstStyle/>
                  <a:p>
                    <a:fld id="{63887120-1570-4035-AD71-77EAA2E7563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D871-46D6-BBFE-7C00E0D51738}"/>
                </c:ext>
              </c:extLst>
            </c:dLbl>
            <c:dLbl>
              <c:idx val="4"/>
              <c:tx>
                <c:rich>
                  <a:bodyPr/>
                  <a:lstStyle/>
                  <a:p>
                    <a:fld id="{5A72F45C-2DD9-465A-8181-4EE99D4651F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D871-46D6-BBFE-7C00E0D51738}"/>
                </c:ext>
              </c:extLst>
            </c:dLbl>
            <c:dLbl>
              <c:idx val="5"/>
              <c:tx>
                <c:rich>
                  <a:bodyPr/>
                  <a:lstStyle/>
                  <a:p>
                    <a:fld id="{2A279814-BADD-4DD3-B249-00D2C39AA08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71-46D6-BBFE-7C00E0D51738}"/>
                </c:ext>
              </c:extLst>
            </c:dLbl>
            <c:dLbl>
              <c:idx val="6"/>
              <c:tx>
                <c:rich>
                  <a:bodyPr/>
                  <a:lstStyle/>
                  <a:p>
                    <a:fld id="{56F2F798-2DB3-4BF6-BA35-34C860E631B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71-46D6-BBFE-7C00E0D51738}"/>
                </c:ext>
              </c:extLst>
            </c:dLbl>
            <c:dLbl>
              <c:idx val="7"/>
              <c:tx>
                <c:rich>
                  <a:bodyPr/>
                  <a:lstStyle/>
                  <a:p>
                    <a:fld id="{A65FE1A9-2240-4B2A-82AD-AB7E0853E98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71-46D6-BBFE-7C00E0D51738}"/>
                </c:ext>
              </c:extLst>
            </c:dLbl>
            <c:dLbl>
              <c:idx val="8"/>
              <c:tx>
                <c:rich>
                  <a:bodyPr/>
                  <a:lstStyle/>
                  <a:p>
                    <a:fld id="{80E1500C-6567-4E02-9351-0585149309C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2.7788</c:v>
                </c:pt>
              </c:numCache>
            </c:numRef>
          </c:xVal>
          <c:yVal>
            <c:numRef>
              <c:f>Sheet1!$B$2:$B$2</c:f>
              <c:numCache>
                <c:formatCode>General</c:formatCode>
                <c:ptCount val="1"/>
                <c:pt idx="0">
                  <c:v>0.997</c:v>
                </c:pt>
              </c:numCache>
            </c:numRef>
          </c:yVal>
          <c:bubbleSize>
            <c:numRef>
              <c:f>Sheet1!$C$2:$C$2</c:f>
              <c:numCache>
                <c:formatCode>General</c:formatCode>
                <c:ptCount val="1"/>
                <c:pt idx="0">
                  <c:v>98192</c:v>
                </c:pt>
              </c:numCache>
            </c:numRef>
          </c:bubbleSize>
          <c:bubble3D val="0"/>
          <c:extLst>
            <c:ext xmlns:c15="http://schemas.microsoft.com/office/drawing/2012/chart" uri="{02D57815-91ED-43cb-92C2-25804820EDAC}">
              <c15:datalabelsRange>
                <c15:f>Sheet1!$E$2:$E$10</c15:f>
                <c15:dlblRangeCache>
                  <c:ptCount val="9"/>
                  <c:pt idx="0">
                    <c:v>Patriarche</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5"/>
          <c:min val="10"/>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CA-4C16-90F6-A0D9A3D8DA8E}"/>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CA-4C16-90F6-A0D9A3D8DA8E}"/>
                </c:ext>
              </c:extLst>
            </c:dLbl>
            <c:dLbl>
              <c:idx val="1"/>
              <c:tx>
                <c:rich>
                  <a:bodyPr/>
                  <a:lstStyle/>
                  <a:p>
                    <a:fld id="{8D4248FA-C0C2-4377-BA91-8D08F302E04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CA-4C16-90F6-A0D9A3D8DA8E}"/>
                </c:ext>
              </c:extLst>
            </c:dLbl>
            <c:dLbl>
              <c:idx val="2"/>
              <c:tx>
                <c:rich>
                  <a:bodyPr/>
                  <a:lstStyle/>
                  <a:p>
                    <a:fld id="{1D8A9BBC-EB33-4B32-8891-98C9580BDCF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CA-4C16-90F6-A0D9A3D8DA8E}"/>
                </c:ext>
              </c:extLst>
            </c:dLbl>
            <c:dLbl>
              <c:idx val="3"/>
              <c:tx>
                <c:rich>
                  <a:bodyPr/>
                  <a:lstStyle/>
                  <a:p>
                    <a:fld id="{EDC9022C-A42A-4241-827E-972A37982AB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D8CA-4C16-90F6-A0D9A3D8DA8E}"/>
                </c:ext>
              </c:extLst>
            </c:dLbl>
            <c:dLbl>
              <c:idx val="4"/>
              <c:tx>
                <c:rich>
                  <a:bodyPr/>
                  <a:lstStyle/>
                  <a:p>
                    <a:fld id="{6243AEF7-3E91-4D35-BE2A-EE0FF12FA72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D8CA-4C16-90F6-A0D9A3D8DA8E}"/>
                </c:ext>
              </c:extLst>
            </c:dLbl>
            <c:dLbl>
              <c:idx val="5"/>
              <c:tx>
                <c:rich>
                  <a:bodyPr/>
                  <a:lstStyle/>
                  <a:p>
                    <a:fld id="{F571EA30-2C6E-44AB-8529-AC7FF233B12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CA-4C16-90F6-A0D9A3D8DA8E}"/>
                </c:ext>
              </c:extLst>
            </c:dLbl>
            <c:dLbl>
              <c:idx val="6"/>
              <c:tx>
                <c:rich>
                  <a:bodyPr/>
                  <a:lstStyle/>
                  <a:p>
                    <a:fld id="{EB85AABA-82E8-4B5C-930F-15D13908A44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CA-4C16-90F6-A0D9A3D8DA8E}"/>
                </c:ext>
              </c:extLst>
            </c:dLbl>
            <c:dLbl>
              <c:idx val="7"/>
              <c:tx>
                <c:rich>
                  <a:bodyPr/>
                  <a:lstStyle/>
                  <a:p>
                    <a:fld id="{557C1057-C7D3-4DC4-957E-A45C1E87885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CA-4C16-90F6-A0D9A3D8DA8E}"/>
                </c:ext>
              </c:extLst>
            </c:dLbl>
            <c:dLbl>
              <c:idx val="8"/>
              <c:tx>
                <c:rich>
                  <a:bodyPr/>
                  <a:lstStyle/>
                  <a:p>
                    <a:fld id="{F8A4798C-6211-4242-96C5-5ED040B450C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CA-4C16-90F6-A0D9A3D8DA8E}"/>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1.5068</c:v>
                </c:pt>
                <c:pt idx="1">
                  <c:v>9.1301000000000005</c:v>
                </c:pt>
                <c:pt idx="2">
                  <c:v>11.2819</c:v>
                </c:pt>
              </c:numCache>
            </c:numRef>
          </c:xVal>
          <c:yVal>
            <c:numRef>
              <c:f>Sheet1!$B$2:$B$4</c:f>
              <c:numCache>
                <c:formatCode>General</c:formatCode>
                <c:ptCount val="3"/>
                <c:pt idx="0">
                  <c:v>1.3009999999999999</c:v>
                </c:pt>
                <c:pt idx="1">
                  <c:v>1.0329999999999999</c:v>
                </c:pt>
                <c:pt idx="2">
                  <c:v>1.095</c:v>
                </c:pt>
              </c:numCache>
            </c:numRef>
          </c:yVal>
          <c:bubbleSize>
            <c:numRef>
              <c:f>Sheet1!$C$2:$C$4</c:f>
              <c:numCache>
                <c:formatCode>General</c:formatCode>
                <c:ptCount val="3"/>
                <c:pt idx="0">
                  <c:v>77326</c:v>
                </c:pt>
                <c:pt idx="1">
                  <c:v>44555</c:v>
                </c:pt>
                <c:pt idx="2">
                  <c:v>22609</c:v>
                </c:pt>
              </c:numCache>
            </c:numRef>
          </c:bubbleSize>
          <c:bubble3D val="0"/>
          <c:extLst>
            <c:ext xmlns:c15="http://schemas.microsoft.com/office/drawing/2012/chart" uri="{02D57815-91ED-43cb-92C2-25804820EDAC}">
              <c15:datalabelsRange>
                <c15:f>Sheet1!$E$2:$E$10</c15:f>
                <c15:dlblRangeCache>
                  <c:ptCount val="9"/>
                  <c:pt idx="0">
                    <c:v>Bottega</c:v>
                  </c:pt>
                  <c:pt idx="1">
                    <c:v>Savian</c:v>
                  </c:pt>
                  <c:pt idx="2">
                    <c:v>Contarini</c:v>
                  </c:pt>
                </c15:dlblRangeCache>
              </c15:datalabelsRange>
            </c:ext>
            <c:ext xmlns:c16="http://schemas.microsoft.com/office/drawing/2014/chart" uri="{C3380CC4-5D6E-409C-BE32-E72D297353CC}">
              <c16:uniqueId val="{00000009-D8CA-4C16-90F6-A0D9A3D8DA8E}"/>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4"/>
          <c:min val="7"/>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0D0555C-D6F7-47C3-81D8-2F62771BCA7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29C9FED-AF8B-49CB-B4F8-54C24CC933D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5D27E2C-E5D9-4F85-B037-E2C10E312C5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AC412CDB-C66E-4321-B58E-E5393F5D2BC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71A68CD8-901F-4A11-984F-1BCC8DC2B5D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B7BEB6BC-6C49-428C-9279-0A677A8E7D8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B7827B2F-E321-410B-AC51-63DB253F03C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92B23BCE-A1F8-4062-949E-BD1D321C510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1.856400000000001</c:v>
                </c:pt>
                <c:pt idx="1">
                  <c:v>11.451599999999999</c:v>
                </c:pt>
                <c:pt idx="2">
                  <c:v>13.463800000000001</c:v>
                </c:pt>
              </c:numCache>
            </c:numRef>
          </c:xVal>
          <c:yVal>
            <c:numRef>
              <c:f>Sheet1!$B$2:$B$4</c:f>
              <c:numCache>
                <c:formatCode>General</c:formatCode>
                <c:ptCount val="3"/>
                <c:pt idx="0">
                  <c:v>0.98299999999999998</c:v>
                </c:pt>
                <c:pt idx="1">
                  <c:v>1.0129999999999999</c:v>
                </c:pt>
                <c:pt idx="2">
                  <c:v>1.1910000000000001</c:v>
                </c:pt>
              </c:numCache>
            </c:numRef>
          </c:yVal>
          <c:bubbleSize>
            <c:numRef>
              <c:f>Sheet1!$C$2:$C$4</c:f>
              <c:numCache>
                <c:formatCode>General</c:formatCode>
                <c:ptCount val="3"/>
                <c:pt idx="0">
                  <c:v>60420</c:v>
                </c:pt>
                <c:pt idx="1">
                  <c:v>50536</c:v>
                </c:pt>
                <c:pt idx="2">
                  <c:v>27143</c:v>
                </c:pt>
              </c:numCache>
            </c:numRef>
          </c:bubbleSize>
          <c:bubble3D val="0"/>
          <c:extLst>
            <c:ext xmlns:c15="http://schemas.microsoft.com/office/drawing/2012/chart" uri="{02D57815-91ED-43cb-92C2-25804820EDAC}">
              <c15:datalabelsRange>
                <c15:f>Sheet1!$E$2:$E$10</c15:f>
                <c15:dlblRangeCache>
                  <c:ptCount val="9"/>
                  <c:pt idx="0">
                    <c:v>Bouvet-Ladubay</c:v>
                  </c:pt>
                  <c:pt idx="1">
                    <c:v>Chateau Moncontour</c:v>
                  </c:pt>
                  <c:pt idx="2">
                    <c:v>De Chancen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6"/>
          <c:min val="9"/>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AA21AE00-436F-470B-BD85-4FE132D52D4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48EF-49EC-8B4D-EC25A4464CE3}"/>
                </c:ext>
              </c:extLst>
            </c:dLbl>
            <c:dLbl>
              <c:idx val="2"/>
              <c:tx>
                <c:rich>
                  <a:bodyPr/>
                  <a:lstStyle/>
                  <a:p>
                    <a:fld id="{6AFCAF62-68AE-4DA9-AEB3-630F58A219B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48EF-49EC-8B4D-EC25A4464CE3}"/>
                </c:ext>
              </c:extLst>
            </c:dLbl>
            <c:dLbl>
              <c:idx val="3"/>
              <c:tx>
                <c:rich>
                  <a:bodyPr/>
                  <a:lstStyle/>
                  <a:p>
                    <a:fld id="{C7F0D961-ADB1-4033-8DDA-6713F7FE6AB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48EF-49EC-8B4D-EC25A4464CE3}"/>
                </c:ext>
              </c:extLst>
            </c:dLbl>
            <c:dLbl>
              <c:idx val="4"/>
              <c:tx>
                <c:rich>
                  <a:bodyPr/>
                  <a:lstStyle/>
                  <a:p>
                    <a:fld id="{6D3E118D-2C80-442D-9DD7-3A61D75B470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48EF-49EC-8B4D-EC25A4464CE3}"/>
                </c:ext>
              </c:extLst>
            </c:dLbl>
            <c:dLbl>
              <c:idx val="5"/>
              <c:tx>
                <c:rich>
                  <a:bodyPr/>
                  <a:lstStyle/>
                  <a:p>
                    <a:fld id="{AECBE94F-E0F8-48BB-8247-994502100E9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48EF-49EC-8B4D-EC25A4464CE3}"/>
                </c:ext>
              </c:extLst>
            </c:dLbl>
            <c:dLbl>
              <c:idx val="6"/>
              <c:tx>
                <c:rich>
                  <a:bodyPr/>
                  <a:lstStyle/>
                  <a:p>
                    <a:fld id="{0B827B3B-CD27-4A42-AD49-EEF17F7B7BA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48EF-49EC-8B4D-EC25A4464CE3}"/>
                </c:ext>
              </c:extLst>
            </c:dLbl>
            <c:dLbl>
              <c:idx val="7"/>
              <c:tx>
                <c:rich>
                  <a:bodyPr/>
                  <a:lstStyle/>
                  <a:p>
                    <a:fld id="{A1277689-BFDB-4739-BF52-2053BE7B425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48EF-49EC-8B4D-EC25A4464CE3}"/>
                </c:ext>
              </c:extLst>
            </c:dLbl>
            <c:dLbl>
              <c:idx val="8"/>
              <c:tx>
                <c:rich>
                  <a:bodyPr/>
                  <a:lstStyle/>
                  <a:p>
                    <a:fld id="{E88EEF2D-100A-4695-A96E-012F10157AA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7.286000000000001</c:v>
                </c:pt>
              </c:numCache>
            </c:numRef>
          </c:xVal>
          <c:yVal>
            <c:numRef>
              <c:f>Sheet1!$B$2:$B$2</c:f>
              <c:numCache>
                <c:formatCode>General</c:formatCode>
                <c:ptCount val="1"/>
                <c:pt idx="0">
                  <c:v>1.224</c:v>
                </c:pt>
              </c:numCache>
            </c:numRef>
          </c:yVal>
          <c:bubbleSize>
            <c:numRef>
              <c:f>Sheet1!$C$2:$C$2</c:f>
              <c:numCache>
                <c:formatCode>General</c:formatCode>
                <c:ptCount val="1"/>
                <c:pt idx="0">
                  <c:v>81175</c:v>
                </c:pt>
              </c:numCache>
            </c:numRef>
          </c:bubbleSize>
          <c:bubble3D val="0"/>
          <c:extLst>
            <c:ext xmlns:c15="http://schemas.microsoft.com/office/drawing/2012/chart" uri="{02D57815-91ED-43cb-92C2-25804820EDAC}">
              <c15:datalabelsRange>
                <c15:f>Sheet1!$E$2:$E$10</c15:f>
                <c15:dlblRangeCache>
                  <c:ptCount val="9"/>
                  <c:pt idx="0">
                    <c:v>Mure</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
          <c:min val="14"/>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AEDBF11D-666B-4D7A-BBBF-BA804F43B3C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1C3B2680-D987-495A-9495-997AE113B6C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D871-46D6-BBFE-7C00E0D51738}"/>
                </c:ext>
              </c:extLst>
            </c:dLbl>
            <c:dLbl>
              <c:idx val="3"/>
              <c:tx>
                <c:rich>
                  <a:bodyPr/>
                  <a:lstStyle/>
                  <a:p>
                    <a:fld id="{6FF93424-4BEB-460A-B590-A2586BFE730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D871-46D6-BBFE-7C00E0D51738}"/>
                </c:ext>
              </c:extLst>
            </c:dLbl>
            <c:dLbl>
              <c:idx val="4"/>
              <c:tx>
                <c:rich>
                  <a:bodyPr/>
                  <a:lstStyle/>
                  <a:p>
                    <a:fld id="{CC06AE1F-750B-4726-A84B-8A77A92EE29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D871-46D6-BBFE-7C00E0D51738}"/>
                </c:ext>
              </c:extLst>
            </c:dLbl>
            <c:dLbl>
              <c:idx val="5"/>
              <c:tx>
                <c:rich>
                  <a:bodyPr/>
                  <a:lstStyle/>
                  <a:p>
                    <a:fld id="{6F6E3544-F998-4497-B1C3-53188970EB8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71-46D6-BBFE-7C00E0D51738}"/>
                </c:ext>
              </c:extLst>
            </c:dLbl>
            <c:dLbl>
              <c:idx val="6"/>
              <c:tx>
                <c:rich>
                  <a:bodyPr/>
                  <a:lstStyle/>
                  <a:p>
                    <a:fld id="{6F8C1679-6F8B-4ECB-8620-6E31E05330F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71-46D6-BBFE-7C00E0D51738}"/>
                </c:ext>
              </c:extLst>
            </c:dLbl>
            <c:dLbl>
              <c:idx val="7"/>
              <c:tx>
                <c:rich>
                  <a:bodyPr/>
                  <a:lstStyle/>
                  <a:p>
                    <a:fld id="{D05EA970-8C3E-4948-980E-9B411FD6D04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71-46D6-BBFE-7C00E0D51738}"/>
                </c:ext>
              </c:extLst>
            </c:dLbl>
            <c:dLbl>
              <c:idx val="8"/>
              <c:tx>
                <c:rich>
                  <a:bodyPr/>
                  <a:lstStyle/>
                  <a:p>
                    <a:fld id="{6556F3B1-C37D-4411-9DB7-8F43E2B77E2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10.889099999999999</c:v>
                </c:pt>
                <c:pt idx="1">
                  <c:v>9.4672999999999998</c:v>
                </c:pt>
              </c:numCache>
            </c:numRef>
          </c:xVal>
          <c:yVal>
            <c:numRef>
              <c:f>Sheet1!$B$2:$B$3</c:f>
              <c:numCache>
                <c:formatCode>General</c:formatCode>
                <c:ptCount val="2"/>
                <c:pt idx="0">
                  <c:v>1.0269999999999999</c:v>
                </c:pt>
                <c:pt idx="1">
                  <c:v>0.90300000000000002</c:v>
                </c:pt>
              </c:numCache>
            </c:numRef>
          </c:yVal>
          <c:bubbleSize>
            <c:numRef>
              <c:f>Sheet1!$C$2:$C$3</c:f>
              <c:numCache>
                <c:formatCode>General</c:formatCode>
                <c:ptCount val="2"/>
                <c:pt idx="0">
                  <c:v>10998</c:v>
                </c:pt>
                <c:pt idx="1">
                  <c:v>4194</c:v>
                </c:pt>
              </c:numCache>
            </c:numRef>
          </c:bubbleSize>
          <c:bubble3D val="0"/>
          <c:extLst>
            <c:ext xmlns:c15="http://schemas.microsoft.com/office/drawing/2012/chart" uri="{02D57815-91ED-43cb-92C2-25804820EDAC}">
              <c15:datalabelsRange>
                <c15:f>Sheet1!$E$2:$E$10</c15:f>
                <c15:dlblRangeCache>
                  <c:ptCount val="9"/>
                  <c:pt idx="0">
                    <c:v>Cru La Maqueline</c:v>
                  </c:pt>
                  <c:pt idx="1">
                    <c:v>Celene</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3"/>
          <c:min val="8"/>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4F75C6F6-FA42-4FD2-BFA7-26180DBA014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28A0DA2C-DD47-43EF-BBF2-F3AFDFB531C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71-46D6-BBFE-7C00E0D51738}"/>
                </c:ext>
              </c:extLst>
            </c:dLbl>
            <c:dLbl>
              <c:idx val="3"/>
              <c:tx>
                <c:rich>
                  <a:bodyPr/>
                  <a:lstStyle/>
                  <a:p>
                    <a:fld id="{9AA10E76-7423-4781-80DB-342D3695D5D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71-46D6-BBFE-7C00E0D51738}"/>
                </c:ext>
              </c:extLst>
            </c:dLbl>
            <c:dLbl>
              <c:idx val="4"/>
              <c:tx>
                <c:rich>
                  <a:bodyPr/>
                  <a:lstStyle/>
                  <a:p>
                    <a:fld id="{EFA527CA-5D22-4D54-AAC5-63EEEAF6DE8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871-46D6-BBFE-7C00E0D51738}"/>
                </c:ext>
              </c:extLst>
            </c:dLbl>
            <c:dLbl>
              <c:idx val="5"/>
              <c:tx>
                <c:rich>
                  <a:bodyPr/>
                  <a:lstStyle/>
                  <a:p>
                    <a:fld id="{974A8FEC-9CAD-4CB2-80C3-31FA63267B2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D871-46D6-BBFE-7C00E0D51738}"/>
                </c:ext>
              </c:extLst>
            </c:dLbl>
            <c:dLbl>
              <c:idx val="6"/>
              <c:tx>
                <c:rich>
                  <a:bodyPr/>
                  <a:lstStyle/>
                  <a:p>
                    <a:fld id="{196241E1-2705-4115-8873-08CB8A516AE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71-46D6-BBFE-7C00E0D51738}"/>
                </c:ext>
              </c:extLst>
            </c:dLbl>
            <c:dLbl>
              <c:idx val="7"/>
              <c:tx>
                <c:rich>
                  <a:bodyPr/>
                  <a:lstStyle/>
                  <a:p>
                    <a:fld id="{9250F6F5-BBDA-47FC-8FFD-F22A8962CB7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71-46D6-BBFE-7C00E0D51738}"/>
                </c:ext>
              </c:extLst>
            </c:dLbl>
            <c:dLbl>
              <c:idx val="8"/>
              <c:tx>
                <c:rich>
                  <a:bodyPr/>
                  <a:lstStyle/>
                  <a:p>
                    <a:fld id="{18EEF803-DD89-4C4A-84C0-6E58E9DAF71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3.5872999999999999</c:v>
                </c:pt>
                <c:pt idx="1">
                  <c:v>3.6678000000000002</c:v>
                </c:pt>
                <c:pt idx="2">
                  <c:v>3.9388000000000001</c:v>
                </c:pt>
                <c:pt idx="3">
                  <c:v>2.9659</c:v>
                </c:pt>
                <c:pt idx="4">
                  <c:v>5.45</c:v>
                </c:pt>
                <c:pt idx="5">
                  <c:v>7.4157999999999999</c:v>
                </c:pt>
              </c:numCache>
            </c:numRef>
          </c:xVal>
          <c:yVal>
            <c:numRef>
              <c:f>Sheet1!$B$2:$B$7</c:f>
              <c:numCache>
                <c:formatCode>General</c:formatCode>
                <c:ptCount val="6"/>
                <c:pt idx="0">
                  <c:v>0.95199999999999996</c:v>
                </c:pt>
                <c:pt idx="1">
                  <c:v>0.97199999999999998</c:v>
                </c:pt>
                <c:pt idx="2">
                  <c:v>1.032</c:v>
                </c:pt>
                <c:pt idx="3">
                  <c:v>0.78700000000000003</c:v>
                </c:pt>
                <c:pt idx="4">
                  <c:v>1.446</c:v>
                </c:pt>
                <c:pt idx="5">
                  <c:v>1.9490000000000001</c:v>
                </c:pt>
              </c:numCache>
            </c:numRef>
          </c:yVal>
          <c:bubbleSize>
            <c:numRef>
              <c:f>Sheet1!$C$2:$C$7</c:f>
              <c:numCache>
                <c:formatCode>General</c:formatCode>
                <c:ptCount val="6"/>
                <c:pt idx="0">
                  <c:v>8393288</c:v>
                </c:pt>
                <c:pt idx="1">
                  <c:v>5214126</c:v>
                </c:pt>
                <c:pt idx="2">
                  <c:v>4064943</c:v>
                </c:pt>
                <c:pt idx="3">
                  <c:v>2391008</c:v>
                </c:pt>
                <c:pt idx="4">
                  <c:v>1430636</c:v>
                </c:pt>
                <c:pt idx="5">
                  <c:v>436974</c:v>
                </c:pt>
              </c:numCache>
            </c:numRef>
          </c:bubbleSize>
          <c:bubble3D val="0"/>
          <c:extLst>
            <c:ext xmlns:c15="http://schemas.microsoft.com/office/drawing/2012/chart" uri="{02D57815-91ED-43cb-92C2-25804820EDAC}">
              <c15:datalabelsRange>
                <c15:f>Sheet1!$E$2:$E$10</c15:f>
                <c15:dlblRangeCache>
                  <c:ptCount val="9"/>
                  <c:pt idx="0">
                    <c:v>D'Artigny</c:v>
                  </c:pt>
                  <c:pt idx="1">
                    <c:v>Festillant</c:v>
                  </c:pt>
                  <c:pt idx="2">
                    <c:v>Petillant De Listel</c:v>
                  </c:pt>
                  <c:pt idx="3">
                    <c:v>Mdd</c:v>
                  </c:pt>
                  <c:pt idx="4">
                    <c:v>Freixenet</c:v>
                  </c:pt>
                  <c:pt idx="5">
                    <c:v>Ackerman</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9"/>
          <c:min val="2"/>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6754411-7F8A-4BED-9A9D-61047BC3359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2F6FB5F-B4A1-4A01-A860-4234968DBA6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6E94897-A6B1-40E1-BD56-3BA14CB0B14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F35C381-DA23-4C4F-95B5-B34A206A71B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098AFF5-C991-4326-8607-11658149CB8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CFC4EE08-D65C-4872-A086-D39017CB6D5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9C45BA7-3DF4-4600-B831-45D2C4BB1C7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B1D63415-8692-43E5-BEC7-BD20E40912C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4.4177999999999997</c:v>
                </c:pt>
                <c:pt idx="1">
                  <c:v>25.1111</c:v>
                </c:pt>
                <c:pt idx="2">
                  <c:v>31.078399999999998</c:v>
                </c:pt>
                <c:pt idx="3">
                  <c:v>4.2683</c:v>
                </c:pt>
                <c:pt idx="4">
                  <c:v>26.736799999999999</c:v>
                </c:pt>
                <c:pt idx="5">
                  <c:v>5.8342000000000001</c:v>
                </c:pt>
                <c:pt idx="6">
                  <c:v>7.1054000000000004</c:v>
                </c:pt>
                <c:pt idx="7">
                  <c:v>23.585599999999999</c:v>
                </c:pt>
              </c:numCache>
            </c:numRef>
          </c:xVal>
          <c:yVal>
            <c:numRef>
              <c:f>Sheet1!$B$2:$B$9</c:f>
              <c:numCache>
                <c:formatCode>General</c:formatCode>
                <c:ptCount val="8"/>
                <c:pt idx="0">
                  <c:v>0.67100000000000004</c:v>
                </c:pt>
                <c:pt idx="1">
                  <c:v>3.4510000000000001</c:v>
                </c:pt>
                <c:pt idx="2">
                  <c:v>4.673</c:v>
                </c:pt>
                <c:pt idx="3">
                  <c:v>0.23100000000000001</c:v>
                </c:pt>
                <c:pt idx="4">
                  <c:v>4.0090000000000003</c:v>
                </c:pt>
                <c:pt idx="5">
                  <c:v>0.77700000000000002</c:v>
                </c:pt>
                <c:pt idx="6">
                  <c:v>0.78900000000000003</c:v>
                </c:pt>
                <c:pt idx="7">
                  <c:v>3.7269999999999999</c:v>
                </c:pt>
              </c:numCache>
            </c:numRef>
          </c:yVal>
          <c:bubbleSize>
            <c:numRef>
              <c:f>Sheet1!$C$2:$C$9</c:f>
              <c:numCache>
                <c:formatCode>General</c:formatCode>
                <c:ptCount val="8"/>
                <c:pt idx="0">
                  <c:v>135378958</c:v>
                </c:pt>
                <c:pt idx="1">
                  <c:v>83416559</c:v>
                </c:pt>
                <c:pt idx="2">
                  <c:v>40272903</c:v>
                </c:pt>
                <c:pt idx="3">
                  <c:v>39552397</c:v>
                </c:pt>
                <c:pt idx="4">
                  <c:v>38917245</c:v>
                </c:pt>
                <c:pt idx="5">
                  <c:v>35427059</c:v>
                </c:pt>
                <c:pt idx="6">
                  <c:v>32603771</c:v>
                </c:pt>
                <c:pt idx="7">
                  <c:v>5693651</c:v>
                </c:pt>
              </c:numCache>
            </c:numRef>
          </c:bubbleSize>
          <c:bubble3D val="0"/>
          <c:extLst>
            <c:ext xmlns:c15="http://schemas.microsoft.com/office/drawing/2012/chart" uri="{02D57815-91ED-43cb-92C2-25804820EDAC}">
              <c15:datalabelsRange>
                <c15:f>Sheet1!$E$2:$E$10</c15:f>
                <c15:dlblRangeCache>
                  <c:ptCount val="9"/>
                  <c:pt idx="0">
                    <c:v>Mdd</c:v>
                  </c:pt>
                  <c:pt idx="1">
                    <c:v>Nicolas Feuillatte</c:v>
                  </c:pt>
                  <c:pt idx="2">
                    <c:v>Mumm</c:v>
                  </c:pt>
                  <c:pt idx="3">
                    <c:v>Charles Volner</c:v>
                  </c:pt>
                  <c:pt idx="4">
                    <c:v>Canard Duchêne</c:v>
                  </c:pt>
                  <c:pt idx="5">
                    <c:v>Freixenet</c:v>
                  </c:pt>
                  <c:pt idx="6">
                    <c:v>Wolfberger</c:v>
                  </c:pt>
                  <c:pt idx="7">
                    <c:v>Nicola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7"/>
          <c:min val="3"/>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rPr lang="de-DE"/>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4.8730000000000002"/>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55A917A-D09B-4EB8-9C60-60BD69B1F95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61623DE-D7C3-490F-A70C-5ED3499B1BE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2D5DC72-3B01-4EC0-B53E-1D78D2437E1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987084C-C63E-4279-A9E3-D44975EE252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87ABE58-1BD6-4CF6-9323-0485641F1E6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C6F525CC-B52D-4129-AB11-57925E9A016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5E634156-E0D9-401D-84F1-0E45AC6C9B4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43DBBFEB-C8C8-4320-BC0C-84252E57A95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69.8643</c:v>
                </c:pt>
                <c:pt idx="1">
                  <c:v>23.652999999999999</c:v>
                </c:pt>
                <c:pt idx="2">
                  <c:v>49.904499999999999</c:v>
                </c:pt>
                <c:pt idx="3">
                  <c:v>52.704900000000002</c:v>
                </c:pt>
                <c:pt idx="4">
                  <c:v>31.571200000000001</c:v>
                </c:pt>
                <c:pt idx="5">
                  <c:v>32.979300000000002</c:v>
                </c:pt>
                <c:pt idx="6">
                  <c:v>29.282399999999999</c:v>
                </c:pt>
                <c:pt idx="7">
                  <c:v>78.368899999999996</c:v>
                </c:pt>
              </c:numCache>
            </c:numRef>
          </c:xVal>
          <c:yVal>
            <c:numRef>
              <c:f>Sheet1!$B$2:$B$9</c:f>
              <c:numCache>
                <c:formatCode>General</c:formatCode>
                <c:ptCount val="8"/>
                <c:pt idx="0">
                  <c:v>1.9390000000000001</c:v>
                </c:pt>
                <c:pt idx="1">
                  <c:v>0.66600000000000004</c:v>
                </c:pt>
                <c:pt idx="2">
                  <c:v>1.3720000000000001</c:v>
                </c:pt>
                <c:pt idx="3">
                  <c:v>1.3240000000000001</c:v>
                </c:pt>
                <c:pt idx="4">
                  <c:v>0.88600000000000001</c:v>
                </c:pt>
                <c:pt idx="5">
                  <c:v>0.90400000000000003</c:v>
                </c:pt>
                <c:pt idx="6">
                  <c:v>0.82299999999999995</c:v>
                </c:pt>
                <c:pt idx="7">
                  <c:v>2.1869999999999998</c:v>
                </c:pt>
              </c:numCache>
            </c:numRef>
          </c:yVal>
          <c:bubbleSize>
            <c:numRef>
              <c:f>Sheet1!$C$2:$C$9</c:f>
              <c:numCache>
                <c:formatCode>General</c:formatCode>
                <c:ptCount val="8"/>
                <c:pt idx="0">
                  <c:v>15694034</c:v>
                </c:pt>
                <c:pt idx="1">
                  <c:v>5705587</c:v>
                </c:pt>
                <c:pt idx="2">
                  <c:v>4988401</c:v>
                </c:pt>
                <c:pt idx="3">
                  <c:v>3290262</c:v>
                </c:pt>
                <c:pt idx="4">
                  <c:v>3234970</c:v>
                </c:pt>
                <c:pt idx="5">
                  <c:v>2270261</c:v>
                </c:pt>
                <c:pt idx="6">
                  <c:v>2092464</c:v>
                </c:pt>
                <c:pt idx="7">
                  <c:v>2050287</c:v>
                </c:pt>
              </c:numCache>
            </c:numRef>
          </c:bubbleSize>
          <c:bubble3D val="0"/>
          <c:extLst>
            <c:ext xmlns:c15="http://schemas.microsoft.com/office/drawing/2012/chart" uri="{02D57815-91ED-43cb-92C2-25804820EDAC}">
              <c15:datalabelsRange>
                <c15:f>Sheet1!$E$2:$E$10</c15:f>
                <c15:dlblRangeCache>
                  <c:ptCount val="9"/>
                  <c:pt idx="0">
                    <c:v>Ruinart</c:v>
                  </c:pt>
                  <c:pt idx="1">
                    <c:v>Nicolas</c:v>
                  </c:pt>
                  <c:pt idx="2">
                    <c:v>Deutz</c:v>
                  </c:pt>
                  <c:pt idx="3">
                    <c:v>Laurent Perrier</c:v>
                  </c:pt>
                  <c:pt idx="4">
                    <c:v>Malard</c:v>
                  </c:pt>
                  <c:pt idx="5">
                    <c:v>Nicolas Feuillatte</c:v>
                  </c:pt>
                  <c:pt idx="6">
                    <c:v>Heidsieck &amp; Co Monopole</c:v>
                  </c:pt>
                  <c:pt idx="7">
                    <c:v>Roederer</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94"/>
          <c:min val="1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rPr lang="de-DE"/>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387"/>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7481A34-8709-4BD1-87F3-5B148025CF9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D0853AE-6C60-453D-AD18-521760112EA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6166D13-EE35-4209-8898-3F5E6EC0907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C84C221-894B-4AEF-A7A9-2B8D0F2A254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B6AB5F6-6D4A-4EA2-A898-E41AD36D7CF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08BCD59-45DD-4ECE-95B0-3BEECEA1422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B616DD6-642F-4272-907A-71E3CD799E9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392F5EB3-B082-4AB1-B5FF-03C7C4B3A3E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4.4177999999999997</c:v>
                </c:pt>
                <c:pt idx="1">
                  <c:v>24.946400000000001</c:v>
                </c:pt>
                <c:pt idx="2">
                  <c:v>31.078299999999999</c:v>
                </c:pt>
                <c:pt idx="3">
                  <c:v>4.2683</c:v>
                </c:pt>
                <c:pt idx="4">
                  <c:v>26.586600000000001</c:v>
                </c:pt>
                <c:pt idx="5">
                  <c:v>5.8342000000000001</c:v>
                </c:pt>
                <c:pt idx="6">
                  <c:v>7.1054000000000004</c:v>
                </c:pt>
                <c:pt idx="7">
                  <c:v>24.309100000000001</c:v>
                </c:pt>
              </c:numCache>
            </c:numRef>
          </c:xVal>
          <c:yVal>
            <c:numRef>
              <c:f>Sheet1!$B$2:$B$9</c:f>
              <c:numCache>
                <c:formatCode>General</c:formatCode>
                <c:ptCount val="8"/>
                <c:pt idx="0">
                  <c:v>0.70499999999999996</c:v>
                </c:pt>
                <c:pt idx="1">
                  <c:v>3.5939999999999999</c:v>
                </c:pt>
                <c:pt idx="2">
                  <c:v>4.9089999999999998</c:v>
                </c:pt>
                <c:pt idx="3">
                  <c:v>0.24299999999999999</c:v>
                </c:pt>
                <c:pt idx="4">
                  <c:v>4.1760000000000002</c:v>
                </c:pt>
                <c:pt idx="5">
                  <c:v>0.81599999999999995</c:v>
                </c:pt>
                <c:pt idx="6">
                  <c:v>0.82899999999999996</c:v>
                </c:pt>
                <c:pt idx="7">
                  <c:v>3.61</c:v>
                </c:pt>
              </c:numCache>
            </c:numRef>
          </c:yVal>
          <c:bubbleSize>
            <c:numRef>
              <c:f>Sheet1!$C$2:$C$9</c:f>
              <c:numCache>
                <c:formatCode>General</c:formatCode>
                <c:ptCount val="8"/>
                <c:pt idx="0">
                  <c:v>135378958</c:v>
                </c:pt>
                <c:pt idx="1">
                  <c:v>81150444</c:v>
                </c:pt>
                <c:pt idx="2">
                  <c:v>40272704</c:v>
                </c:pt>
                <c:pt idx="3">
                  <c:v>39552397</c:v>
                </c:pt>
                <c:pt idx="4">
                  <c:v>37152564</c:v>
                </c:pt>
                <c:pt idx="5">
                  <c:v>35427059</c:v>
                </c:pt>
                <c:pt idx="6">
                  <c:v>32603771</c:v>
                </c:pt>
                <c:pt idx="7">
                  <c:v>28145421</c:v>
                </c:pt>
              </c:numCache>
            </c:numRef>
          </c:bubbleSize>
          <c:bubble3D val="0"/>
          <c:extLst>
            <c:ext xmlns:c15="http://schemas.microsoft.com/office/drawing/2012/chart" uri="{02D57815-91ED-43cb-92C2-25804820EDAC}">
              <c15:datalabelsRange>
                <c15:f>Sheet1!$E$2:$E$10</c15:f>
                <c15:dlblRangeCache>
                  <c:ptCount val="9"/>
                  <c:pt idx="0">
                    <c:v>Mdd</c:v>
                  </c:pt>
                  <c:pt idx="1">
                    <c:v>Nicolas Feuillatte</c:v>
                  </c:pt>
                  <c:pt idx="2">
                    <c:v>Mumm</c:v>
                  </c:pt>
                  <c:pt idx="3">
                    <c:v>Charles Volner</c:v>
                  </c:pt>
                  <c:pt idx="4">
                    <c:v>Canard Duchêne</c:v>
                  </c:pt>
                  <c:pt idx="5">
                    <c:v>Freixenet</c:v>
                  </c:pt>
                  <c:pt idx="6">
                    <c:v>Wolfberger</c:v>
                  </c:pt>
                  <c:pt idx="7">
                    <c:v>Alfred De Rothschild</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7"/>
          <c:min val="3"/>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rPr lang="de-DE"/>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5.10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D9F6CBA-0BCE-4D66-8F39-2882E9B55ED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66D1EF0-CE7A-4E26-BCF1-D5F564FF25C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F77AB82-894E-4B2C-A60D-5FDA1033875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0FB054D-EC48-4DAD-B726-8D5C48FDD3B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BE89710-0DF8-43AB-9726-4972E4A9A97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CEE95449-8E65-4911-A714-C95365DD21F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5498DBF6-3111-44EF-AB6B-DCEBB899D9B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5BAAC56A-8173-49E8-9ACA-139E9EE6A32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67.4298</c:v>
                </c:pt>
                <c:pt idx="1">
                  <c:v>23.6297</c:v>
                </c:pt>
                <c:pt idx="2">
                  <c:v>48.656399999999998</c:v>
                </c:pt>
                <c:pt idx="3">
                  <c:v>31.455500000000001</c:v>
                </c:pt>
                <c:pt idx="4">
                  <c:v>51.262500000000003</c:v>
                </c:pt>
                <c:pt idx="5">
                  <c:v>32.673000000000002</c:v>
                </c:pt>
                <c:pt idx="6">
                  <c:v>29.328600000000002</c:v>
                </c:pt>
                <c:pt idx="7">
                  <c:v>38.494</c:v>
                </c:pt>
              </c:numCache>
            </c:numRef>
          </c:xVal>
          <c:yVal>
            <c:numRef>
              <c:f>Sheet1!$B$2:$B$9</c:f>
              <c:numCache>
                <c:formatCode>General</c:formatCode>
                <c:ptCount val="8"/>
                <c:pt idx="0">
                  <c:v>1.958</c:v>
                </c:pt>
                <c:pt idx="1">
                  <c:v>0.69499999999999995</c:v>
                </c:pt>
                <c:pt idx="2">
                  <c:v>1.415</c:v>
                </c:pt>
                <c:pt idx="3">
                  <c:v>0.92</c:v>
                </c:pt>
                <c:pt idx="4">
                  <c:v>1.3520000000000001</c:v>
                </c:pt>
                <c:pt idx="5">
                  <c:v>0.94</c:v>
                </c:pt>
                <c:pt idx="6">
                  <c:v>0.85799999999999998</c:v>
                </c:pt>
                <c:pt idx="7">
                  <c:v>1.1259999999999999</c:v>
                </c:pt>
              </c:numCache>
            </c:numRef>
          </c:yVal>
          <c:bubbleSize>
            <c:numRef>
              <c:f>Sheet1!$C$2:$C$9</c:f>
              <c:numCache>
                <c:formatCode>General</c:formatCode>
                <c:ptCount val="8"/>
                <c:pt idx="0">
                  <c:v>5979133</c:v>
                </c:pt>
                <c:pt idx="1">
                  <c:v>2515244</c:v>
                </c:pt>
                <c:pt idx="2">
                  <c:v>2235322</c:v>
                </c:pt>
                <c:pt idx="3">
                  <c:v>1556133</c:v>
                </c:pt>
                <c:pt idx="4">
                  <c:v>1441809</c:v>
                </c:pt>
                <c:pt idx="5">
                  <c:v>1050176</c:v>
                </c:pt>
                <c:pt idx="6">
                  <c:v>1029785</c:v>
                </c:pt>
                <c:pt idx="7">
                  <c:v>929977</c:v>
                </c:pt>
              </c:numCache>
            </c:numRef>
          </c:bubbleSize>
          <c:bubble3D val="0"/>
          <c:extLst>
            <c:ext xmlns:c15="http://schemas.microsoft.com/office/drawing/2012/chart" uri="{02D57815-91ED-43cb-92C2-25804820EDAC}">
              <c15:datalabelsRange>
                <c15:f>Sheet1!$E$2:$E$10</c15:f>
                <c15:dlblRangeCache>
                  <c:ptCount val="9"/>
                  <c:pt idx="0">
                    <c:v>Ruinart</c:v>
                  </c:pt>
                  <c:pt idx="1">
                    <c:v>Nicolas</c:v>
                  </c:pt>
                  <c:pt idx="2">
                    <c:v>Deutz</c:v>
                  </c:pt>
                  <c:pt idx="3">
                    <c:v>Malard</c:v>
                  </c:pt>
                  <c:pt idx="4">
                    <c:v>Laurent Perrier</c:v>
                  </c:pt>
                  <c:pt idx="5">
                    <c:v>Nicolas Feuillatte</c:v>
                  </c:pt>
                  <c:pt idx="6">
                    <c:v>Heidsieck &amp; Co Monopole</c:v>
                  </c:pt>
                  <c:pt idx="7">
                    <c:v>Ayala</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1"/>
          <c:min val="1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rPr lang="de-DE"/>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157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F174769-B8AC-4C66-8FF1-216BE9FCD18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ED67E56-8F3A-4CCD-B919-D84DA7EA51C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1282D62-E380-4D11-9667-D5D917B0847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02E81DF-726F-48CB-946E-4C9DFA66EF7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3598D73-7ED9-4BAC-BFE9-955CBA70080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4C04FAB-9160-471C-A96E-ABB9C090F65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68082503-47BB-44B8-8899-27C2E4E93D3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16B43AE3-6DBB-4CCA-B8EA-58273538061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70.044300000000007</c:v>
                </c:pt>
                <c:pt idx="1">
                  <c:v>23.673100000000002</c:v>
                </c:pt>
                <c:pt idx="2">
                  <c:v>50.6248</c:v>
                </c:pt>
                <c:pt idx="3">
                  <c:v>31.541399999999999</c:v>
                </c:pt>
                <c:pt idx="4">
                  <c:v>52.898600000000002</c:v>
                </c:pt>
                <c:pt idx="5">
                  <c:v>33.237000000000002</c:v>
                </c:pt>
                <c:pt idx="6">
                  <c:v>30.649899999999999</c:v>
                </c:pt>
                <c:pt idx="7">
                  <c:v>30.5626</c:v>
                </c:pt>
              </c:numCache>
            </c:numRef>
          </c:xVal>
          <c:yVal>
            <c:numRef>
              <c:f>Sheet1!$B$2:$B$9</c:f>
              <c:numCache>
                <c:formatCode>General</c:formatCode>
                <c:ptCount val="8"/>
                <c:pt idx="0">
                  <c:v>1.9850000000000001</c:v>
                </c:pt>
                <c:pt idx="1">
                  <c:v>0.68300000000000005</c:v>
                </c:pt>
                <c:pt idx="2">
                  <c:v>1.4059999999999999</c:v>
                </c:pt>
                <c:pt idx="3">
                  <c:v>0.90900000000000003</c:v>
                </c:pt>
                <c:pt idx="4">
                  <c:v>1.3440000000000001</c:v>
                </c:pt>
                <c:pt idx="5">
                  <c:v>0.92100000000000004</c:v>
                </c:pt>
                <c:pt idx="6">
                  <c:v>0.88200000000000001</c:v>
                </c:pt>
                <c:pt idx="7">
                  <c:v>0.89500000000000002</c:v>
                </c:pt>
              </c:numCache>
            </c:numRef>
          </c:yVal>
          <c:bubbleSize>
            <c:numRef>
              <c:f>Sheet1!$C$2:$C$9</c:f>
              <c:numCache>
                <c:formatCode>General</c:formatCode>
                <c:ptCount val="8"/>
                <c:pt idx="0">
                  <c:v>3181414</c:v>
                </c:pt>
                <c:pt idx="1">
                  <c:v>1250034</c:v>
                </c:pt>
                <c:pt idx="2">
                  <c:v>867406</c:v>
                </c:pt>
                <c:pt idx="3">
                  <c:v>661770</c:v>
                </c:pt>
                <c:pt idx="4">
                  <c:v>505869</c:v>
                </c:pt>
                <c:pt idx="5">
                  <c:v>426896</c:v>
                </c:pt>
                <c:pt idx="6">
                  <c:v>422417</c:v>
                </c:pt>
                <c:pt idx="7">
                  <c:v>413482</c:v>
                </c:pt>
              </c:numCache>
            </c:numRef>
          </c:bubbleSize>
          <c:bubble3D val="0"/>
          <c:extLst>
            <c:ext xmlns:c15="http://schemas.microsoft.com/office/drawing/2012/chart" uri="{02D57815-91ED-43cb-92C2-25804820EDAC}">
              <c15:datalabelsRange>
                <c15:f>Sheet1!$E$2:$E$10</c15:f>
                <c15:dlblRangeCache>
                  <c:ptCount val="9"/>
                  <c:pt idx="0">
                    <c:v>Ruinart</c:v>
                  </c:pt>
                  <c:pt idx="1">
                    <c:v>Nicolas</c:v>
                  </c:pt>
                  <c:pt idx="2">
                    <c:v>Deutz</c:v>
                  </c:pt>
                  <c:pt idx="3">
                    <c:v>Malard</c:v>
                  </c:pt>
                  <c:pt idx="4">
                    <c:v>Laurent Perrier</c:v>
                  </c:pt>
                  <c:pt idx="5">
                    <c:v>Nicolas Feuillatte</c:v>
                  </c:pt>
                  <c:pt idx="6">
                    <c:v>De Bligny</c:v>
                  </c:pt>
                  <c:pt idx="7">
                    <c:v>Canard Duchên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4"/>
          <c:min val="1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rPr lang="de-DE"/>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1850000000000001"/>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DFF6A9D-469E-47AF-8C40-2FC19ED2777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043BEBC-7C54-42E8-964A-5DA43C52872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4C8ACD3-9A97-4261-8DA1-11F88EF2E06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3EC4819-96C9-4904-96CC-DDA763B0786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811DA41-3324-468C-9680-F1705162DA8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303A0A5-9CBE-4E8D-8052-9BD43673C7A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2D4135D-1ADB-43B9-B420-F5F91329E84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5D88F0CE-5B62-4D79-99DA-07FB8E99E06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70.331900000000005</c:v>
                </c:pt>
                <c:pt idx="1">
                  <c:v>23.5243</c:v>
                </c:pt>
                <c:pt idx="2">
                  <c:v>50.431899999999999</c:v>
                </c:pt>
                <c:pt idx="3">
                  <c:v>53.389200000000002</c:v>
                </c:pt>
                <c:pt idx="4">
                  <c:v>31.674299999999999</c:v>
                </c:pt>
                <c:pt idx="5">
                  <c:v>83.896100000000004</c:v>
                </c:pt>
                <c:pt idx="6">
                  <c:v>33.087600000000002</c:v>
                </c:pt>
                <c:pt idx="7">
                  <c:v>56.0105</c:v>
                </c:pt>
              </c:numCache>
            </c:numRef>
          </c:xVal>
          <c:yVal>
            <c:numRef>
              <c:f>Sheet1!$B$2:$B$9</c:f>
              <c:numCache>
                <c:formatCode>General</c:formatCode>
                <c:ptCount val="8"/>
                <c:pt idx="0">
                  <c:v>1.853</c:v>
                </c:pt>
                <c:pt idx="1">
                  <c:v>0.629</c:v>
                </c:pt>
                <c:pt idx="2">
                  <c:v>1.3260000000000001</c:v>
                </c:pt>
                <c:pt idx="3">
                  <c:v>1.2849999999999999</c:v>
                </c:pt>
                <c:pt idx="4">
                  <c:v>0.84099999999999997</c:v>
                </c:pt>
                <c:pt idx="5">
                  <c:v>2.177</c:v>
                </c:pt>
                <c:pt idx="6">
                  <c:v>0.86799999999999999</c:v>
                </c:pt>
                <c:pt idx="7">
                  <c:v>1.337</c:v>
                </c:pt>
              </c:numCache>
            </c:numRef>
          </c:yVal>
          <c:bubbleSize>
            <c:numRef>
              <c:f>Sheet1!$C$2:$C$9</c:f>
              <c:numCache>
                <c:formatCode>General</c:formatCode>
                <c:ptCount val="8"/>
                <c:pt idx="0">
                  <c:v>1828137</c:v>
                </c:pt>
                <c:pt idx="1">
                  <c:v>611372</c:v>
                </c:pt>
                <c:pt idx="2">
                  <c:v>586220</c:v>
                </c:pt>
                <c:pt idx="3">
                  <c:v>507304</c:v>
                </c:pt>
                <c:pt idx="4">
                  <c:v>355481</c:v>
                </c:pt>
                <c:pt idx="5">
                  <c:v>287512</c:v>
                </c:pt>
                <c:pt idx="6">
                  <c:v>286936</c:v>
                </c:pt>
                <c:pt idx="7">
                  <c:v>239165</c:v>
                </c:pt>
              </c:numCache>
            </c:numRef>
          </c:bubbleSize>
          <c:bubble3D val="0"/>
          <c:extLst>
            <c:ext xmlns:c15="http://schemas.microsoft.com/office/drawing/2012/chart" uri="{02D57815-91ED-43cb-92C2-25804820EDAC}">
              <c15:datalabelsRange>
                <c15:f>Sheet1!$E$2:$E$10</c15:f>
                <c15:dlblRangeCache>
                  <c:ptCount val="9"/>
                  <c:pt idx="0">
                    <c:v>Ruinart</c:v>
                  </c:pt>
                  <c:pt idx="1">
                    <c:v>Nicolas</c:v>
                  </c:pt>
                  <c:pt idx="2">
                    <c:v>Deutz</c:v>
                  </c:pt>
                  <c:pt idx="3">
                    <c:v>Laurent Perrier</c:v>
                  </c:pt>
                  <c:pt idx="4">
                    <c:v>Malard</c:v>
                  </c:pt>
                  <c:pt idx="5">
                    <c:v>Roederer</c:v>
                  </c:pt>
                  <c:pt idx="6">
                    <c:v>Nicolas Feuillatte</c:v>
                  </c:pt>
                  <c:pt idx="7">
                    <c:v>Taittinger</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01"/>
          <c:min val="1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rPr lang="de-DE"/>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3770000000000002"/>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0974A96-E2AB-43DC-BC71-A961ACE0AC3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BE44A8C-29F5-4B1B-AA8D-18D08160B88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178EC05-0E7A-4156-B786-3EE4C3E92F3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D751666-C297-4850-8ACA-1157CDD0EFC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1FBA01C-3ABB-47D4-A9DD-D398C303299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B3763FB-7CBB-4CE9-A50E-79E32202647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E419CBA5-FAB9-4102-BC7B-A7E0B03C17E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BDBC7CFE-EA64-4C2F-8A07-B81456E59CF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74.606999999999999</c:v>
                </c:pt>
                <c:pt idx="1">
                  <c:v>50.238399999999999</c:v>
                </c:pt>
                <c:pt idx="2">
                  <c:v>52.996000000000002</c:v>
                </c:pt>
                <c:pt idx="3">
                  <c:v>23.661899999999999</c:v>
                </c:pt>
                <c:pt idx="4">
                  <c:v>95.832400000000007</c:v>
                </c:pt>
                <c:pt idx="5">
                  <c:v>31.808399999999999</c:v>
                </c:pt>
                <c:pt idx="6">
                  <c:v>32.778799999999997</c:v>
                </c:pt>
                <c:pt idx="7">
                  <c:v>287.9796</c:v>
                </c:pt>
              </c:numCache>
            </c:numRef>
          </c:xVal>
          <c:yVal>
            <c:numRef>
              <c:f>Sheet1!$B$2:$B$9</c:f>
              <c:numCache>
                <c:formatCode>General</c:formatCode>
                <c:ptCount val="8"/>
                <c:pt idx="0">
                  <c:v>1.7290000000000001</c:v>
                </c:pt>
                <c:pt idx="1">
                  <c:v>1.1479999999999999</c:v>
                </c:pt>
                <c:pt idx="2">
                  <c:v>1.1180000000000001</c:v>
                </c:pt>
                <c:pt idx="3">
                  <c:v>0.55800000000000005</c:v>
                </c:pt>
                <c:pt idx="4">
                  <c:v>2.2170000000000001</c:v>
                </c:pt>
                <c:pt idx="5">
                  <c:v>0.745</c:v>
                </c:pt>
                <c:pt idx="6">
                  <c:v>0.751</c:v>
                </c:pt>
                <c:pt idx="7">
                  <c:v>6.57</c:v>
                </c:pt>
              </c:numCache>
            </c:numRef>
          </c:yVal>
          <c:bubbleSize>
            <c:numRef>
              <c:f>Sheet1!$C$2:$C$9</c:f>
              <c:numCache>
                <c:formatCode>General</c:formatCode>
                <c:ptCount val="8"/>
                <c:pt idx="0">
                  <c:v>1590547</c:v>
                </c:pt>
                <c:pt idx="1">
                  <c:v>430995</c:v>
                </c:pt>
                <c:pt idx="2">
                  <c:v>366626</c:v>
                </c:pt>
                <c:pt idx="3">
                  <c:v>343168</c:v>
                </c:pt>
                <c:pt idx="4">
                  <c:v>228081</c:v>
                </c:pt>
                <c:pt idx="5">
                  <c:v>210031</c:v>
                </c:pt>
                <c:pt idx="6">
                  <c:v>199000</c:v>
                </c:pt>
                <c:pt idx="7">
                  <c:v>183155</c:v>
                </c:pt>
              </c:numCache>
            </c:numRef>
          </c:bubbleSize>
          <c:bubble3D val="0"/>
          <c:extLst>
            <c:ext xmlns:c15="http://schemas.microsoft.com/office/drawing/2012/chart" uri="{02D57815-91ED-43cb-92C2-25804820EDAC}">
              <c15:datalabelsRange>
                <c15:f>Sheet1!$E$2:$E$10</c15:f>
                <c15:dlblRangeCache>
                  <c:ptCount val="9"/>
                  <c:pt idx="0">
                    <c:v>Ruinart</c:v>
                  </c:pt>
                  <c:pt idx="1">
                    <c:v>Deutz</c:v>
                  </c:pt>
                  <c:pt idx="2">
                    <c:v>Laurent Perrier</c:v>
                  </c:pt>
                  <c:pt idx="3">
                    <c:v>Nicolas</c:v>
                  </c:pt>
                  <c:pt idx="4">
                    <c:v>Roederer</c:v>
                  </c:pt>
                  <c:pt idx="5">
                    <c:v>Malard</c:v>
                  </c:pt>
                  <c:pt idx="6">
                    <c:v>Nicolas Feuillatte</c:v>
                  </c:pt>
                  <c:pt idx="7">
                    <c:v>Dom Perigno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46"/>
          <c:min val="1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rPr lang="de-DE"/>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6.7700000000000005"/>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B470C2F-EC3A-4D42-8E7F-ED9A461DA80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62C3223-29CB-49AA-8A37-B79D9492361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CD42484-0AAC-4117-8ADF-2B1C9B44636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26E8A70-D934-4325-A1C6-9FD2D304330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382B6C2-FF03-4D99-A5FC-A3325AA69DC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E1A56B1-50C9-4B9D-8D2A-5AA1FC69527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61627B81-4C62-4721-BCDB-33BD47997EA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41C0E3D4-0392-4944-9704-2A678FC0245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72.245000000000005</c:v>
                </c:pt>
                <c:pt idx="1">
                  <c:v>23.982600000000001</c:v>
                </c:pt>
                <c:pt idx="2">
                  <c:v>53.209800000000001</c:v>
                </c:pt>
                <c:pt idx="3">
                  <c:v>31.915800000000001</c:v>
                </c:pt>
                <c:pt idx="4">
                  <c:v>56.263100000000001</c:v>
                </c:pt>
                <c:pt idx="5">
                  <c:v>33.282400000000003</c:v>
                </c:pt>
                <c:pt idx="6">
                  <c:v>58.168599999999998</c:v>
                </c:pt>
                <c:pt idx="7">
                  <c:v>74.187700000000007</c:v>
                </c:pt>
              </c:numCache>
            </c:numRef>
          </c:xVal>
          <c:yVal>
            <c:numRef>
              <c:f>Sheet1!$B$2:$B$9</c:f>
              <c:numCache>
                <c:formatCode>General</c:formatCode>
                <c:ptCount val="8"/>
                <c:pt idx="0">
                  <c:v>1.9259999999999999</c:v>
                </c:pt>
                <c:pt idx="1">
                  <c:v>0.63600000000000001</c:v>
                </c:pt>
                <c:pt idx="2">
                  <c:v>1.3460000000000001</c:v>
                </c:pt>
                <c:pt idx="3">
                  <c:v>0.84699999999999998</c:v>
                </c:pt>
                <c:pt idx="4">
                  <c:v>1.28</c:v>
                </c:pt>
                <c:pt idx="5">
                  <c:v>0.86199999999999999</c:v>
                </c:pt>
                <c:pt idx="6">
                  <c:v>1.28</c:v>
                </c:pt>
                <c:pt idx="7">
                  <c:v>1.907</c:v>
                </c:pt>
              </c:numCache>
            </c:numRef>
          </c:yVal>
          <c:bubbleSize>
            <c:numRef>
              <c:f>Sheet1!$C$2:$C$9</c:f>
              <c:numCache>
                <c:formatCode>General</c:formatCode>
                <c:ptCount val="8"/>
                <c:pt idx="0">
                  <c:v>1098847</c:v>
                </c:pt>
                <c:pt idx="1">
                  <c:v>246085</c:v>
                </c:pt>
                <c:pt idx="2">
                  <c:v>239125</c:v>
                </c:pt>
                <c:pt idx="3">
                  <c:v>135355</c:v>
                </c:pt>
                <c:pt idx="4">
                  <c:v>127436</c:v>
                </c:pt>
                <c:pt idx="5">
                  <c:v>107702</c:v>
                </c:pt>
                <c:pt idx="6">
                  <c:v>98654</c:v>
                </c:pt>
                <c:pt idx="7">
                  <c:v>98002</c:v>
                </c:pt>
              </c:numCache>
            </c:numRef>
          </c:bubbleSize>
          <c:bubble3D val="0"/>
          <c:extLst>
            <c:ext xmlns:c15="http://schemas.microsoft.com/office/drawing/2012/chart" uri="{02D57815-91ED-43cb-92C2-25804820EDAC}">
              <c15:datalabelsRange>
                <c15:f>Sheet1!$E$2:$E$10</c15:f>
                <c15:dlblRangeCache>
                  <c:ptCount val="9"/>
                  <c:pt idx="0">
                    <c:v>Ruinart</c:v>
                  </c:pt>
                  <c:pt idx="1">
                    <c:v>Nicolas</c:v>
                  </c:pt>
                  <c:pt idx="2">
                    <c:v>Deutz</c:v>
                  </c:pt>
                  <c:pt idx="3">
                    <c:v>Malard</c:v>
                  </c:pt>
                  <c:pt idx="4">
                    <c:v>Laurent Perrier</c:v>
                  </c:pt>
                  <c:pt idx="5">
                    <c:v>Nicolas Feuillatte</c:v>
                  </c:pt>
                  <c:pt idx="6">
                    <c:v>Taittinger</c:v>
                  </c:pt>
                  <c:pt idx="7">
                    <c:v>Roederer</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9"/>
          <c:min val="1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rPr lang="de-DE"/>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125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3091100-C61D-4601-95D3-A76197BAD6A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79A56A5-4CD9-45C6-9248-82E2483637B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E870EAE-CB39-4892-8BDC-6D3CA059577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6D5C1B4-13F7-4E70-828A-AB8F00742E7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5293718-B0EF-4A60-90BA-9ABB5746824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05E7623-2100-4909-8A9E-F37A2BFB457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5D47BC64-4123-4620-9515-5C0143CFAA3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C2C83264-6879-4CF9-80C4-F336ED1556B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69.232299999999995</c:v>
                </c:pt>
                <c:pt idx="1">
                  <c:v>23.5748</c:v>
                </c:pt>
                <c:pt idx="2">
                  <c:v>49.180500000000002</c:v>
                </c:pt>
                <c:pt idx="3">
                  <c:v>51.747599999999998</c:v>
                </c:pt>
                <c:pt idx="4">
                  <c:v>31.525200000000002</c:v>
                </c:pt>
                <c:pt idx="5">
                  <c:v>32.7211</c:v>
                </c:pt>
                <c:pt idx="6">
                  <c:v>79.0989</c:v>
                </c:pt>
                <c:pt idx="7">
                  <c:v>29.301100000000002</c:v>
                </c:pt>
              </c:numCache>
            </c:numRef>
          </c:xVal>
          <c:yVal>
            <c:numRef>
              <c:f>Sheet1!$B$2:$B$9</c:f>
              <c:numCache>
                <c:formatCode>General</c:formatCode>
                <c:ptCount val="8"/>
                <c:pt idx="0">
                  <c:v>1.901</c:v>
                </c:pt>
                <c:pt idx="1">
                  <c:v>0.65600000000000003</c:v>
                </c:pt>
                <c:pt idx="2">
                  <c:v>1.3460000000000001</c:v>
                </c:pt>
                <c:pt idx="3">
                  <c:v>1.292</c:v>
                </c:pt>
                <c:pt idx="4">
                  <c:v>0.871</c:v>
                </c:pt>
                <c:pt idx="5">
                  <c:v>0.88700000000000001</c:v>
                </c:pt>
                <c:pt idx="6">
                  <c:v>2.2170000000000001</c:v>
                </c:pt>
                <c:pt idx="7">
                  <c:v>0.80900000000000005</c:v>
                </c:pt>
              </c:numCache>
            </c:numRef>
          </c:yVal>
          <c:bubbleSize>
            <c:numRef>
              <c:f>Sheet1!$C$2:$C$9</c:f>
              <c:numCache>
                <c:formatCode>General</c:formatCode>
                <c:ptCount val="8"/>
                <c:pt idx="0">
                  <c:v>10761127</c:v>
                </c:pt>
                <c:pt idx="1">
                  <c:v>3788985</c:v>
                </c:pt>
                <c:pt idx="2">
                  <c:v>3461768</c:v>
                </c:pt>
                <c:pt idx="3">
                  <c:v>2407818</c:v>
                </c:pt>
                <c:pt idx="4">
                  <c:v>2351274</c:v>
                </c:pt>
                <c:pt idx="5">
                  <c:v>1672046</c:v>
                </c:pt>
                <c:pt idx="6">
                  <c:v>1436753</c:v>
                </c:pt>
                <c:pt idx="7">
                  <c:v>1391478</c:v>
                </c:pt>
              </c:numCache>
            </c:numRef>
          </c:bubbleSize>
          <c:bubble3D val="0"/>
          <c:extLst>
            <c:ext xmlns:c15="http://schemas.microsoft.com/office/drawing/2012/chart" uri="{02D57815-91ED-43cb-92C2-25804820EDAC}">
              <c15:datalabelsRange>
                <c15:f>Sheet1!$E$2:$E$10</c15:f>
                <c15:dlblRangeCache>
                  <c:ptCount val="9"/>
                  <c:pt idx="0">
                    <c:v>Ruinart</c:v>
                  </c:pt>
                  <c:pt idx="1">
                    <c:v>Nicolas</c:v>
                  </c:pt>
                  <c:pt idx="2">
                    <c:v>Deutz</c:v>
                  </c:pt>
                  <c:pt idx="3">
                    <c:v>Laurent Perrier</c:v>
                  </c:pt>
                  <c:pt idx="4">
                    <c:v>Malard</c:v>
                  </c:pt>
                  <c:pt idx="5">
                    <c:v>Nicolas Feuillatte</c:v>
                  </c:pt>
                  <c:pt idx="6">
                    <c:v>Roederer</c:v>
                  </c:pt>
                  <c:pt idx="7">
                    <c:v>Heidsieck &amp; Co Monopol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95"/>
          <c:min val="1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rPr lang="de-DE"/>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4170000000000003"/>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E9B5A00-9522-4793-8A64-55A7B249122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9B47CB4-532A-410F-A138-46250DBBC38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3C282FD-9B23-451C-A0C8-0AC1C4A40EA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828C212-C4B1-4851-AF29-423F2115B9A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8B14DC3-8AA1-463E-9F05-C181ED657C6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B30E17EC-04F1-4662-B207-8AFACF78FD1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599C9BC4-AC6A-4B03-BA8D-4E8A8B42913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AF9CB690-E47A-4C6F-AB86-B00A4E1A32F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72.902299999999997</c:v>
                </c:pt>
                <c:pt idx="1">
                  <c:v>23.632999999999999</c:v>
                </c:pt>
                <c:pt idx="2">
                  <c:v>51.113900000000001</c:v>
                </c:pt>
                <c:pt idx="3">
                  <c:v>54.3947</c:v>
                </c:pt>
                <c:pt idx="4">
                  <c:v>84.752200000000002</c:v>
                </c:pt>
                <c:pt idx="5">
                  <c:v>29.332599999999999</c:v>
                </c:pt>
                <c:pt idx="6">
                  <c:v>31.468499999999999</c:v>
                </c:pt>
                <c:pt idx="7">
                  <c:v>273.90089999999998</c:v>
                </c:pt>
              </c:numCache>
            </c:numRef>
          </c:xVal>
          <c:yVal>
            <c:numRef>
              <c:f>Sheet1!$B$2:$B$9</c:f>
              <c:numCache>
                <c:formatCode>General</c:formatCode>
                <c:ptCount val="8"/>
                <c:pt idx="0">
                  <c:v>1.8560000000000001</c:v>
                </c:pt>
                <c:pt idx="1">
                  <c:v>0.61699999999999999</c:v>
                </c:pt>
                <c:pt idx="2">
                  <c:v>1.2789999999999999</c:v>
                </c:pt>
                <c:pt idx="3">
                  <c:v>1.2789999999999999</c:v>
                </c:pt>
                <c:pt idx="4">
                  <c:v>2.0579999999999998</c:v>
                </c:pt>
                <c:pt idx="5">
                  <c:v>0.76800000000000002</c:v>
                </c:pt>
                <c:pt idx="6">
                  <c:v>0.82399999999999995</c:v>
                </c:pt>
                <c:pt idx="7">
                  <c:v>6.9080000000000004</c:v>
                </c:pt>
              </c:numCache>
            </c:numRef>
          </c:yVal>
          <c:bubbleSize>
            <c:numRef>
              <c:f>Sheet1!$C$2:$C$9</c:f>
              <c:numCache>
                <c:formatCode>General</c:formatCode>
                <c:ptCount val="8"/>
                <c:pt idx="0">
                  <c:v>1905667</c:v>
                </c:pt>
                <c:pt idx="1">
                  <c:v>630859</c:v>
                </c:pt>
                <c:pt idx="2">
                  <c:v>491358</c:v>
                </c:pt>
                <c:pt idx="3">
                  <c:v>344699</c:v>
                </c:pt>
                <c:pt idx="4">
                  <c:v>234933</c:v>
                </c:pt>
                <c:pt idx="5">
                  <c:v>217736</c:v>
                </c:pt>
                <c:pt idx="6">
                  <c:v>211311</c:v>
                </c:pt>
                <c:pt idx="7">
                  <c:v>187896</c:v>
                </c:pt>
              </c:numCache>
            </c:numRef>
          </c:bubbleSize>
          <c:bubble3D val="0"/>
          <c:extLst>
            <c:ext xmlns:c15="http://schemas.microsoft.com/office/drawing/2012/chart" uri="{02D57815-91ED-43cb-92C2-25804820EDAC}">
              <c15:datalabelsRange>
                <c15:f>Sheet1!$E$2:$E$10</c15:f>
                <c15:dlblRangeCache>
                  <c:ptCount val="9"/>
                  <c:pt idx="0">
                    <c:v>Ruinart</c:v>
                  </c:pt>
                  <c:pt idx="1">
                    <c:v>Nicolas</c:v>
                  </c:pt>
                  <c:pt idx="2">
                    <c:v>Deutz</c:v>
                  </c:pt>
                  <c:pt idx="3">
                    <c:v>Laurent Perrier</c:v>
                  </c:pt>
                  <c:pt idx="4">
                    <c:v>Roederer</c:v>
                  </c:pt>
                  <c:pt idx="5">
                    <c:v>Heidsieck &amp; Co Monopole</c:v>
                  </c:pt>
                  <c:pt idx="6">
                    <c:v>Malard</c:v>
                  </c:pt>
                  <c:pt idx="7">
                    <c:v>Dom Perigno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29"/>
          <c:min val="1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rPr lang="de-DE"/>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7.1080000000000005"/>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9CBC907-4748-43AB-BBC8-3C81AD9FB04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3858AA6-364E-42FE-A07F-4D4ECFB256B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3D86DED-E8D9-4D48-905F-AB7C0F691C5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5F5E96A-FB8D-4BEC-B278-B1EA28C650D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85EAFED-3A7B-4205-948B-ECE06919BB7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B5097DCA-136C-4776-A064-34BE92150A9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2C4A31A-74A9-4AC0-AE7A-936D8DAC123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7930B54B-4389-480F-AE4B-5C93E13114B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67.4298</c:v>
                </c:pt>
                <c:pt idx="1">
                  <c:v>23.6297</c:v>
                </c:pt>
                <c:pt idx="2">
                  <c:v>48.656399999999998</c:v>
                </c:pt>
                <c:pt idx="3">
                  <c:v>31.455500000000001</c:v>
                </c:pt>
                <c:pt idx="4">
                  <c:v>51.262500000000003</c:v>
                </c:pt>
                <c:pt idx="5">
                  <c:v>32.673000000000002</c:v>
                </c:pt>
                <c:pt idx="6">
                  <c:v>29.328600000000002</c:v>
                </c:pt>
                <c:pt idx="7">
                  <c:v>38.494</c:v>
                </c:pt>
              </c:numCache>
            </c:numRef>
          </c:xVal>
          <c:yVal>
            <c:numRef>
              <c:f>Sheet1!$B$2:$B$9</c:f>
              <c:numCache>
                <c:formatCode>General</c:formatCode>
                <c:ptCount val="8"/>
                <c:pt idx="0">
                  <c:v>1.6020000000000001</c:v>
                </c:pt>
                <c:pt idx="1">
                  <c:v>0.56899999999999995</c:v>
                </c:pt>
                <c:pt idx="2">
                  <c:v>1.157</c:v>
                </c:pt>
                <c:pt idx="3">
                  <c:v>0.753</c:v>
                </c:pt>
                <c:pt idx="4">
                  <c:v>1.1060000000000001</c:v>
                </c:pt>
                <c:pt idx="5">
                  <c:v>0.76900000000000002</c:v>
                </c:pt>
                <c:pt idx="6">
                  <c:v>0.70199999999999996</c:v>
                </c:pt>
                <c:pt idx="7">
                  <c:v>0.92100000000000004</c:v>
                </c:pt>
              </c:numCache>
            </c:numRef>
          </c:yVal>
          <c:bubbleSize>
            <c:numRef>
              <c:f>Sheet1!$C$2:$C$9</c:f>
              <c:numCache>
                <c:formatCode>General</c:formatCode>
                <c:ptCount val="8"/>
                <c:pt idx="0">
                  <c:v>5979133</c:v>
                </c:pt>
                <c:pt idx="1">
                  <c:v>2515244</c:v>
                </c:pt>
                <c:pt idx="2">
                  <c:v>2235322</c:v>
                </c:pt>
                <c:pt idx="3">
                  <c:v>1556133</c:v>
                </c:pt>
                <c:pt idx="4">
                  <c:v>1441809</c:v>
                </c:pt>
                <c:pt idx="5">
                  <c:v>1050176</c:v>
                </c:pt>
                <c:pt idx="6">
                  <c:v>1029785</c:v>
                </c:pt>
                <c:pt idx="7">
                  <c:v>929977</c:v>
                </c:pt>
              </c:numCache>
            </c:numRef>
          </c:bubbleSize>
          <c:bubble3D val="0"/>
          <c:extLst>
            <c:ext xmlns:c15="http://schemas.microsoft.com/office/drawing/2012/chart" uri="{02D57815-91ED-43cb-92C2-25804820EDAC}">
              <c15:datalabelsRange>
                <c15:f>Sheet1!$E$2:$E$10</c15:f>
                <c15:dlblRangeCache>
                  <c:ptCount val="9"/>
                  <c:pt idx="0">
                    <c:v>Ruinart</c:v>
                  </c:pt>
                  <c:pt idx="1">
                    <c:v>Nicolas</c:v>
                  </c:pt>
                  <c:pt idx="2">
                    <c:v>Deutz</c:v>
                  </c:pt>
                  <c:pt idx="3">
                    <c:v>Malard</c:v>
                  </c:pt>
                  <c:pt idx="4">
                    <c:v>Laurent Perrier</c:v>
                  </c:pt>
                  <c:pt idx="5">
                    <c:v>Nicolas Feuillatte</c:v>
                  </c:pt>
                  <c:pt idx="6">
                    <c:v>Heidsieck &amp; Co Monopole</c:v>
                  </c:pt>
                  <c:pt idx="7">
                    <c:v>Ayala</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1"/>
          <c:min val="19"/>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09A968A-2136-4187-9483-5E00C5F8E69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C9D2D12-C919-42F7-AD98-18E53A1A86F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3708810-EEB5-49C2-96F9-FEBF900C284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CC3265E-9514-4FE9-AE55-B125E471941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3C97BBD-E2E3-45DE-B455-CB9A3E34ACD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9F75196-6F5E-41E5-AF6F-0AE73118B45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0654219-6EE0-425A-B1FB-79A474B9AC3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43812DD4-8D1D-419A-B1A0-AB04D1F9FA3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70.778700000000001</c:v>
                </c:pt>
                <c:pt idx="1">
                  <c:v>51.711100000000002</c:v>
                </c:pt>
                <c:pt idx="2">
                  <c:v>24.7149</c:v>
                </c:pt>
                <c:pt idx="3">
                  <c:v>31.674600000000002</c:v>
                </c:pt>
                <c:pt idx="4">
                  <c:v>56.167200000000001</c:v>
                </c:pt>
                <c:pt idx="5">
                  <c:v>29.235499999999998</c:v>
                </c:pt>
                <c:pt idx="6">
                  <c:v>56.559800000000003</c:v>
                </c:pt>
                <c:pt idx="7">
                  <c:v>34.003700000000002</c:v>
                </c:pt>
              </c:numCache>
            </c:numRef>
          </c:xVal>
          <c:yVal>
            <c:numRef>
              <c:f>Sheet1!$B$2:$B$9</c:f>
              <c:numCache>
                <c:formatCode>General</c:formatCode>
                <c:ptCount val="8"/>
                <c:pt idx="0">
                  <c:v>2.0049999999999999</c:v>
                </c:pt>
                <c:pt idx="1">
                  <c:v>1.42</c:v>
                </c:pt>
                <c:pt idx="2">
                  <c:v>0.70899999999999996</c:v>
                </c:pt>
                <c:pt idx="3">
                  <c:v>0.91300000000000003</c:v>
                </c:pt>
                <c:pt idx="4">
                  <c:v>1.377</c:v>
                </c:pt>
                <c:pt idx="5">
                  <c:v>0.84399999999999997</c:v>
                </c:pt>
                <c:pt idx="6">
                  <c:v>1.3680000000000001</c:v>
                </c:pt>
                <c:pt idx="7">
                  <c:v>0.95</c:v>
                </c:pt>
              </c:numCache>
            </c:numRef>
          </c:yVal>
          <c:bubbleSize>
            <c:numRef>
              <c:f>Sheet1!$C$2:$C$9</c:f>
              <c:numCache>
                <c:formatCode>General</c:formatCode>
                <c:ptCount val="8"/>
                <c:pt idx="0">
                  <c:v>878434</c:v>
                </c:pt>
                <c:pt idx="1">
                  <c:v>324746</c:v>
                </c:pt>
                <c:pt idx="2">
                  <c:v>279303</c:v>
                </c:pt>
                <c:pt idx="3">
                  <c:v>176681</c:v>
                </c:pt>
                <c:pt idx="4">
                  <c:v>160863</c:v>
                </c:pt>
                <c:pt idx="5">
                  <c:v>125888</c:v>
                </c:pt>
                <c:pt idx="6">
                  <c:v>122961</c:v>
                </c:pt>
                <c:pt idx="7">
                  <c:v>120849</c:v>
                </c:pt>
              </c:numCache>
            </c:numRef>
          </c:bubbleSize>
          <c:bubble3D val="0"/>
          <c:extLst>
            <c:ext xmlns:c15="http://schemas.microsoft.com/office/drawing/2012/chart" uri="{02D57815-91ED-43cb-92C2-25804820EDAC}">
              <c15:datalabelsRange>
                <c15:f>Sheet1!$E$2:$E$10</c15:f>
                <c15:dlblRangeCache>
                  <c:ptCount val="9"/>
                  <c:pt idx="0">
                    <c:v>Ruinart</c:v>
                  </c:pt>
                  <c:pt idx="1">
                    <c:v>Deutz</c:v>
                  </c:pt>
                  <c:pt idx="2">
                    <c:v>Nicolas</c:v>
                  </c:pt>
                  <c:pt idx="3">
                    <c:v>Malard</c:v>
                  </c:pt>
                  <c:pt idx="4">
                    <c:v>Laurent Perrier</c:v>
                  </c:pt>
                  <c:pt idx="5">
                    <c:v>Heidsieck &amp; Co Monopole</c:v>
                  </c:pt>
                  <c:pt idx="6">
                    <c:v>Taittinger</c:v>
                  </c:pt>
                  <c:pt idx="7">
                    <c:v>Nicolas Feuillatt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5"/>
          <c:min val="2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rPr lang="de-DE"/>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2050000000000001"/>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F05D5A7-B33B-4836-B47C-095E01EAD62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FA80439-8D51-4C53-BF5E-94A58F1424B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979BD06-5BFC-419C-9754-CE1A67CF7FD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6746D88-C893-4309-8F41-9C83C7EF3AA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9F5C60D-BC4D-4D20-9430-61B3C4EB74F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A992E37-B729-4755-A6F3-0A4F78F63FF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A0320E7-FF94-4D2A-A577-2DB673E8795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D8D1EEC0-FD3E-4662-B3B8-B15CFB248FA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69.496399999999994</c:v>
                </c:pt>
                <c:pt idx="1">
                  <c:v>23.107299999999999</c:v>
                </c:pt>
                <c:pt idx="2">
                  <c:v>50.8294</c:v>
                </c:pt>
                <c:pt idx="3">
                  <c:v>31.597000000000001</c:v>
                </c:pt>
                <c:pt idx="4">
                  <c:v>29.059000000000001</c:v>
                </c:pt>
                <c:pt idx="5">
                  <c:v>39.901000000000003</c:v>
                </c:pt>
                <c:pt idx="6">
                  <c:v>30.6097</c:v>
                </c:pt>
                <c:pt idx="7">
                  <c:v>58.011600000000001</c:v>
                </c:pt>
              </c:numCache>
            </c:numRef>
          </c:xVal>
          <c:yVal>
            <c:numRef>
              <c:f>Sheet1!$B$2:$B$9</c:f>
              <c:numCache>
                <c:formatCode>General</c:formatCode>
                <c:ptCount val="8"/>
                <c:pt idx="0">
                  <c:v>2.028</c:v>
                </c:pt>
                <c:pt idx="1">
                  <c:v>0.68700000000000006</c:v>
                </c:pt>
                <c:pt idx="2">
                  <c:v>1.4590000000000001</c:v>
                </c:pt>
                <c:pt idx="3">
                  <c:v>0.93600000000000005</c:v>
                </c:pt>
                <c:pt idx="4">
                  <c:v>0.87</c:v>
                </c:pt>
                <c:pt idx="5">
                  <c:v>1.1839999999999999</c:v>
                </c:pt>
                <c:pt idx="6">
                  <c:v>0.90900000000000003</c:v>
                </c:pt>
                <c:pt idx="7">
                  <c:v>1.464</c:v>
                </c:pt>
              </c:numCache>
            </c:numRef>
          </c:yVal>
          <c:bubbleSize>
            <c:numRef>
              <c:f>Sheet1!$C$2:$C$9</c:f>
              <c:numCache>
                <c:formatCode>General</c:formatCode>
                <c:ptCount val="8"/>
                <c:pt idx="0">
                  <c:v>395087</c:v>
                </c:pt>
                <c:pt idx="1">
                  <c:v>216631</c:v>
                </c:pt>
                <c:pt idx="2">
                  <c:v>169872</c:v>
                </c:pt>
                <c:pt idx="3">
                  <c:v>95486</c:v>
                </c:pt>
                <c:pt idx="4">
                  <c:v>91042</c:v>
                </c:pt>
                <c:pt idx="5">
                  <c:v>73338</c:v>
                </c:pt>
                <c:pt idx="6">
                  <c:v>71290</c:v>
                </c:pt>
                <c:pt idx="7">
                  <c:v>69904</c:v>
                </c:pt>
              </c:numCache>
            </c:numRef>
          </c:bubbleSize>
          <c:bubble3D val="0"/>
          <c:extLst>
            <c:ext xmlns:c15="http://schemas.microsoft.com/office/drawing/2012/chart" uri="{02D57815-91ED-43cb-92C2-25804820EDAC}">
              <c15:datalabelsRange>
                <c15:f>Sheet1!$E$2:$E$10</c15:f>
                <c15:dlblRangeCache>
                  <c:ptCount val="9"/>
                  <c:pt idx="0">
                    <c:v>Ruinart</c:v>
                  </c:pt>
                  <c:pt idx="1">
                    <c:v>Nicolas</c:v>
                  </c:pt>
                  <c:pt idx="2">
                    <c:v>Deutz</c:v>
                  </c:pt>
                  <c:pt idx="3">
                    <c:v>Malard</c:v>
                  </c:pt>
                  <c:pt idx="4">
                    <c:v>Heidsieck &amp; Co Monopole</c:v>
                  </c:pt>
                  <c:pt idx="5">
                    <c:v>Ayala</c:v>
                  </c:pt>
                  <c:pt idx="6">
                    <c:v>De Bligny</c:v>
                  </c:pt>
                  <c:pt idx="7">
                    <c:v>Laurent Perrier</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3"/>
          <c:min val="1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rPr lang="de-DE"/>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2280000000000002"/>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C14A6C7-516F-4799-BED0-0E7E0C03E2E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B89A070-B8D6-497C-9E76-FEBF91168BD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64C41DF-8B26-4D82-B7A3-CC08FE7FE17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525A010-37E8-4EA0-B808-9FDBE6927B8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F8AD8E6-EEE7-4BBD-BC1A-09658DA06B8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FD03464-DEAD-4129-82D1-79F5C36EE96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E39E2238-25CC-4D04-854E-2DA30568423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C9F8661D-1C73-44A9-BF28-341E1E9DB62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69.862499999999997</c:v>
                </c:pt>
                <c:pt idx="1">
                  <c:v>23.236599999999999</c:v>
                </c:pt>
                <c:pt idx="2">
                  <c:v>52.527299999999997</c:v>
                </c:pt>
                <c:pt idx="3">
                  <c:v>32.034199999999998</c:v>
                </c:pt>
                <c:pt idx="4">
                  <c:v>17.333100000000002</c:v>
                </c:pt>
                <c:pt idx="5">
                  <c:v>55.900500000000001</c:v>
                </c:pt>
                <c:pt idx="6">
                  <c:v>70.223500000000001</c:v>
                </c:pt>
                <c:pt idx="7">
                  <c:v>34.026000000000003</c:v>
                </c:pt>
              </c:numCache>
            </c:numRef>
          </c:xVal>
          <c:yVal>
            <c:numRef>
              <c:f>Sheet1!$B$2:$B$9</c:f>
              <c:numCache>
                <c:formatCode>General</c:formatCode>
                <c:ptCount val="8"/>
                <c:pt idx="0">
                  <c:v>2.1949999999999998</c:v>
                </c:pt>
                <c:pt idx="1">
                  <c:v>0.752</c:v>
                </c:pt>
                <c:pt idx="2">
                  <c:v>1.6419999999999999</c:v>
                </c:pt>
                <c:pt idx="3">
                  <c:v>1.034</c:v>
                </c:pt>
                <c:pt idx="4">
                  <c:v>0.59699999999999998</c:v>
                </c:pt>
                <c:pt idx="5">
                  <c:v>1.546</c:v>
                </c:pt>
                <c:pt idx="6">
                  <c:v>2.08</c:v>
                </c:pt>
                <c:pt idx="7">
                  <c:v>1.0980000000000001</c:v>
                </c:pt>
              </c:numCache>
            </c:numRef>
          </c:yVal>
          <c:bubbleSize>
            <c:numRef>
              <c:f>Sheet1!$C$2:$C$9</c:f>
              <c:numCache>
                <c:formatCode>General</c:formatCode>
                <c:ptCount val="8"/>
                <c:pt idx="0">
                  <c:v>300199</c:v>
                </c:pt>
                <c:pt idx="1">
                  <c:v>152037</c:v>
                </c:pt>
                <c:pt idx="2">
                  <c:v>101798</c:v>
                </c:pt>
                <c:pt idx="3">
                  <c:v>71244</c:v>
                </c:pt>
                <c:pt idx="4">
                  <c:v>68483</c:v>
                </c:pt>
                <c:pt idx="5">
                  <c:v>66298</c:v>
                </c:pt>
                <c:pt idx="6">
                  <c:v>50280</c:v>
                </c:pt>
                <c:pt idx="7">
                  <c:v>49678</c:v>
                </c:pt>
              </c:numCache>
            </c:numRef>
          </c:bubbleSize>
          <c:bubble3D val="0"/>
          <c:extLst>
            <c:ext xmlns:c15="http://schemas.microsoft.com/office/drawing/2012/chart" uri="{02D57815-91ED-43cb-92C2-25804820EDAC}">
              <c15:datalabelsRange>
                <c15:f>Sheet1!$E$2:$E$10</c15:f>
                <c15:dlblRangeCache>
                  <c:ptCount val="9"/>
                  <c:pt idx="0">
                    <c:v>Ruinart</c:v>
                  </c:pt>
                  <c:pt idx="1">
                    <c:v>Nicolas</c:v>
                  </c:pt>
                  <c:pt idx="2">
                    <c:v>Deutz</c:v>
                  </c:pt>
                  <c:pt idx="3">
                    <c:v>Malard</c:v>
                  </c:pt>
                  <c:pt idx="4">
                    <c:v>Mure</c:v>
                  </c:pt>
                  <c:pt idx="5">
                    <c:v>Laurent Perrier</c:v>
                  </c:pt>
                  <c:pt idx="6">
                    <c:v>Bollinger</c:v>
                  </c:pt>
                  <c:pt idx="7">
                    <c:v>Canard Duchên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4"/>
          <c:min val="1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rPr lang="de-DE"/>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395"/>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CAEDC6C-23B9-4327-B838-2B2F15B2056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3E56FEB-42B6-4404-BE26-71360E3BF56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883D69F-4963-45C3-84B3-D940C0CFE29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F4AA2D5-D6CC-4FD6-82EB-64D90757EE9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11071D93-8E85-4E8F-8C27-7D734F603C1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6EA152D-2EDE-445C-8458-9535EA7605E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75ED6FDF-7EB0-4AA8-981D-A143E762106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826FEE3-5B8E-476A-9444-56ACBD78C57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71.709699999999998</c:v>
                </c:pt>
                <c:pt idx="1">
                  <c:v>23.626300000000001</c:v>
                </c:pt>
                <c:pt idx="2">
                  <c:v>50.448099999999997</c:v>
                </c:pt>
                <c:pt idx="3">
                  <c:v>53.660699999999999</c:v>
                </c:pt>
                <c:pt idx="4">
                  <c:v>31.505700000000001</c:v>
                </c:pt>
                <c:pt idx="5">
                  <c:v>88.677499999999995</c:v>
                </c:pt>
                <c:pt idx="6">
                  <c:v>32.752200000000002</c:v>
                </c:pt>
                <c:pt idx="7">
                  <c:v>291.98700000000002</c:v>
                </c:pt>
              </c:numCache>
            </c:numRef>
          </c:xVal>
          <c:yVal>
            <c:numRef>
              <c:f>Sheet1!$B$2:$B$9</c:f>
              <c:numCache>
                <c:formatCode>General</c:formatCode>
                <c:ptCount val="8"/>
                <c:pt idx="0">
                  <c:v>1.847</c:v>
                </c:pt>
                <c:pt idx="1">
                  <c:v>0.61499999999999999</c:v>
                </c:pt>
                <c:pt idx="2">
                  <c:v>1.2869999999999999</c:v>
                </c:pt>
                <c:pt idx="3">
                  <c:v>1.254</c:v>
                </c:pt>
                <c:pt idx="4">
                  <c:v>0.81699999999999995</c:v>
                </c:pt>
                <c:pt idx="5">
                  <c:v>2.3119999999999998</c:v>
                </c:pt>
                <c:pt idx="6">
                  <c:v>0.83899999999999997</c:v>
                </c:pt>
                <c:pt idx="7">
                  <c:v>7.4649999999999999</c:v>
                </c:pt>
              </c:numCache>
            </c:numRef>
          </c:yVal>
          <c:bubbleSize>
            <c:numRef>
              <c:f>Sheet1!$C$2:$C$9</c:f>
              <c:numCache>
                <c:formatCode>General</c:formatCode>
                <c:ptCount val="8"/>
                <c:pt idx="0">
                  <c:v>4907450</c:v>
                </c:pt>
                <c:pt idx="1">
                  <c:v>1463201</c:v>
                </c:pt>
                <c:pt idx="2">
                  <c:v>1419306</c:v>
                </c:pt>
                <c:pt idx="3">
                  <c:v>1119576</c:v>
                </c:pt>
                <c:pt idx="4">
                  <c:v>828914</c:v>
                </c:pt>
                <c:pt idx="5">
                  <c:v>791269</c:v>
                </c:pt>
                <c:pt idx="6">
                  <c:v>634868</c:v>
                </c:pt>
                <c:pt idx="7">
                  <c:v>585726</c:v>
                </c:pt>
              </c:numCache>
            </c:numRef>
          </c:bubbleSize>
          <c:bubble3D val="0"/>
          <c:extLst>
            <c:ext xmlns:c15="http://schemas.microsoft.com/office/drawing/2012/chart" uri="{02D57815-91ED-43cb-92C2-25804820EDAC}">
              <c15:datalabelsRange>
                <c15:f>Sheet1!$E$2:$E$10</c15:f>
                <c15:dlblRangeCache>
                  <c:ptCount val="9"/>
                  <c:pt idx="0">
                    <c:v>Ruinart</c:v>
                  </c:pt>
                  <c:pt idx="1">
                    <c:v>Nicolas</c:v>
                  </c:pt>
                  <c:pt idx="2">
                    <c:v>Deutz</c:v>
                  </c:pt>
                  <c:pt idx="3">
                    <c:v>Laurent Perrier</c:v>
                  </c:pt>
                  <c:pt idx="4">
                    <c:v>Malard</c:v>
                  </c:pt>
                  <c:pt idx="5">
                    <c:v>Roederer</c:v>
                  </c:pt>
                  <c:pt idx="6">
                    <c:v>Nicolas Feuillatte</c:v>
                  </c:pt>
                  <c:pt idx="7">
                    <c:v>Dom Perigno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50"/>
          <c:min val="1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rPr lang="de-DE"/>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7.665"/>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EECFF47-4FE9-45B3-8022-452BAC3AFD5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8B20DAA-3BAB-4D8D-928D-E769F40B171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46FA316-F0CF-469C-B67C-AFDAF2D1442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5FE7035-5BA2-467E-98F1-1571297730B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AA07FA2-5860-4624-B666-2E13D975B6A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AC3408F-1339-40AB-82AB-3A8D5283B70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80BD1C5-3408-49E0-B941-EFA517B52C7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14D620BB-7E45-4A82-A55E-836EA65B80D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68.133499999999998</c:v>
                </c:pt>
                <c:pt idx="1">
                  <c:v>23.392900000000001</c:v>
                </c:pt>
                <c:pt idx="2">
                  <c:v>48.761299999999999</c:v>
                </c:pt>
                <c:pt idx="3">
                  <c:v>51.302199999999999</c:v>
                </c:pt>
                <c:pt idx="4">
                  <c:v>31.512499999999999</c:v>
                </c:pt>
                <c:pt idx="5">
                  <c:v>32.631799999999998</c:v>
                </c:pt>
                <c:pt idx="6">
                  <c:v>29.2836</c:v>
                </c:pt>
                <c:pt idx="7">
                  <c:v>71.167199999999994</c:v>
                </c:pt>
              </c:numCache>
            </c:numRef>
          </c:xVal>
          <c:yVal>
            <c:numRef>
              <c:f>Sheet1!$B$2:$B$9</c:f>
              <c:numCache>
                <c:formatCode>General</c:formatCode>
                <c:ptCount val="8"/>
                <c:pt idx="0">
                  <c:v>1.9450000000000001</c:v>
                </c:pt>
                <c:pt idx="1">
                  <c:v>0.67900000000000005</c:v>
                </c:pt>
                <c:pt idx="2">
                  <c:v>1.393</c:v>
                </c:pt>
                <c:pt idx="3">
                  <c:v>1.3380000000000001</c:v>
                </c:pt>
                <c:pt idx="4">
                  <c:v>0.91100000000000003</c:v>
                </c:pt>
                <c:pt idx="5">
                  <c:v>0.92800000000000005</c:v>
                </c:pt>
                <c:pt idx="6">
                  <c:v>0.84499999999999997</c:v>
                </c:pt>
                <c:pt idx="7">
                  <c:v>2.0619999999999998</c:v>
                </c:pt>
              </c:numCache>
            </c:numRef>
          </c:yVal>
          <c:bubbleSize>
            <c:numRef>
              <c:f>Sheet1!$C$2:$C$9</c:f>
              <c:numCache>
                <c:formatCode>General</c:formatCode>
                <c:ptCount val="8"/>
                <c:pt idx="0">
                  <c:v>2147840</c:v>
                </c:pt>
                <c:pt idx="1">
                  <c:v>849490</c:v>
                </c:pt>
                <c:pt idx="2">
                  <c:v>757750</c:v>
                </c:pt>
                <c:pt idx="3">
                  <c:v>524411</c:v>
                </c:pt>
                <c:pt idx="4">
                  <c:v>464085</c:v>
                </c:pt>
                <c:pt idx="5">
                  <c:v>324491</c:v>
                </c:pt>
                <c:pt idx="6">
                  <c:v>304491</c:v>
                </c:pt>
                <c:pt idx="7">
                  <c:v>281324</c:v>
                </c:pt>
              </c:numCache>
            </c:numRef>
          </c:bubbleSize>
          <c:bubble3D val="0"/>
          <c:extLst>
            <c:ext xmlns:c15="http://schemas.microsoft.com/office/drawing/2012/chart" uri="{02D57815-91ED-43cb-92C2-25804820EDAC}">
              <c15:datalabelsRange>
                <c15:f>Sheet1!$E$2:$E$10</c15:f>
                <c15:dlblRangeCache>
                  <c:ptCount val="9"/>
                  <c:pt idx="0">
                    <c:v>Ruinart</c:v>
                  </c:pt>
                  <c:pt idx="1">
                    <c:v>Nicolas</c:v>
                  </c:pt>
                  <c:pt idx="2">
                    <c:v>Deutz</c:v>
                  </c:pt>
                  <c:pt idx="3">
                    <c:v>Laurent Perrier</c:v>
                  </c:pt>
                  <c:pt idx="4">
                    <c:v>Malard</c:v>
                  </c:pt>
                  <c:pt idx="5">
                    <c:v>Nicolas Feuillatte</c:v>
                  </c:pt>
                  <c:pt idx="6">
                    <c:v>Heidsieck &amp; Co Monopole</c:v>
                  </c:pt>
                  <c:pt idx="7">
                    <c:v>Roederer</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5"/>
          <c:min val="1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262"/>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72355E9-EE7A-4F4B-96A9-CB9A85FD783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C08A30F-D866-4F61-B2D3-CE84FC435AE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7B34B9F-69AC-490D-958D-64A961C6669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CC29780-BE5E-4DBE-A294-D9AF0F77585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4CFE9DC-9495-4762-86E8-2FD848EEBD7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5742FBD-B58C-4F60-A3B8-D3E22E0631D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2CDC9874-0F4D-49EE-9320-03E6F0305F3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583C5A86-7396-48AB-8BAB-F23A66AFD57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69.275000000000006</c:v>
                </c:pt>
                <c:pt idx="1">
                  <c:v>23.590299999999999</c:v>
                </c:pt>
                <c:pt idx="2">
                  <c:v>50.235199999999999</c:v>
                </c:pt>
                <c:pt idx="3">
                  <c:v>31.48</c:v>
                </c:pt>
                <c:pt idx="4">
                  <c:v>52.412700000000001</c:v>
                </c:pt>
                <c:pt idx="5">
                  <c:v>32.894399999999997</c:v>
                </c:pt>
                <c:pt idx="6">
                  <c:v>29.253399999999999</c:v>
                </c:pt>
                <c:pt idx="7">
                  <c:v>38.716000000000001</c:v>
                </c:pt>
              </c:numCache>
            </c:numRef>
          </c:xVal>
          <c:yVal>
            <c:numRef>
              <c:f>Sheet1!$B$2:$B$9</c:f>
              <c:numCache>
                <c:formatCode>General</c:formatCode>
                <c:ptCount val="8"/>
                <c:pt idx="0">
                  <c:v>1.9550000000000001</c:v>
                </c:pt>
                <c:pt idx="1">
                  <c:v>0.67800000000000005</c:v>
                </c:pt>
                <c:pt idx="2">
                  <c:v>1.403</c:v>
                </c:pt>
                <c:pt idx="3">
                  <c:v>0.90100000000000002</c:v>
                </c:pt>
                <c:pt idx="4">
                  <c:v>1.34</c:v>
                </c:pt>
                <c:pt idx="5">
                  <c:v>0.91600000000000004</c:v>
                </c:pt>
                <c:pt idx="6">
                  <c:v>0.83599999999999997</c:v>
                </c:pt>
                <c:pt idx="7">
                  <c:v>1.107</c:v>
                </c:pt>
              </c:numCache>
            </c:numRef>
          </c:yVal>
          <c:bubbleSize>
            <c:numRef>
              <c:f>Sheet1!$C$2:$C$9</c:f>
              <c:numCache>
                <c:formatCode>General</c:formatCode>
                <c:ptCount val="8"/>
                <c:pt idx="0">
                  <c:v>3453150</c:v>
                </c:pt>
                <c:pt idx="1">
                  <c:v>1317521</c:v>
                </c:pt>
                <c:pt idx="2">
                  <c:v>1108641</c:v>
                </c:pt>
                <c:pt idx="3">
                  <c:v>730304</c:v>
                </c:pt>
                <c:pt idx="4">
                  <c:v>682885</c:v>
                </c:pt>
                <c:pt idx="5">
                  <c:v>520981</c:v>
                </c:pt>
                <c:pt idx="6">
                  <c:v>468611</c:v>
                </c:pt>
                <c:pt idx="7">
                  <c:v>467844</c:v>
                </c:pt>
              </c:numCache>
            </c:numRef>
          </c:bubbleSize>
          <c:bubble3D val="0"/>
          <c:extLst>
            <c:ext xmlns:c15="http://schemas.microsoft.com/office/drawing/2012/chart" uri="{02D57815-91ED-43cb-92C2-25804820EDAC}">
              <c15:datalabelsRange>
                <c15:f>Sheet1!$E$2:$E$10</c15:f>
                <c15:dlblRangeCache>
                  <c:ptCount val="9"/>
                  <c:pt idx="0">
                    <c:v>Ruinart</c:v>
                  </c:pt>
                  <c:pt idx="1">
                    <c:v>Nicolas</c:v>
                  </c:pt>
                  <c:pt idx="2">
                    <c:v>Deutz</c:v>
                  </c:pt>
                  <c:pt idx="3">
                    <c:v>Malard</c:v>
                  </c:pt>
                  <c:pt idx="4">
                    <c:v>Laurent Perrier</c:v>
                  </c:pt>
                  <c:pt idx="5">
                    <c:v>Nicolas Feuillatte</c:v>
                  </c:pt>
                  <c:pt idx="6">
                    <c:v>Heidsieck &amp; Co Monopole</c:v>
                  </c:pt>
                  <c:pt idx="7">
                    <c:v>Ayala</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3"/>
          <c:min val="1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rPr lang="de-DE"/>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1550000000000002"/>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84E1EE3-2CFC-427B-90B7-C062A849110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44E7570-B0D2-4AE4-930C-6EBBBE6F3A9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A67F615-D7DB-485B-8201-47041CF07AE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D29EE0C-4101-4F3E-9195-0543E071489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FF36183-D392-4BCD-A896-B55B9BB3A99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75EE06E-A7F1-4ECE-BCEA-D2C027CEC3B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1CEA7B14-0FA4-4F5A-B7FD-2627A6F24D3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02C998F9-BDF9-4FC5-A500-B2EEE2FC32C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69.515299999999996</c:v>
                </c:pt>
                <c:pt idx="1">
                  <c:v>23.7239</c:v>
                </c:pt>
                <c:pt idx="2">
                  <c:v>49.200299999999999</c:v>
                </c:pt>
                <c:pt idx="3">
                  <c:v>31.5063</c:v>
                </c:pt>
                <c:pt idx="4">
                  <c:v>52.281500000000001</c:v>
                </c:pt>
                <c:pt idx="5">
                  <c:v>32.801400000000001</c:v>
                </c:pt>
                <c:pt idx="6">
                  <c:v>29.312200000000001</c:v>
                </c:pt>
                <c:pt idx="7">
                  <c:v>30.9068</c:v>
                </c:pt>
              </c:numCache>
            </c:numRef>
          </c:xVal>
          <c:yVal>
            <c:numRef>
              <c:f>Sheet1!$B$2:$B$9</c:f>
              <c:numCache>
                <c:formatCode>General</c:formatCode>
                <c:ptCount val="8"/>
                <c:pt idx="0">
                  <c:v>1.9810000000000001</c:v>
                </c:pt>
                <c:pt idx="1">
                  <c:v>0.68899999999999995</c:v>
                </c:pt>
                <c:pt idx="2">
                  <c:v>1.391</c:v>
                </c:pt>
                <c:pt idx="3">
                  <c:v>0.91100000000000003</c:v>
                </c:pt>
                <c:pt idx="4">
                  <c:v>1.335</c:v>
                </c:pt>
                <c:pt idx="5">
                  <c:v>0.92300000000000004</c:v>
                </c:pt>
                <c:pt idx="6">
                  <c:v>0.84799999999999998</c:v>
                </c:pt>
                <c:pt idx="7">
                  <c:v>0.89400000000000002</c:v>
                </c:pt>
              </c:numCache>
            </c:numRef>
          </c:yVal>
          <c:bubbleSize>
            <c:numRef>
              <c:f>Sheet1!$C$2:$C$9</c:f>
              <c:numCache>
                <c:formatCode>General</c:formatCode>
                <c:ptCount val="8"/>
                <c:pt idx="0">
                  <c:v>2733549</c:v>
                </c:pt>
                <c:pt idx="1">
                  <c:v>1023352</c:v>
                </c:pt>
                <c:pt idx="2">
                  <c:v>901841</c:v>
                </c:pt>
                <c:pt idx="3">
                  <c:v>627069</c:v>
                </c:pt>
                <c:pt idx="4">
                  <c:v>511679</c:v>
                </c:pt>
                <c:pt idx="5">
                  <c:v>429337</c:v>
                </c:pt>
                <c:pt idx="6">
                  <c:v>405270</c:v>
                </c:pt>
                <c:pt idx="7">
                  <c:v>374003</c:v>
                </c:pt>
              </c:numCache>
            </c:numRef>
          </c:bubbleSize>
          <c:bubble3D val="0"/>
          <c:extLst>
            <c:ext xmlns:c15="http://schemas.microsoft.com/office/drawing/2012/chart" uri="{02D57815-91ED-43cb-92C2-25804820EDAC}">
              <c15:datalabelsRange>
                <c15:f>Sheet1!$E$2:$E$10</c15:f>
                <c15:dlblRangeCache>
                  <c:ptCount val="9"/>
                  <c:pt idx="0">
                    <c:v>Ruinart</c:v>
                  </c:pt>
                  <c:pt idx="1">
                    <c:v>Nicolas</c:v>
                  </c:pt>
                  <c:pt idx="2">
                    <c:v>Deutz</c:v>
                  </c:pt>
                  <c:pt idx="3">
                    <c:v>Malard</c:v>
                  </c:pt>
                  <c:pt idx="4">
                    <c:v>Laurent Perrier</c:v>
                  </c:pt>
                  <c:pt idx="5">
                    <c:v>Nicolas Feuillatte</c:v>
                  </c:pt>
                  <c:pt idx="6">
                    <c:v>Heidsieck &amp; Co Monopole</c:v>
                  </c:pt>
                  <c:pt idx="7">
                    <c:v>De Blign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3"/>
          <c:min val="1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rPr lang="de-DE"/>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181"/>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6EF78D1-3444-4EF0-A387-0846AEE7BFA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0E68054-925D-4F1A-BBFA-053ABC7D144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5C7FE94-3FA1-487D-87F1-263B3C1332F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CDEDBEE-69DB-4826-95F3-F95BD7F822E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65BFF126-FB18-4B82-83C4-CC0B5268CB3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BF1283C-A0E6-4B4D-AB2E-B9044894320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58E6B038-495C-4528-88C8-5DC7011ED53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23C9205D-7AE9-4AC1-8580-3BABAED8911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68.593400000000003</c:v>
                </c:pt>
                <c:pt idx="1">
                  <c:v>23.808499999999999</c:v>
                </c:pt>
                <c:pt idx="2">
                  <c:v>50.115900000000003</c:v>
                </c:pt>
                <c:pt idx="3">
                  <c:v>31.6996</c:v>
                </c:pt>
                <c:pt idx="4">
                  <c:v>52.491900000000001</c:v>
                </c:pt>
                <c:pt idx="5">
                  <c:v>29.232500000000002</c:v>
                </c:pt>
                <c:pt idx="6">
                  <c:v>33.807899999999997</c:v>
                </c:pt>
                <c:pt idx="7">
                  <c:v>31.170300000000001</c:v>
                </c:pt>
              </c:numCache>
            </c:numRef>
          </c:xVal>
          <c:yVal>
            <c:numRef>
              <c:f>Sheet1!$B$2:$B$9</c:f>
              <c:numCache>
                <c:formatCode>General</c:formatCode>
                <c:ptCount val="8"/>
                <c:pt idx="0">
                  <c:v>2.012</c:v>
                </c:pt>
                <c:pt idx="1">
                  <c:v>0.70899999999999996</c:v>
                </c:pt>
                <c:pt idx="2">
                  <c:v>1.4390000000000001</c:v>
                </c:pt>
                <c:pt idx="3">
                  <c:v>0.94199999999999995</c:v>
                </c:pt>
                <c:pt idx="4">
                  <c:v>1.3859999999999999</c:v>
                </c:pt>
                <c:pt idx="5">
                  <c:v>0.86899999999999999</c:v>
                </c:pt>
                <c:pt idx="6">
                  <c:v>0.96599999999999997</c:v>
                </c:pt>
                <c:pt idx="7">
                  <c:v>0.92600000000000005</c:v>
                </c:pt>
              </c:numCache>
            </c:numRef>
          </c:yVal>
          <c:bubbleSize>
            <c:numRef>
              <c:f>Sheet1!$C$2:$C$9</c:f>
              <c:numCache>
                <c:formatCode>General</c:formatCode>
                <c:ptCount val="8"/>
                <c:pt idx="0">
                  <c:v>2452284</c:v>
                </c:pt>
                <c:pt idx="1">
                  <c:v>1052215</c:v>
                </c:pt>
                <c:pt idx="2">
                  <c:v>800953</c:v>
                </c:pt>
                <c:pt idx="3">
                  <c:v>584730</c:v>
                </c:pt>
                <c:pt idx="4">
                  <c:v>451798</c:v>
                </c:pt>
                <c:pt idx="5">
                  <c:v>367569</c:v>
                </c:pt>
                <c:pt idx="6">
                  <c:v>360663</c:v>
                </c:pt>
                <c:pt idx="7">
                  <c:v>351009</c:v>
                </c:pt>
              </c:numCache>
            </c:numRef>
          </c:bubbleSize>
          <c:bubble3D val="0"/>
          <c:extLst>
            <c:ext xmlns:c15="http://schemas.microsoft.com/office/drawing/2012/chart" uri="{02D57815-91ED-43cb-92C2-25804820EDAC}">
              <c15:datalabelsRange>
                <c15:f>Sheet1!$E$2:$E$10</c15:f>
                <c15:dlblRangeCache>
                  <c:ptCount val="9"/>
                  <c:pt idx="0">
                    <c:v>Ruinart</c:v>
                  </c:pt>
                  <c:pt idx="1">
                    <c:v>Nicolas</c:v>
                  </c:pt>
                  <c:pt idx="2">
                    <c:v>Deutz</c:v>
                  </c:pt>
                  <c:pt idx="3">
                    <c:v>Malard</c:v>
                  </c:pt>
                  <c:pt idx="4">
                    <c:v>Laurent Perrier</c:v>
                  </c:pt>
                  <c:pt idx="5">
                    <c:v>Heidsieck &amp; Co Monopole</c:v>
                  </c:pt>
                  <c:pt idx="6">
                    <c:v>Nicolas Feuillatte</c:v>
                  </c:pt>
                  <c:pt idx="7">
                    <c:v>De Blign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2"/>
          <c:min val="1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rPr lang="de-DE"/>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2120000000000002"/>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89FCFC6-D74B-4850-8610-758A669A720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72B5956-7482-4309-BEED-D6B7B11580B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7E8D442-0CD7-4D47-8231-B14B6F0E161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B9F7B17-8EB7-4469-B540-D16BC4BEC69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79E8789-EDDB-491E-9331-D4BFE009E7F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CD653EB-E01F-4CB7-A4B9-EBC7DA28C00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5C6050B3-A5D9-4180-9A4B-7B074F8EC7A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E2EB3B11-4BE5-4A6C-96DD-CB06BBB2E78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5.1111</c:v>
                </c:pt>
                <c:pt idx="1">
                  <c:v>31.078399999999998</c:v>
                </c:pt>
                <c:pt idx="2">
                  <c:v>26.736799999999999</c:v>
                </c:pt>
                <c:pt idx="3">
                  <c:v>24.309100000000001</c:v>
                </c:pt>
                <c:pt idx="4">
                  <c:v>18.720199999999998</c:v>
                </c:pt>
                <c:pt idx="5">
                  <c:v>69.356999999999999</c:v>
                </c:pt>
                <c:pt idx="6">
                  <c:v>41.793300000000002</c:v>
                </c:pt>
                <c:pt idx="7">
                  <c:v>23.585599999999999</c:v>
                </c:pt>
              </c:numCache>
            </c:numRef>
          </c:xVal>
          <c:yVal>
            <c:numRef>
              <c:f>Sheet1!$B$2:$B$9</c:f>
              <c:numCache>
                <c:formatCode>General</c:formatCode>
                <c:ptCount val="8"/>
                <c:pt idx="0">
                  <c:v>1.0429999999999999</c:v>
                </c:pt>
                <c:pt idx="1">
                  <c:v>1.4119999999999999</c:v>
                </c:pt>
                <c:pt idx="2">
                  <c:v>1.2110000000000001</c:v>
                </c:pt>
                <c:pt idx="3">
                  <c:v>1.038</c:v>
                </c:pt>
                <c:pt idx="4">
                  <c:v>0.28699999999999998</c:v>
                </c:pt>
                <c:pt idx="5">
                  <c:v>3.1949999999999998</c:v>
                </c:pt>
                <c:pt idx="6">
                  <c:v>1.88</c:v>
                </c:pt>
                <c:pt idx="7">
                  <c:v>1.1259999999999999</c:v>
                </c:pt>
              </c:numCache>
            </c:numRef>
          </c:yVal>
          <c:bubbleSize>
            <c:numRef>
              <c:f>Sheet1!$C$2:$C$9</c:f>
              <c:numCache>
                <c:formatCode>General</c:formatCode>
                <c:ptCount val="8"/>
                <c:pt idx="0">
                  <c:v>83416559</c:v>
                </c:pt>
                <c:pt idx="1">
                  <c:v>40272903</c:v>
                </c:pt>
                <c:pt idx="2">
                  <c:v>38917245</c:v>
                </c:pt>
                <c:pt idx="3">
                  <c:v>28145421</c:v>
                </c:pt>
                <c:pt idx="4">
                  <c:v>26885600</c:v>
                </c:pt>
                <c:pt idx="5">
                  <c:v>25463946</c:v>
                </c:pt>
                <c:pt idx="6">
                  <c:v>23810173</c:v>
                </c:pt>
                <c:pt idx="7">
                  <c:v>5693651</c:v>
                </c:pt>
              </c:numCache>
            </c:numRef>
          </c:bubbleSize>
          <c:bubble3D val="0"/>
          <c:extLst>
            <c:ext xmlns:c15="http://schemas.microsoft.com/office/drawing/2012/chart" uri="{02D57815-91ED-43cb-92C2-25804820EDAC}">
              <c15:datalabelsRange>
                <c15:f>Sheet1!$E$2:$E$10</c15:f>
                <c15:dlblRangeCache>
                  <c:ptCount val="9"/>
                  <c:pt idx="0">
                    <c:v>Nicolas Feuillatte</c:v>
                  </c:pt>
                  <c:pt idx="1">
                    <c:v>Mumm</c:v>
                  </c:pt>
                  <c:pt idx="2">
                    <c:v>Canard Duchêne</c:v>
                  </c:pt>
                  <c:pt idx="3">
                    <c:v>Alfred De Rothschild</c:v>
                  </c:pt>
                  <c:pt idx="4">
                    <c:v>Charles Lafitte</c:v>
                  </c:pt>
                  <c:pt idx="5">
                    <c:v>Ruinart</c:v>
                  </c:pt>
                  <c:pt idx="6">
                    <c:v>Moët &amp; Chandon</c:v>
                  </c:pt>
                  <c:pt idx="7">
                    <c:v>Nicola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3"/>
          <c:min val="1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3.395"/>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02BD9F6-6090-4D67-9257-8D269E8EB71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88378C6-6831-4C1A-9EB5-D811841B56B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9C76B12-21DE-4DA8-919C-80C520B4CBF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6DACB18-AC6F-4B37-B154-6C9EE40A165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D62FEF2-82B6-4291-8445-804F6672F3C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6E4A48F-556B-4B10-85B2-0D51DA1A902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E226FC98-9DA4-4E24-A71A-238D6711B98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0E410762-A4BB-4CBB-BCBC-3208795CDE1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69.8643</c:v>
                </c:pt>
                <c:pt idx="1">
                  <c:v>23.652999999999999</c:v>
                </c:pt>
                <c:pt idx="2">
                  <c:v>49.904499999999999</c:v>
                </c:pt>
                <c:pt idx="3">
                  <c:v>52.704900000000002</c:v>
                </c:pt>
                <c:pt idx="4">
                  <c:v>31.571200000000001</c:v>
                </c:pt>
                <c:pt idx="5">
                  <c:v>32.979300000000002</c:v>
                </c:pt>
                <c:pt idx="6">
                  <c:v>29.282399999999999</c:v>
                </c:pt>
                <c:pt idx="7">
                  <c:v>78.368899999999996</c:v>
                </c:pt>
              </c:numCache>
            </c:numRef>
          </c:xVal>
          <c:yVal>
            <c:numRef>
              <c:f>Sheet1!$B$2:$B$9</c:f>
              <c:numCache>
                <c:formatCode>General</c:formatCode>
                <c:ptCount val="8"/>
                <c:pt idx="0">
                  <c:v>1.599</c:v>
                </c:pt>
                <c:pt idx="1">
                  <c:v>0.55000000000000004</c:v>
                </c:pt>
                <c:pt idx="2">
                  <c:v>1.131</c:v>
                </c:pt>
                <c:pt idx="3">
                  <c:v>1.0920000000000001</c:v>
                </c:pt>
                <c:pt idx="4">
                  <c:v>0.73099999999999998</c:v>
                </c:pt>
                <c:pt idx="5">
                  <c:v>0.746</c:v>
                </c:pt>
                <c:pt idx="6">
                  <c:v>0.67800000000000005</c:v>
                </c:pt>
                <c:pt idx="7">
                  <c:v>1.804</c:v>
                </c:pt>
              </c:numCache>
            </c:numRef>
          </c:yVal>
          <c:bubbleSize>
            <c:numRef>
              <c:f>Sheet1!$C$2:$C$9</c:f>
              <c:numCache>
                <c:formatCode>General</c:formatCode>
                <c:ptCount val="8"/>
                <c:pt idx="0">
                  <c:v>15694034</c:v>
                </c:pt>
                <c:pt idx="1">
                  <c:v>5705587</c:v>
                </c:pt>
                <c:pt idx="2">
                  <c:v>4988401</c:v>
                </c:pt>
                <c:pt idx="3">
                  <c:v>3290262</c:v>
                </c:pt>
                <c:pt idx="4">
                  <c:v>3234970</c:v>
                </c:pt>
                <c:pt idx="5">
                  <c:v>2270261</c:v>
                </c:pt>
                <c:pt idx="6">
                  <c:v>2092464</c:v>
                </c:pt>
                <c:pt idx="7">
                  <c:v>2050287</c:v>
                </c:pt>
              </c:numCache>
            </c:numRef>
          </c:bubbleSize>
          <c:bubble3D val="0"/>
          <c:extLst>
            <c:ext xmlns:c15="http://schemas.microsoft.com/office/drawing/2012/chart" uri="{02D57815-91ED-43cb-92C2-25804820EDAC}">
              <c15:datalabelsRange>
                <c15:f>Sheet1!$E$2:$E$10</c15:f>
                <c15:dlblRangeCache>
                  <c:ptCount val="9"/>
                  <c:pt idx="0">
                    <c:v>Ruinart</c:v>
                  </c:pt>
                  <c:pt idx="1">
                    <c:v>Nicolas</c:v>
                  </c:pt>
                  <c:pt idx="2">
                    <c:v>Deutz</c:v>
                  </c:pt>
                  <c:pt idx="3">
                    <c:v>Laurent Perrier</c:v>
                  </c:pt>
                  <c:pt idx="4">
                    <c:v>Malard</c:v>
                  </c:pt>
                  <c:pt idx="5">
                    <c:v>Nicolas Feuillatte</c:v>
                  </c:pt>
                  <c:pt idx="6">
                    <c:v>Heidsieck &amp; Co Monopole</c:v>
                  </c:pt>
                  <c:pt idx="7">
                    <c:v>Roederer</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94"/>
          <c:min val="1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rPr lang="de-DE"/>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004"/>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EE4E5742-17AA-45D8-B1A4-BC5AD2DD796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6331F08F-6D7D-41E5-80D7-C03A9230029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D0559092-13CE-44CA-A04F-43AB3DC10AF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B2DC3CB6-636B-44BD-B0A3-081315F5E13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E8E0D370-5B71-44EB-8F8F-52DEDE61975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65427851-876E-4727-9BB3-AE8F5CE3460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39CD687E-AD9D-4737-B047-08C30D38991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31987F0D-3474-4C95-A886-013588CA7E1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11.4527</c:v>
                </c:pt>
                <c:pt idx="1">
                  <c:v>12.753</c:v>
                </c:pt>
                <c:pt idx="2">
                  <c:v>17.365300000000001</c:v>
                </c:pt>
                <c:pt idx="3">
                  <c:v>9.0898000000000003</c:v>
                </c:pt>
                <c:pt idx="4">
                  <c:v>11.398199999999999</c:v>
                </c:pt>
                <c:pt idx="5">
                  <c:v>11.792999999999999</c:v>
                </c:pt>
                <c:pt idx="6">
                  <c:v>13.5303</c:v>
                </c:pt>
                <c:pt idx="7">
                  <c:v>5.7638999999999996</c:v>
                </c:pt>
              </c:numCache>
            </c:numRef>
          </c:xVal>
          <c:yVal>
            <c:numRef>
              <c:f>Sheet1!$B$2:$B$9</c:f>
              <c:numCache>
                <c:formatCode>General</c:formatCode>
                <c:ptCount val="8"/>
                <c:pt idx="0">
                  <c:v>1.0860000000000001</c:v>
                </c:pt>
                <c:pt idx="1">
                  <c:v>1.21</c:v>
                </c:pt>
                <c:pt idx="2">
                  <c:v>1.659</c:v>
                </c:pt>
                <c:pt idx="3">
                  <c:v>0.86199999999999999</c:v>
                </c:pt>
                <c:pt idx="4">
                  <c:v>1.081</c:v>
                </c:pt>
                <c:pt idx="5">
                  <c:v>1.069</c:v>
                </c:pt>
                <c:pt idx="6">
                  <c:v>1.284</c:v>
                </c:pt>
                <c:pt idx="7">
                  <c:v>0.54600000000000004</c:v>
                </c:pt>
              </c:numCache>
            </c:numRef>
          </c:yVal>
          <c:bubbleSize>
            <c:numRef>
              <c:f>Sheet1!$C$2:$C$9</c:f>
              <c:numCache>
                <c:formatCode>General</c:formatCode>
                <c:ptCount val="8"/>
                <c:pt idx="0">
                  <c:v>290933</c:v>
                </c:pt>
                <c:pt idx="1">
                  <c:v>231659</c:v>
                </c:pt>
                <c:pt idx="2">
                  <c:v>179505</c:v>
                </c:pt>
                <c:pt idx="3">
                  <c:v>172107</c:v>
                </c:pt>
                <c:pt idx="4">
                  <c:v>151528</c:v>
                </c:pt>
                <c:pt idx="5">
                  <c:v>144783</c:v>
                </c:pt>
                <c:pt idx="6">
                  <c:v>89327</c:v>
                </c:pt>
                <c:pt idx="7">
                  <c:v>47921</c:v>
                </c:pt>
              </c:numCache>
            </c:numRef>
          </c:bubbleSize>
          <c:bubble3D val="0"/>
          <c:extLst>
            <c:ext xmlns:c15="http://schemas.microsoft.com/office/drawing/2012/chart" uri="{02D57815-91ED-43cb-92C2-25804820EDAC}">
              <c15:datalabelsRange>
                <c15:f>Sheet1!$E$2:$E$10</c15:f>
                <c15:dlblRangeCache>
                  <c:ptCount val="9"/>
                  <c:pt idx="0">
                    <c:v>Bottega</c:v>
                  </c:pt>
                  <c:pt idx="1">
                    <c:v>Patriarche</c:v>
                  </c:pt>
                  <c:pt idx="2">
                    <c:v>Mure</c:v>
                  </c:pt>
                  <c:pt idx="3">
                    <c:v>Savian</c:v>
                  </c:pt>
                  <c:pt idx="4">
                    <c:v>Chateau Moncontour</c:v>
                  </c:pt>
                  <c:pt idx="5">
                    <c:v>Bouvet-Ladubay</c:v>
                  </c:pt>
                  <c:pt idx="6">
                    <c:v>De Chanceny</c:v>
                  </c:pt>
                  <c:pt idx="7">
                    <c:v>Kriter</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
          <c:min val="5"/>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CF66B80-1986-4254-A9AB-294653BA955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43D4B02-EBA0-434C-9DBE-AD16D1047B1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A89E6DE-AA3F-4313-ADAD-DCE07197FE7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1171094-1A62-47CC-9610-84C7259A22F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6E69DE8-300E-4C3A-91F5-D7BD0B55041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B94A43D7-DCE8-4E36-9249-EB5FE744444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E17CB21-9AEC-49A8-BBB5-0102C91F4DE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DEC037DC-B270-48BC-9A2C-A04CE5D3ACE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4.946400000000001</c:v>
                </c:pt>
                <c:pt idx="1">
                  <c:v>31.078299999999999</c:v>
                </c:pt>
                <c:pt idx="2">
                  <c:v>26.586600000000001</c:v>
                </c:pt>
                <c:pt idx="3">
                  <c:v>24.309100000000001</c:v>
                </c:pt>
                <c:pt idx="4">
                  <c:v>18.720199999999998</c:v>
                </c:pt>
                <c:pt idx="5">
                  <c:v>41.6464</c:v>
                </c:pt>
                <c:pt idx="6">
                  <c:v>28.857299999999999</c:v>
                </c:pt>
                <c:pt idx="7">
                  <c:v>28.788599999999999</c:v>
                </c:pt>
              </c:numCache>
            </c:numRef>
          </c:xVal>
          <c:yVal>
            <c:numRef>
              <c:f>Sheet1!$B$2:$B$9</c:f>
              <c:numCache>
                <c:formatCode>General</c:formatCode>
                <c:ptCount val="8"/>
                <c:pt idx="0">
                  <c:v>1.099</c:v>
                </c:pt>
                <c:pt idx="1">
                  <c:v>1.5009999999999999</c:v>
                </c:pt>
                <c:pt idx="2">
                  <c:v>1.2769999999999999</c:v>
                </c:pt>
                <c:pt idx="3">
                  <c:v>1.1040000000000001</c:v>
                </c:pt>
                <c:pt idx="4">
                  <c:v>0.30499999999999999</c:v>
                </c:pt>
                <c:pt idx="5">
                  <c:v>1.988</c:v>
                </c:pt>
                <c:pt idx="6">
                  <c:v>1.4419999999999999</c:v>
                </c:pt>
                <c:pt idx="7">
                  <c:v>1.3759999999999999</c:v>
                </c:pt>
              </c:numCache>
            </c:numRef>
          </c:yVal>
          <c:bubbleSize>
            <c:numRef>
              <c:f>Sheet1!$C$2:$C$9</c:f>
              <c:numCache>
                <c:formatCode>General</c:formatCode>
                <c:ptCount val="8"/>
                <c:pt idx="0">
                  <c:v>81150444</c:v>
                </c:pt>
                <c:pt idx="1">
                  <c:v>40272704</c:v>
                </c:pt>
                <c:pt idx="2">
                  <c:v>37152564</c:v>
                </c:pt>
                <c:pt idx="3">
                  <c:v>28145421</c:v>
                </c:pt>
                <c:pt idx="4">
                  <c:v>26885600</c:v>
                </c:pt>
                <c:pt idx="5">
                  <c:v>22739166</c:v>
                </c:pt>
                <c:pt idx="6">
                  <c:v>18912061</c:v>
                </c:pt>
                <c:pt idx="7">
                  <c:v>18082204</c:v>
                </c:pt>
              </c:numCache>
            </c:numRef>
          </c:bubbleSize>
          <c:bubble3D val="0"/>
          <c:extLst>
            <c:ext xmlns:c15="http://schemas.microsoft.com/office/drawing/2012/chart" uri="{02D57815-91ED-43cb-92C2-25804820EDAC}">
              <c15:datalabelsRange>
                <c15:f>Sheet1!$E$2:$E$10</c15:f>
                <c15:dlblRangeCache>
                  <c:ptCount val="9"/>
                  <c:pt idx="0">
                    <c:v>Nicolas Feuillatte</c:v>
                  </c:pt>
                  <c:pt idx="1">
                    <c:v>Mumm</c:v>
                  </c:pt>
                  <c:pt idx="2">
                    <c:v>Canard Duchêne</c:v>
                  </c:pt>
                  <c:pt idx="3">
                    <c:v>Alfred De Rothschild</c:v>
                  </c:pt>
                  <c:pt idx="4">
                    <c:v>Charles Lafitte</c:v>
                  </c:pt>
                  <c:pt idx="5">
                    <c:v>Moët &amp; Chandon</c:v>
                  </c:pt>
                  <c:pt idx="6">
                    <c:v>Tsarine</c:v>
                  </c:pt>
                  <c:pt idx="7">
                    <c:v>Demoisell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0"/>
          <c:min val="1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1880000000000002"/>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04B8905-8B1C-4A91-9B33-5EA83FD43C4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3CD539F-5376-48B8-A64C-585DC5F1FB0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B45600A-7203-4E3C-AA36-C19FB1EA264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EA48173-A22B-4A7B-9473-B7CC32C298F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C97DCF5-CDFF-49FA-ABCE-A2C85DCD87A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B58D013-0023-4D67-AFC2-CCEFD72916C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E681AB73-B762-4F50-8B7C-7D11F351F03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A6861AC4-56C2-4BAE-8CB8-6CAF4DC0185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67.4298</c:v>
                </c:pt>
                <c:pt idx="1">
                  <c:v>23.6297</c:v>
                </c:pt>
                <c:pt idx="2">
                  <c:v>48.656399999999998</c:v>
                </c:pt>
                <c:pt idx="3">
                  <c:v>31.455500000000001</c:v>
                </c:pt>
                <c:pt idx="4">
                  <c:v>51.262500000000003</c:v>
                </c:pt>
                <c:pt idx="5">
                  <c:v>32.673000000000002</c:v>
                </c:pt>
                <c:pt idx="6">
                  <c:v>29.328600000000002</c:v>
                </c:pt>
                <c:pt idx="7">
                  <c:v>38.494</c:v>
                </c:pt>
              </c:numCache>
            </c:numRef>
          </c:xVal>
          <c:yVal>
            <c:numRef>
              <c:f>Sheet1!$B$2:$B$9</c:f>
              <c:numCache>
                <c:formatCode>General</c:formatCode>
                <c:ptCount val="8"/>
                <c:pt idx="0">
                  <c:v>1.6020000000000001</c:v>
                </c:pt>
                <c:pt idx="1">
                  <c:v>0.56899999999999995</c:v>
                </c:pt>
                <c:pt idx="2">
                  <c:v>1.157</c:v>
                </c:pt>
                <c:pt idx="3">
                  <c:v>0.753</c:v>
                </c:pt>
                <c:pt idx="4">
                  <c:v>1.1060000000000001</c:v>
                </c:pt>
                <c:pt idx="5">
                  <c:v>0.76900000000000002</c:v>
                </c:pt>
                <c:pt idx="6">
                  <c:v>0.70199999999999996</c:v>
                </c:pt>
                <c:pt idx="7">
                  <c:v>0.92100000000000004</c:v>
                </c:pt>
              </c:numCache>
            </c:numRef>
          </c:yVal>
          <c:bubbleSize>
            <c:numRef>
              <c:f>Sheet1!$C$2:$C$9</c:f>
              <c:numCache>
                <c:formatCode>General</c:formatCode>
                <c:ptCount val="8"/>
                <c:pt idx="0">
                  <c:v>5979133</c:v>
                </c:pt>
                <c:pt idx="1">
                  <c:v>2515244</c:v>
                </c:pt>
                <c:pt idx="2">
                  <c:v>2235322</c:v>
                </c:pt>
                <c:pt idx="3">
                  <c:v>1556133</c:v>
                </c:pt>
                <c:pt idx="4">
                  <c:v>1441809</c:v>
                </c:pt>
                <c:pt idx="5">
                  <c:v>1050176</c:v>
                </c:pt>
                <c:pt idx="6">
                  <c:v>1029785</c:v>
                </c:pt>
                <c:pt idx="7">
                  <c:v>929977</c:v>
                </c:pt>
              </c:numCache>
            </c:numRef>
          </c:bubbleSize>
          <c:bubble3D val="0"/>
          <c:extLst>
            <c:ext xmlns:c15="http://schemas.microsoft.com/office/drawing/2012/chart" uri="{02D57815-91ED-43cb-92C2-25804820EDAC}">
              <c15:datalabelsRange>
                <c15:f>Sheet1!$E$2:$E$10</c15:f>
                <c15:dlblRangeCache>
                  <c:ptCount val="9"/>
                  <c:pt idx="0">
                    <c:v>Ruinart</c:v>
                  </c:pt>
                  <c:pt idx="1">
                    <c:v>Nicolas</c:v>
                  </c:pt>
                  <c:pt idx="2">
                    <c:v>Deutz</c:v>
                  </c:pt>
                  <c:pt idx="3">
                    <c:v>Malard</c:v>
                  </c:pt>
                  <c:pt idx="4">
                    <c:v>Laurent Perrier</c:v>
                  </c:pt>
                  <c:pt idx="5">
                    <c:v>Nicolas Feuillatte</c:v>
                  </c:pt>
                  <c:pt idx="6">
                    <c:v>Heidsieck &amp; Co Monopole</c:v>
                  </c:pt>
                  <c:pt idx="7">
                    <c:v>Ayala</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1"/>
          <c:min val="1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rPr lang="de-DE"/>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802"/>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6EB3C14-0FE3-481B-B906-06C5F1908A0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908ABE6-4870-49F2-AE13-042523570AA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92EECB7-FF21-4DBD-B7D0-A9DE6F6A9EA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A83A9CB-F0E2-4BC4-A2A3-4909781ED6E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2ED092A-C79D-4DAE-B4F0-244ED2ADC4F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F824B7C-24FD-4BA1-AF69-E36A26AF6E2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84C45E91-4333-4862-A602-CF3D093FEB6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65ECB427-52AF-4167-A05E-D81DAADB857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70.044300000000007</c:v>
                </c:pt>
                <c:pt idx="1">
                  <c:v>23.673100000000002</c:v>
                </c:pt>
                <c:pt idx="2">
                  <c:v>50.6248</c:v>
                </c:pt>
                <c:pt idx="3">
                  <c:v>31.541399999999999</c:v>
                </c:pt>
                <c:pt idx="4">
                  <c:v>52.898600000000002</c:v>
                </c:pt>
                <c:pt idx="5">
                  <c:v>33.237000000000002</c:v>
                </c:pt>
                <c:pt idx="6">
                  <c:v>30.649899999999999</c:v>
                </c:pt>
                <c:pt idx="7">
                  <c:v>30.5626</c:v>
                </c:pt>
              </c:numCache>
            </c:numRef>
          </c:xVal>
          <c:yVal>
            <c:numRef>
              <c:f>Sheet1!$B$2:$B$9</c:f>
              <c:numCache>
                <c:formatCode>General</c:formatCode>
                <c:ptCount val="8"/>
                <c:pt idx="0">
                  <c:v>1.65</c:v>
                </c:pt>
                <c:pt idx="1">
                  <c:v>0.56799999999999995</c:v>
                </c:pt>
                <c:pt idx="2">
                  <c:v>1.1679999999999999</c:v>
                </c:pt>
                <c:pt idx="3">
                  <c:v>0.755</c:v>
                </c:pt>
                <c:pt idx="4">
                  <c:v>1.117</c:v>
                </c:pt>
                <c:pt idx="5">
                  <c:v>0.76500000000000001</c:v>
                </c:pt>
                <c:pt idx="6">
                  <c:v>0.73299999999999998</c:v>
                </c:pt>
                <c:pt idx="7">
                  <c:v>0.74399999999999999</c:v>
                </c:pt>
              </c:numCache>
            </c:numRef>
          </c:yVal>
          <c:bubbleSize>
            <c:numRef>
              <c:f>Sheet1!$C$2:$C$9</c:f>
              <c:numCache>
                <c:formatCode>General</c:formatCode>
                <c:ptCount val="8"/>
                <c:pt idx="0">
                  <c:v>3181414</c:v>
                </c:pt>
                <c:pt idx="1">
                  <c:v>1250034</c:v>
                </c:pt>
                <c:pt idx="2">
                  <c:v>867406</c:v>
                </c:pt>
                <c:pt idx="3">
                  <c:v>661770</c:v>
                </c:pt>
                <c:pt idx="4">
                  <c:v>505869</c:v>
                </c:pt>
                <c:pt idx="5">
                  <c:v>426896</c:v>
                </c:pt>
                <c:pt idx="6">
                  <c:v>422417</c:v>
                </c:pt>
                <c:pt idx="7">
                  <c:v>413482</c:v>
                </c:pt>
              </c:numCache>
            </c:numRef>
          </c:bubbleSize>
          <c:bubble3D val="0"/>
          <c:extLst>
            <c:ext xmlns:c15="http://schemas.microsoft.com/office/drawing/2012/chart" uri="{02D57815-91ED-43cb-92C2-25804820EDAC}">
              <c15:datalabelsRange>
                <c15:f>Sheet1!$E$2:$E$10</c15:f>
                <c15:dlblRangeCache>
                  <c:ptCount val="9"/>
                  <c:pt idx="0">
                    <c:v>Ruinart</c:v>
                  </c:pt>
                  <c:pt idx="1">
                    <c:v>Nicolas</c:v>
                  </c:pt>
                  <c:pt idx="2">
                    <c:v>Deutz</c:v>
                  </c:pt>
                  <c:pt idx="3">
                    <c:v>Malard</c:v>
                  </c:pt>
                  <c:pt idx="4">
                    <c:v>Laurent Perrier</c:v>
                  </c:pt>
                  <c:pt idx="5">
                    <c:v>Nicolas Feuillatte</c:v>
                  </c:pt>
                  <c:pt idx="6">
                    <c:v>De Bligny</c:v>
                  </c:pt>
                  <c:pt idx="7">
                    <c:v>Canard Duchên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4"/>
          <c:min val="1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849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EE889D1-1C69-430A-BB81-51B240E8E8F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F0E3102-E35B-49A0-AB99-9EA22CA9229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6E072A4-6BD9-465F-B704-DABD1CD86EA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ADB3B87-063B-4864-94F9-8346F91EDDB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6A64BC64-B1FF-4B08-B781-8112C6517FA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63BE4F0-1A2B-42BC-AA49-BF1B52B67B1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413D854-50CC-4316-9CCD-42052E20695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6E743073-DD31-4E1E-9322-748FE96097F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70.331900000000005</c:v>
                </c:pt>
                <c:pt idx="1">
                  <c:v>23.5243</c:v>
                </c:pt>
                <c:pt idx="2">
                  <c:v>50.431899999999999</c:v>
                </c:pt>
                <c:pt idx="3">
                  <c:v>53.389200000000002</c:v>
                </c:pt>
                <c:pt idx="4">
                  <c:v>31.674299999999999</c:v>
                </c:pt>
                <c:pt idx="5">
                  <c:v>83.896100000000004</c:v>
                </c:pt>
                <c:pt idx="6">
                  <c:v>33.087600000000002</c:v>
                </c:pt>
                <c:pt idx="7">
                  <c:v>56.0105</c:v>
                </c:pt>
              </c:numCache>
            </c:numRef>
          </c:xVal>
          <c:yVal>
            <c:numRef>
              <c:f>Sheet1!$B$2:$B$9</c:f>
              <c:numCache>
                <c:formatCode>General</c:formatCode>
                <c:ptCount val="8"/>
                <c:pt idx="0">
                  <c:v>1.552</c:v>
                </c:pt>
                <c:pt idx="1">
                  <c:v>0.52700000000000002</c:v>
                </c:pt>
                <c:pt idx="2">
                  <c:v>1.111</c:v>
                </c:pt>
                <c:pt idx="3">
                  <c:v>1.0760000000000001</c:v>
                </c:pt>
                <c:pt idx="4">
                  <c:v>0.70399999999999996</c:v>
                </c:pt>
                <c:pt idx="5">
                  <c:v>1.823</c:v>
                </c:pt>
                <c:pt idx="6">
                  <c:v>0.72699999999999998</c:v>
                </c:pt>
                <c:pt idx="7">
                  <c:v>1.1200000000000001</c:v>
                </c:pt>
              </c:numCache>
            </c:numRef>
          </c:yVal>
          <c:bubbleSize>
            <c:numRef>
              <c:f>Sheet1!$C$2:$C$9</c:f>
              <c:numCache>
                <c:formatCode>General</c:formatCode>
                <c:ptCount val="8"/>
                <c:pt idx="0">
                  <c:v>1828137</c:v>
                </c:pt>
                <c:pt idx="1">
                  <c:v>611372</c:v>
                </c:pt>
                <c:pt idx="2">
                  <c:v>586220</c:v>
                </c:pt>
                <c:pt idx="3">
                  <c:v>507304</c:v>
                </c:pt>
                <c:pt idx="4">
                  <c:v>355481</c:v>
                </c:pt>
                <c:pt idx="5">
                  <c:v>287512</c:v>
                </c:pt>
                <c:pt idx="6">
                  <c:v>286936</c:v>
                </c:pt>
                <c:pt idx="7">
                  <c:v>239165</c:v>
                </c:pt>
              </c:numCache>
            </c:numRef>
          </c:bubbleSize>
          <c:bubble3D val="0"/>
          <c:extLst>
            <c:ext xmlns:c15="http://schemas.microsoft.com/office/drawing/2012/chart" uri="{02D57815-91ED-43cb-92C2-25804820EDAC}">
              <c15:datalabelsRange>
                <c15:f>Sheet1!$E$2:$E$10</c15:f>
                <c15:dlblRangeCache>
                  <c:ptCount val="9"/>
                  <c:pt idx="0">
                    <c:v>Ruinart</c:v>
                  </c:pt>
                  <c:pt idx="1">
                    <c:v>Nicolas</c:v>
                  </c:pt>
                  <c:pt idx="2">
                    <c:v>Deutz</c:v>
                  </c:pt>
                  <c:pt idx="3">
                    <c:v>Laurent Perrier</c:v>
                  </c:pt>
                  <c:pt idx="4">
                    <c:v>Malard</c:v>
                  </c:pt>
                  <c:pt idx="5">
                    <c:v>Roederer</c:v>
                  </c:pt>
                  <c:pt idx="6">
                    <c:v>Nicolas Feuillatte</c:v>
                  </c:pt>
                  <c:pt idx="7">
                    <c:v>Taittinger</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01"/>
          <c:min val="1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rPr lang="de-DE"/>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0230000000000001"/>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875FA94-BF47-49D9-98A3-0625EE8207A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6F3B91F-CD52-46C4-AD84-A9B9F309ABE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325C986-9E82-461D-994B-A2AA8747515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E973F07-7E9D-4808-AA86-1C7D504033D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1BB25A70-A982-4412-A37D-4D5FD1E4ACC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81FE327-AD82-4D37-A321-0E4E1886606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E44F93DD-2956-4F78-99AA-91E33F5E5B0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1C6457DC-2D5A-4426-8BD1-DE3029F1763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74.606999999999999</c:v>
                </c:pt>
                <c:pt idx="1">
                  <c:v>50.238399999999999</c:v>
                </c:pt>
                <c:pt idx="2">
                  <c:v>52.996000000000002</c:v>
                </c:pt>
                <c:pt idx="3">
                  <c:v>23.661899999999999</c:v>
                </c:pt>
                <c:pt idx="4">
                  <c:v>95.832400000000007</c:v>
                </c:pt>
                <c:pt idx="5">
                  <c:v>31.808399999999999</c:v>
                </c:pt>
                <c:pt idx="6">
                  <c:v>32.778799999999997</c:v>
                </c:pt>
                <c:pt idx="7">
                  <c:v>287.9796</c:v>
                </c:pt>
              </c:numCache>
            </c:numRef>
          </c:xVal>
          <c:yVal>
            <c:numRef>
              <c:f>Sheet1!$B$2:$B$9</c:f>
              <c:numCache>
                <c:formatCode>General</c:formatCode>
                <c:ptCount val="8"/>
                <c:pt idx="0">
                  <c:v>1.5149999999999999</c:v>
                </c:pt>
                <c:pt idx="1">
                  <c:v>1.006</c:v>
                </c:pt>
                <c:pt idx="2">
                  <c:v>0.98</c:v>
                </c:pt>
                <c:pt idx="3">
                  <c:v>0.48899999999999999</c:v>
                </c:pt>
                <c:pt idx="4">
                  <c:v>1.9430000000000001</c:v>
                </c:pt>
                <c:pt idx="5">
                  <c:v>0.65300000000000002</c:v>
                </c:pt>
                <c:pt idx="6">
                  <c:v>0.65900000000000003</c:v>
                </c:pt>
                <c:pt idx="7">
                  <c:v>5.758</c:v>
                </c:pt>
              </c:numCache>
            </c:numRef>
          </c:yVal>
          <c:bubbleSize>
            <c:numRef>
              <c:f>Sheet1!$C$2:$C$9</c:f>
              <c:numCache>
                <c:formatCode>General</c:formatCode>
                <c:ptCount val="8"/>
                <c:pt idx="0">
                  <c:v>1590547</c:v>
                </c:pt>
                <c:pt idx="1">
                  <c:v>430995</c:v>
                </c:pt>
                <c:pt idx="2">
                  <c:v>366626</c:v>
                </c:pt>
                <c:pt idx="3">
                  <c:v>343168</c:v>
                </c:pt>
                <c:pt idx="4">
                  <c:v>228081</c:v>
                </c:pt>
                <c:pt idx="5">
                  <c:v>210031</c:v>
                </c:pt>
                <c:pt idx="6">
                  <c:v>199000</c:v>
                </c:pt>
                <c:pt idx="7">
                  <c:v>183155</c:v>
                </c:pt>
              </c:numCache>
            </c:numRef>
          </c:bubbleSize>
          <c:bubble3D val="0"/>
          <c:extLst>
            <c:ext xmlns:c15="http://schemas.microsoft.com/office/drawing/2012/chart" uri="{02D57815-91ED-43cb-92C2-25804820EDAC}">
              <c15:datalabelsRange>
                <c15:f>Sheet1!$E$2:$E$10</c15:f>
                <c15:dlblRangeCache>
                  <c:ptCount val="9"/>
                  <c:pt idx="0">
                    <c:v>Ruinart</c:v>
                  </c:pt>
                  <c:pt idx="1">
                    <c:v>Deutz</c:v>
                  </c:pt>
                  <c:pt idx="2">
                    <c:v>Laurent Perrier</c:v>
                  </c:pt>
                  <c:pt idx="3">
                    <c:v>Nicolas</c:v>
                  </c:pt>
                  <c:pt idx="4">
                    <c:v>Roederer</c:v>
                  </c:pt>
                  <c:pt idx="5">
                    <c:v>Malard</c:v>
                  </c:pt>
                  <c:pt idx="6">
                    <c:v>Nicolas Feuillatte</c:v>
                  </c:pt>
                  <c:pt idx="7">
                    <c:v>Dom Perigno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46"/>
          <c:min val="1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5.9580000000000002"/>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D1CCEE8-AB6D-42AD-A386-9F2254A844F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9013156-14D5-44C2-A100-16221357436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7473728-6EB3-41B5-9409-6AF3D3474F7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0F28BFE-A6FA-4D5E-85A5-BB08BFFD57D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362A990-0374-4E32-B700-BCED20F4B0A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4B8F939-FAA7-4CD7-8DCE-D4F1729A18F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497C3F4B-088B-4D91-B1D2-2F9710D65BE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D34BE91A-53F4-419E-9816-27453172FFD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72.245000000000005</c:v>
                </c:pt>
                <c:pt idx="1">
                  <c:v>23.982600000000001</c:v>
                </c:pt>
                <c:pt idx="2">
                  <c:v>53.209800000000001</c:v>
                </c:pt>
                <c:pt idx="3">
                  <c:v>31.915800000000001</c:v>
                </c:pt>
                <c:pt idx="4">
                  <c:v>56.263100000000001</c:v>
                </c:pt>
                <c:pt idx="5">
                  <c:v>33.282400000000003</c:v>
                </c:pt>
                <c:pt idx="6">
                  <c:v>58.168599999999998</c:v>
                </c:pt>
                <c:pt idx="7">
                  <c:v>74.187700000000007</c:v>
                </c:pt>
              </c:numCache>
            </c:numRef>
          </c:xVal>
          <c:yVal>
            <c:numRef>
              <c:f>Sheet1!$B$2:$B$9</c:f>
              <c:numCache>
                <c:formatCode>General</c:formatCode>
                <c:ptCount val="8"/>
                <c:pt idx="0">
                  <c:v>1.5389999999999999</c:v>
                </c:pt>
                <c:pt idx="1">
                  <c:v>0.50800000000000001</c:v>
                </c:pt>
                <c:pt idx="2">
                  <c:v>1.0760000000000001</c:v>
                </c:pt>
                <c:pt idx="3">
                  <c:v>0.67700000000000005</c:v>
                </c:pt>
                <c:pt idx="4">
                  <c:v>1.022</c:v>
                </c:pt>
                <c:pt idx="5">
                  <c:v>0.68799999999999994</c:v>
                </c:pt>
                <c:pt idx="6">
                  <c:v>1.0229999999999999</c:v>
                </c:pt>
                <c:pt idx="7">
                  <c:v>1.524</c:v>
                </c:pt>
              </c:numCache>
            </c:numRef>
          </c:yVal>
          <c:bubbleSize>
            <c:numRef>
              <c:f>Sheet1!$C$2:$C$9</c:f>
              <c:numCache>
                <c:formatCode>General</c:formatCode>
                <c:ptCount val="8"/>
                <c:pt idx="0">
                  <c:v>1098847</c:v>
                </c:pt>
                <c:pt idx="1">
                  <c:v>246085</c:v>
                </c:pt>
                <c:pt idx="2">
                  <c:v>239125</c:v>
                </c:pt>
                <c:pt idx="3">
                  <c:v>135355</c:v>
                </c:pt>
                <c:pt idx="4">
                  <c:v>127436</c:v>
                </c:pt>
                <c:pt idx="5">
                  <c:v>107702</c:v>
                </c:pt>
                <c:pt idx="6">
                  <c:v>98654</c:v>
                </c:pt>
                <c:pt idx="7">
                  <c:v>98002</c:v>
                </c:pt>
              </c:numCache>
            </c:numRef>
          </c:bubbleSize>
          <c:bubble3D val="0"/>
          <c:extLst>
            <c:ext xmlns:c15="http://schemas.microsoft.com/office/drawing/2012/chart" uri="{02D57815-91ED-43cb-92C2-25804820EDAC}">
              <c15:datalabelsRange>
                <c15:f>Sheet1!$E$2:$E$10</c15:f>
                <c15:dlblRangeCache>
                  <c:ptCount val="9"/>
                  <c:pt idx="0">
                    <c:v>Ruinart</c:v>
                  </c:pt>
                  <c:pt idx="1">
                    <c:v>Nicolas</c:v>
                  </c:pt>
                  <c:pt idx="2">
                    <c:v>Deutz</c:v>
                  </c:pt>
                  <c:pt idx="3">
                    <c:v>Malard</c:v>
                  </c:pt>
                  <c:pt idx="4">
                    <c:v>Laurent Perrier</c:v>
                  </c:pt>
                  <c:pt idx="5">
                    <c:v>Nicolas Feuillatte</c:v>
                  </c:pt>
                  <c:pt idx="6">
                    <c:v>Taittinger</c:v>
                  </c:pt>
                  <c:pt idx="7">
                    <c:v>Roederer</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9"/>
          <c:min val="1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738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946332D-F77B-4DBE-8D2E-4DD23B6D6AB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05132C3-ED10-4827-9C25-832193651ED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C02D9EA-79AF-440C-9D36-57128EE816E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CD7D4A3-168D-4F55-A8A3-B76F51DF5CA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ECE23A2-94BB-4D8F-B0BB-7AB914C1123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B9F1DBB-F484-48B3-B11A-96B581C8E63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5B01BB8-28B7-45DE-831A-067B3640D06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B03A9232-602C-4A99-8359-AEA0FBB44AC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69.232299999999995</c:v>
                </c:pt>
                <c:pt idx="1">
                  <c:v>23.5748</c:v>
                </c:pt>
                <c:pt idx="2">
                  <c:v>49.180500000000002</c:v>
                </c:pt>
                <c:pt idx="3">
                  <c:v>51.747599999999998</c:v>
                </c:pt>
                <c:pt idx="4">
                  <c:v>31.525200000000002</c:v>
                </c:pt>
                <c:pt idx="5">
                  <c:v>32.7211</c:v>
                </c:pt>
                <c:pt idx="6">
                  <c:v>79.0989</c:v>
                </c:pt>
                <c:pt idx="7">
                  <c:v>29.301100000000002</c:v>
                </c:pt>
              </c:numCache>
            </c:numRef>
          </c:xVal>
          <c:yVal>
            <c:numRef>
              <c:f>Sheet1!$B$2:$B$9</c:f>
              <c:numCache>
                <c:formatCode>General</c:formatCode>
                <c:ptCount val="8"/>
                <c:pt idx="0">
                  <c:v>1.591</c:v>
                </c:pt>
                <c:pt idx="1">
                  <c:v>0.54900000000000004</c:v>
                </c:pt>
                <c:pt idx="2">
                  <c:v>1.1259999999999999</c:v>
                </c:pt>
                <c:pt idx="3">
                  <c:v>1.0820000000000001</c:v>
                </c:pt>
                <c:pt idx="4">
                  <c:v>0.72899999999999998</c:v>
                </c:pt>
                <c:pt idx="5">
                  <c:v>0.74199999999999999</c:v>
                </c:pt>
                <c:pt idx="6">
                  <c:v>1.8560000000000001</c:v>
                </c:pt>
                <c:pt idx="7">
                  <c:v>0.67700000000000005</c:v>
                </c:pt>
              </c:numCache>
            </c:numRef>
          </c:yVal>
          <c:bubbleSize>
            <c:numRef>
              <c:f>Sheet1!$C$2:$C$9</c:f>
              <c:numCache>
                <c:formatCode>General</c:formatCode>
                <c:ptCount val="8"/>
                <c:pt idx="0">
                  <c:v>10761127</c:v>
                </c:pt>
                <c:pt idx="1">
                  <c:v>3788985</c:v>
                </c:pt>
                <c:pt idx="2">
                  <c:v>3461768</c:v>
                </c:pt>
                <c:pt idx="3">
                  <c:v>2407818</c:v>
                </c:pt>
                <c:pt idx="4">
                  <c:v>2351274</c:v>
                </c:pt>
                <c:pt idx="5">
                  <c:v>1672046</c:v>
                </c:pt>
                <c:pt idx="6">
                  <c:v>1436753</c:v>
                </c:pt>
                <c:pt idx="7">
                  <c:v>1391478</c:v>
                </c:pt>
              </c:numCache>
            </c:numRef>
          </c:bubbleSize>
          <c:bubble3D val="0"/>
          <c:extLst>
            <c:ext xmlns:c15="http://schemas.microsoft.com/office/drawing/2012/chart" uri="{02D57815-91ED-43cb-92C2-25804820EDAC}">
              <c15:datalabelsRange>
                <c15:f>Sheet1!$E$2:$E$10</c15:f>
                <c15:dlblRangeCache>
                  <c:ptCount val="9"/>
                  <c:pt idx="0">
                    <c:v>Ruinart</c:v>
                  </c:pt>
                  <c:pt idx="1">
                    <c:v>Nicolas</c:v>
                  </c:pt>
                  <c:pt idx="2">
                    <c:v>Deutz</c:v>
                  </c:pt>
                  <c:pt idx="3">
                    <c:v>Laurent Perrier</c:v>
                  </c:pt>
                  <c:pt idx="4">
                    <c:v>Malard</c:v>
                  </c:pt>
                  <c:pt idx="5">
                    <c:v>Nicolas Feuillatte</c:v>
                  </c:pt>
                  <c:pt idx="6">
                    <c:v>Roederer</c:v>
                  </c:pt>
                  <c:pt idx="7">
                    <c:v>Heidsieck &amp; Co Monopol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95"/>
          <c:min val="1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056"/>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C59BF2B-70BA-4944-A7F9-8F83C0E29CB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7709C44-04BE-4DF2-B02B-A1A960D631B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7EAECAA-655D-4EFD-8D84-C258031F754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70B848C-5969-4C63-BE7E-A886CF3265F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1C2CE99-DC63-45D3-A1FC-D261843E3F7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502E332-EF10-4D77-A3C9-BAB5FC34A4E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5F6C7E71-9C5C-4CA8-A3B9-5E212300DDC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00832614-1FB2-43F8-8255-402C90F1D96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72.902299999999997</c:v>
                </c:pt>
                <c:pt idx="1">
                  <c:v>23.632999999999999</c:v>
                </c:pt>
                <c:pt idx="2">
                  <c:v>51.113900000000001</c:v>
                </c:pt>
                <c:pt idx="3">
                  <c:v>54.3947</c:v>
                </c:pt>
                <c:pt idx="4">
                  <c:v>84.752200000000002</c:v>
                </c:pt>
                <c:pt idx="5">
                  <c:v>29.332599999999999</c:v>
                </c:pt>
                <c:pt idx="6">
                  <c:v>31.468499999999999</c:v>
                </c:pt>
                <c:pt idx="7">
                  <c:v>273.90089999999998</c:v>
                </c:pt>
              </c:numCache>
            </c:numRef>
          </c:xVal>
          <c:yVal>
            <c:numRef>
              <c:f>Sheet1!$B$2:$B$9</c:f>
              <c:numCache>
                <c:formatCode>General</c:formatCode>
                <c:ptCount val="8"/>
                <c:pt idx="0">
                  <c:v>1.5569999999999999</c:v>
                </c:pt>
                <c:pt idx="1">
                  <c:v>0.51700000000000002</c:v>
                </c:pt>
                <c:pt idx="2">
                  <c:v>1.0720000000000001</c:v>
                </c:pt>
                <c:pt idx="3">
                  <c:v>1.073</c:v>
                </c:pt>
                <c:pt idx="4">
                  <c:v>1.726</c:v>
                </c:pt>
                <c:pt idx="5">
                  <c:v>0.64400000000000002</c:v>
                </c:pt>
                <c:pt idx="6">
                  <c:v>0.69099999999999995</c:v>
                </c:pt>
                <c:pt idx="7">
                  <c:v>5.7939999999999996</c:v>
                </c:pt>
              </c:numCache>
            </c:numRef>
          </c:yVal>
          <c:bubbleSize>
            <c:numRef>
              <c:f>Sheet1!$C$2:$C$9</c:f>
              <c:numCache>
                <c:formatCode>General</c:formatCode>
                <c:ptCount val="8"/>
                <c:pt idx="0">
                  <c:v>1905667</c:v>
                </c:pt>
                <c:pt idx="1">
                  <c:v>630859</c:v>
                </c:pt>
                <c:pt idx="2">
                  <c:v>491358</c:v>
                </c:pt>
                <c:pt idx="3">
                  <c:v>344699</c:v>
                </c:pt>
                <c:pt idx="4">
                  <c:v>234933</c:v>
                </c:pt>
                <c:pt idx="5">
                  <c:v>217736</c:v>
                </c:pt>
                <c:pt idx="6">
                  <c:v>211311</c:v>
                </c:pt>
                <c:pt idx="7">
                  <c:v>187896</c:v>
                </c:pt>
              </c:numCache>
            </c:numRef>
          </c:bubbleSize>
          <c:bubble3D val="0"/>
          <c:extLst>
            <c:ext xmlns:c15="http://schemas.microsoft.com/office/drawing/2012/chart" uri="{02D57815-91ED-43cb-92C2-25804820EDAC}">
              <c15:datalabelsRange>
                <c15:f>Sheet1!$E$2:$E$10</c15:f>
                <c15:dlblRangeCache>
                  <c:ptCount val="9"/>
                  <c:pt idx="0">
                    <c:v>Ruinart</c:v>
                  </c:pt>
                  <c:pt idx="1">
                    <c:v>Nicolas</c:v>
                  </c:pt>
                  <c:pt idx="2">
                    <c:v>Deutz</c:v>
                  </c:pt>
                  <c:pt idx="3">
                    <c:v>Laurent Perrier</c:v>
                  </c:pt>
                  <c:pt idx="4">
                    <c:v>Roederer</c:v>
                  </c:pt>
                  <c:pt idx="5">
                    <c:v>Heidsieck &amp; Co Monopole</c:v>
                  </c:pt>
                  <c:pt idx="6">
                    <c:v>Malard</c:v>
                  </c:pt>
                  <c:pt idx="7">
                    <c:v>Dom Perigno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29"/>
          <c:min val="1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5.9939999999999998"/>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4E3A45A-C63D-4C27-9C98-66572D7255E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C7D456E-1D28-4BBC-B0AD-423CCC68EC0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8E9D9FB-6F95-4330-BFDD-9EE070C2AE3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CB59023-CE5E-493C-AC6D-F9A99B3052F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564A751D-86E3-4AF1-AA43-865E4CB0FA6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0D8E81E-759F-4B3D-9977-7AB9BC4BF4E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7E13FB4-5DC3-4222-9AF1-EC9D89B5395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A62FB45D-E8EC-4BF9-8417-E7200150D3B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70.778700000000001</c:v>
                </c:pt>
                <c:pt idx="1">
                  <c:v>51.711100000000002</c:v>
                </c:pt>
                <c:pt idx="2">
                  <c:v>24.7149</c:v>
                </c:pt>
                <c:pt idx="3">
                  <c:v>31.674600000000002</c:v>
                </c:pt>
                <c:pt idx="4">
                  <c:v>56.167200000000001</c:v>
                </c:pt>
                <c:pt idx="5">
                  <c:v>29.235499999999998</c:v>
                </c:pt>
                <c:pt idx="6">
                  <c:v>56.559800000000003</c:v>
                </c:pt>
                <c:pt idx="7">
                  <c:v>34.003700000000002</c:v>
                </c:pt>
              </c:numCache>
            </c:numRef>
          </c:xVal>
          <c:yVal>
            <c:numRef>
              <c:f>Sheet1!$B$2:$B$9</c:f>
              <c:numCache>
                <c:formatCode>General</c:formatCode>
                <c:ptCount val="8"/>
                <c:pt idx="0">
                  <c:v>1.5740000000000001</c:v>
                </c:pt>
                <c:pt idx="1">
                  <c:v>1.115</c:v>
                </c:pt>
                <c:pt idx="2">
                  <c:v>0.55700000000000005</c:v>
                </c:pt>
                <c:pt idx="3">
                  <c:v>0.71699999999999997</c:v>
                </c:pt>
                <c:pt idx="4">
                  <c:v>1.081</c:v>
                </c:pt>
                <c:pt idx="5">
                  <c:v>0.66300000000000003</c:v>
                </c:pt>
                <c:pt idx="6">
                  <c:v>1.0740000000000001</c:v>
                </c:pt>
                <c:pt idx="7">
                  <c:v>0.746</c:v>
                </c:pt>
              </c:numCache>
            </c:numRef>
          </c:yVal>
          <c:bubbleSize>
            <c:numRef>
              <c:f>Sheet1!$C$2:$C$9</c:f>
              <c:numCache>
                <c:formatCode>General</c:formatCode>
                <c:ptCount val="8"/>
                <c:pt idx="0">
                  <c:v>878434</c:v>
                </c:pt>
                <c:pt idx="1">
                  <c:v>324746</c:v>
                </c:pt>
                <c:pt idx="2">
                  <c:v>279303</c:v>
                </c:pt>
                <c:pt idx="3">
                  <c:v>176681</c:v>
                </c:pt>
                <c:pt idx="4">
                  <c:v>160863</c:v>
                </c:pt>
                <c:pt idx="5">
                  <c:v>125888</c:v>
                </c:pt>
                <c:pt idx="6">
                  <c:v>122961</c:v>
                </c:pt>
                <c:pt idx="7">
                  <c:v>120849</c:v>
                </c:pt>
              </c:numCache>
            </c:numRef>
          </c:bubbleSize>
          <c:bubble3D val="0"/>
          <c:extLst>
            <c:ext xmlns:c15="http://schemas.microsoft.com/office/drawing/2012/chart" uri="{02D57815-91ED-43cb-92C2-25804820EDAC}">
              <c15:datalabelsRange>
                <c15:f>Sheet1!$E$2:$E$10</c15:f>
                <c15:dlblRangeCache>
                  <c:ptCount val="9"/>
                  <c:pt idx="0">
                    <c:v>Ruinart</c:v>
                  </c:pt>
                  <c:pt idx="1">
                    <c:v>Deutz</c:v>
                  </c:pt>
                  <c:pt idx="2">
                    <c:v>Nicolas</c:v>
                  </c:pt>
                  <c:pt idx="3">
                    <c:v>Malard</c:v>
                  </c:pt>
                  <c:pt idx="4">
                    <c:v>Laurent Perrier</c:v>
                  </c:pt>
                  <c:pt idx="5">
                    <c:v>Heidsieck &amp; Co Monopole</c:v>
                  </c:pt>
                  <c:pt idx="6">
                    <c:v>Taittinger</c:v>
                  </c:pt>
                  <c:pt idx="7">
                    <c:v>Nicolas Feuillatt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5"/>
          <c:min val="2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774"/>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F58B960-C4C9-4DD6-8F44-190223DABD7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0BA5107-5FE6-4531-8B55-CDF7DA1D356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30D0281-6FA1-4CDB-9994-0F140015AD9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3F7415E-2C56-495C-816E-6BD700BCD8D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7CC20BE-CF94-4933-96FF-C6BBA1ED771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5480BB4-84DA-4DB0-AD67-72F188EFFAE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846049B8-D6CE-4D5C-8A64-6D133F56E4D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157DAF0A-2527-4810-90EA-6BBC5006741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69.496399999999994</c:v>
                </c:pt>
                <c:pt idx="1">
                  <c:v>23.107299999999999</c:v>
                </c:pt>
                <c:pt idx="2">
                  <c:v>50.8294</c:v>
                </c:pt>
                <c:pt idx="3">
                  <c:v>31.597000000000001</c:v>
                </c:pt>
                <c:pt idx="4">
                  <c:v>29.059000000000001</c:v>
                </c:pt>
                <c:pt idx="5">
                  <c:v>39.901000000000003</c:v>
                </c:pt>
                <c:pt idx="6">
                  <c:v>30.6097</c:v>
                </c:pt>
                <c:pt idx="7">
                  <c:v>58.011600000000001</c:v>
                </c:pt>
              </c:numCache>
            </c:numRef>
          </c:xVal>
          <c:yVal>
            <c:numRef>
              <c:f>Sheet1!$B$2:$B$9</c:f>
              <c:numCache>
                <c:formatCode>General</c:formatCode>
                <c:ptCount val="8"/>
                <c:pt idx="0">
                  <c:v>1.673</c:v>
                </c:pt>
                <c:pt idx="1">
                  <c:v>0.56699999999999995</c:v>
                </c:pt>
                <c:pt idx="2">
                  <c:v>1.204</c:v>
                </c:pt>
                <c:pt idx="3">
                  <c:v>0.77300000000000002</c:v>
                </c:pt>
                <c:pt idx="4">
                  <c:v>0.71799999999999997</c:v>
                </c:pt>
                <c:pt idx="5">
                  <c:v>0.97699999999999998</c:v>
                </c:pt>
                <c:pt idx="6">
                  <c:v>0.75</c:v>
                </c:pt>
                <c:pt idx="7">
                  <c:v>1.208</c:v>
                </c:pt>
              </c:numCache>
            </c:numRef>
          </c:yVal>
          <c:bubbleSize>
            <c:numRef>
              <c:f>Sheet1!$C$2:$C$9</c:f>
              <c:numCache>
                <c:formatCode>General</c:formatCode>
                <c:ptCount val="8"/>
                <c:pt idx="0">
                  <c:v>395087</c:v>
                </c:pt>
                <c:pt idx="1">
                  <c:v>216631</c:v>
                </c:pt>
                <c:pt idx="2">
                  <c:v>169872</c:v>
                </c:pt>
                <c:pt idx="3">
                  <c:v>95486</c:v>
                </c:pt>
                <c:pt idx="4">
                  <c:v>91042</c:v>
                </c:pt>
                <c:pt idx="5">
                  <c:v>73338</c:v>
                </c:pt>
                <c:pt idx="6">
                  <c:v>71290</c:v>
                </c:pt>
                <c:pt idx="7">
                  <c:v>69904</c:v>
                </c:pt>
              </c:numCache>
            </c:numRef>
          </c:bubbleSize>
          <c:bubble3D val="0"/>
          <c:extLst>
            <c:ext xmlns:c15="http://schemas.microsoft.com/office/drawing/2012/chart" uri="{02D57815-91ED-43cb-92C2-25804820EDAC}">
              <c15:datalabelsRange>
                <c15:f>Sheet1!$E$2:$E$10</c15:f>
                <c15:dlblRangeCache>
                  <c:ptCount val="9"/>
                  <c:pt idx="0">
                    <c:v>Ruinart</c:v>
                  </c:pt>
                  <c:pt idx="1">
                    <c:v>Nicolas</c:v>
                  </c:pt>
                  <c:pt idx="2">
                    <c:v>Deutz</c:v>
                  </c:pt>
                  <c:pt idx="3">
                    <c:v>Malard</c:v>
                  </c:pt>
                  <c:pt idx="4">
                    <c:v>Heidsieck &amp; Co Monopole</c:v>
                  </c:pt>
                  <c:pt idx="5">
                    <c:v>Ayala</c:v>
                  </c:pt>
                  <c:pt idx="6">
                    <c:v>De Bligny</c:v>
                  </c:pt>
                  <c:pt idx="7">
                    <c:v>Laurent Perrier</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3"/>
          <c:min val="1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873"/>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EFEEA64-E62C-461D-8E9C-35E705E826A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5F373CE-3CBB-4AE2-8FEB-664F39952F2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383876E-1F1F-4D24-A9E3-F04A655B307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F6C3006-E681-49FB-A99B-23051A2141C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F101D84-2760-4840-B1E4-6FE497088A4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FE8E454D-650A-4FD5-BE2F-24C1AD4AD6E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2CE776B0-BCE0-4D28-BF8A-41E5CD7F6BD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543E4BC0-20E2-4D79-9573-CB31D75E334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4.4177999999999997</c:v>
                </c:pt>
                <c:pt idx="1">
                  <c:v>24.946400000000001</c:v>
                </c:pt>
                <c:pt idx="2">
                  <c:v>31.078299999999999</c:v>
                </c:pt>
                <c:pt idx="3">
                  <c:v>4.2683</c:v>
                </c:pt>
                <c:pt idx="4">
                  <c:v>26.586600000000001</c:v>
                </c:pt>
                <c:pt idx="5">
                  <c:v>5.8342000000000001</c:v>
                </c:pt>
                <c:pt idx="6">
                  <c:v>7.1054000000000004</c:v>
                </c:pt>
                <c:pt idx="7">
                  <c:v>24.309100000000001</c:v>
                </c:pt>
              </c:numCache>
            </c:numRef>
          </c:xVal>
          <c:yVal>
            <c:numRef>
              <c:f>Sheet1!$B$2:$B$9</c:f>
              <c:numCache>
                <c:formatCode>General</c:formatCode>
                <c:ptCount val="8"/>
                <c:pt idx="0">
                  <c:v>0.70499999999999996</c:v>
                </c:pt>
                <c:pt idx="1">
                  <c:v>3.5939999999999999</c:v>
                </c:pt>
                <c:pt idx="2">
                  <c:v>4.9089999999999998</c:v>
                </c:pt>
                <c:pt idx="3">
                  <c:v>0.24299999999999999</c:v>
                </c:pt>
                <c:pt idx="4">
                  <c:v>4.1760000000000002</c:v>
                </c:pt>
                <c:pt idx="5">
                  <c:v>0.81599999999999995</c:v>
                </c:pt>
                <c:pt idx="6">
                  <c:v>0.82899999999999996</c:v>
                </c:pt>
                <c:pt idx="7">
                  <c:v>3.61</c:v>
                </c:pt>
              </c:numCache>
            </c:numRef>
          </c:yVal>
          <c:bubbleSize>
            <c:numRef>
              <c:f>Sheet1!$C$2:$C$9</c:f>
              <c:numCache>
                <c:formatCode>General</c:formatCode>
                <c:ptCount val="8"/>
                <c:pt idx="0">
                  <c:v>135378958</c:v>
                </c:pt>
                <c:pt idx="1">
                  <c:v>81150444</c:v>
                </c:pt>
                <c:pt idx="2">
                  <c:v>40272704</c:v>
                </c:pt>
                <c:pt idx="3">
                  <c:v>39552397</c:v>
                </c:pt>
                <c:pt idx="4">
                  <c:v>37152564</c:v>
                </c:pt>
                <c:pt idx="5">
                  <c:v>35427059</c:v>
                </c:pt>
                <c:pt idx="6">
                  <c:v>32603771</c:v>
                </c:pt>
                <c:pt idx="7">
                  <c:v>28145421</c:v>
                </c:pt>
              </c:numCache>
            </c:numRef>
          </c:bubbleSize>
          <c:bubble3D val="0"/>
          <c:extLst>
            <c:ext xmlns:c15="http://schemas.microsoft.com/office/drawing/2012/chart" uri="{02D57815-91ED-43cb-92C2-25804820EDAC}">
              <c15:datalabelsRange>
                <c15:f>Sheet1!$E$2:$E$10</c15:f>
                <c15:dlblRangeCache>
                  <c:ptCount val="9"/>
                  <c:pt idx="0">
                    <c:v>Mdd</c:v>
                  </c:pt>
                  <c:pt idx="1">
                    <c:v>Nicolas Feuillatte</c:v>
                  </c:pt>
                  <c:pt idx="2">
                    <c:v>Mumm</c:v>
                  </c:pt>
                  <c:pt idx="3">
                    <c:v>Charles Volner</c:v>
                  </c:pt>
                  <c:pt idx="4">
                    <c:v>Canard Duchêne</c:v>
                  </c:pt>
                  <c:pt idx="5">
                    <c:v>Freixenet</c:v>
                  </c:pt>
                  <c:pt idx="6">
                    <c:v>Wolfberger</c:v>
                  </c:pt>
                  <c:pt idx="7">
                    <c:v>Alfred De Rothschild</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7"/>
          <c:min val="3"/>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6B1A80D4-5BF4-4600-8359-B341010C071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C1A89387-FFF1-4EBB-93D6-521FEA670D9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D871-46D6-BBFE-7C00E0D51738}"/>
                </c:ext>
              </c:extLst>
            </c:dLbl>
            <c:dLbl>
              <c:idx val="3"/>
              <c:tx>
                <c:rich>
                  <a:bodyPr/>
                  <a:lstStyle/>
                  <a:p>
                    <a:fld id="{0DE4CC3D-2399-4CF3-B646-90C282A4551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D871-46D6-BBFE-7C00E0D51738}"/>
                </c:ext>
              </c:extLst>
            </c:dLbl>
            <c:dLbl>
              <c:idx val="4"/>
              <c:tx>
                <c:rich>
                  <a:bodyPr/>
                  <a:lstStyle/>
                  <a:p>
                    <a:fld id="{D0EC4E82-5AA5-4E15-BF9F-F00E651CCE0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D871-46D6-BBFE-7C00E0D51738}"/>
                </c:ext>
              </c:extLst>
            </c:dLbl>
            <c:dLbl>
              <c:idx val="5"/>
              <c:tx>
                <c:rich>
                  <a:bodyPr/>
                  <a:lstStyle/>
                  <a:p>
                    <a:fld id="{42FFDC77-F92D-4FFE-9B5D-2628137217E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71-46D6-BBFE-7C00E0D51738}"/>
                </c:ext>
              </c:extLst>
            </c:dLbl>
            <c:dLbl>
              <c:idx val="6"/>
              <c:tx>
                <c:rich>
                  <a:bodyPr/>
                  <a:lstStyle/>
                  <a:p>
                    <a:fld id="{408AD5FA-C98D-4C04-B56C-4A7CBFB634A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71-46D6-BBFE-7C00E0D51738}"/>
                </c:ext>
              </c:extLst>
            </c:dLbl>
            <c:dLbl>
              <c:idx val="7"/>
              <c:tx>
                <c:rich>
                  <a:bodyPr/>
                  <a:lstStyle/>
                  <a:p>
                    <a:fld id="{91B77133-BB0A-4BF5-8992-6088FFC5F55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71-46D6-BBFE-7C00E0D51738}"/>
                </c:ext>
              </c:extLst>
            </c:dLbl>
            <c:dLbl>
              <c:idx val="8"/>
              <c:tx>
                <c:rich>
                  <a:bodyPr/>
                  <a:lstStyle/>
                  <a:p>
                    <a:fld id="{D9FB17DB-0A2E-4941-8E40-8AF3F44BB45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29.026399999999999</c:v>
                </c:pt>
                <c:pt idx="1">
                  <c:v>11.3819</c:v>
                </c:pt>
              </c:numCache>
            </c:numRef>
          </c:xVal>
          <c:yVal>
            <c:numRef>
              <c:f>Sheet1!$B$2:$B$3</c:f>
              <c:numCache>
                <c:formatCode>General</c:formatCode>
                <c:ptCount val="2"/>
                <c:pt idx="0">
                  <c:v>1.68</c:v>
                </c:pt>
                <c:pt idx="1">
                  <c:v>0.65900000000000003</c:v>
                </c:pt>
              </c:numCache>
            </c:numRef>
          </c:yVal>
          <c:bubbleSize>
            <c:numRef>
              <c:f>Sheet1!$C$2:$C$3</c:f>
              <c:numCache>
                <c:formatCode>General</c:formatCode>
                <c:ptCount val="2"/>
                <c:pt idx="0">
                  <c:v>159529</c:v>
                </c:pt>
                <c:pt idx="1">
                  <c:v>109528</c:v>
                </c:pt>
              </c:numCache>
            </c:numRef>
          </c:bubbleSize>
          <c:bubble3D val="0"/>
          <c:extLst>
            <c:ext xmlns:c15="http://schemas.microsoft.com/office/drawing/2012/chart" uri="{02D57815-91ED-43cb-92C2-25804820EDAC}">
              <c15:datalabelsRange>
                <c15:f>Sheet1!$E$2:$E$10</c15:f>
                <c15:dlblRangeCache>
                  <c:ptCount val="9"/>
                  <c:pt idx="0">
                    <c:v>De Chanceny</c:v>
                  </c:pt>
                  <c:pt idx="1">
                    <c:v>Lyre's</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5"/>
          <c:min val="9"/>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C2BC4BB-3C75-40E1-BB91-401E49E5791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24A51E6-6FBF-40F1-B6CA-D3741452301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AF6FA6E-011C-40EC-81A5-D36EA50CD64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F6562AC-5B5C-4AD7-B74D-3E006666567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5F13843A-FA6E-4307-9C5F-277838AF312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0E5990E-0030-4705-8402-CC363CA554C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85CE7564-ACDC-476D-A015-C8E1858A7A0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C133D6A1-EA34-425D-824E-4F0863CAAE8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69.862499999999997</c:v>
                </c:pt>
                <c:pt idx="1">
                  <c:v>23.236599999999999</c:v>
                </c:pt>
                <c:pt idx="2">
                  <c:v>52.527299999999997</c:v>
                </c:pt>
                <c:pt idx="3">
                  <c:v>32.034199999999998</c:v>
                </c:pt>
                <c:pt idx="4">
                  <c:v>55.900500000000001</c:v>
                </c:pt>
                <c:pt idx="5">
                  <c:v>70.223500000000001</c:v>
                </c:pt>
                <c:pt idx="6">
                  <c:v>34.026000000000003</c:v>
                </c:pt>
                <c:pt idx="7">
                  <c:v>40.881700000000002</c:v>
                </c:pt>
              </c:numCache>
            </c:numRef>
          </c:xVal>
          <c:yVal>
            <c:numRef>
              <c:f>Sheet1!$B$2:$B$9</c:f>
              <c:numCache>
                <c:formatCode>General</c:formatCode>
                <c:ptCount val="8"/>
                <c:pt idx="0">
                  <c:v>1.6930000000000001</c:v>
                </c:pt>
                <c:pt idx="1">
                  <c:v>0.57899999999999996</c:v>
                </c:pt>
                <c:pt idx="2">
                  <c:v>1.266</c:v>
                </c:pt>
                <c:pt idx="3">
                  <c:v>0.79800000000000004</c:v>
                </c:pt>
                <c:pt idx="4">
                  <c:v>1.1919999999999999</c:v>
                </c:pt>
                <c:pt idx="5">
                  <c:v>1.6040000000000001</c:v>
                </c:pt>
                <c:pt idx="6">
                  <c:v>0.84699999999999998</c:v>
                </c:pt>
                <c:pt idx="7">
                  <c:v>1.012</c:v>
                </c:pt>
              </c:numCache>
            </c:numRef>
          </c:yVal>
          <c:bubbleSize>
            <c:numRef>
              <c:f>Sheet1!$C$2:$C$9</c:f>
              <c:numCache>
                <c:formatCode>General</c:formatCode>
                <c:ptCount val="8"/>
                <c:pt idx="0">
                  <c:v>300199</c:v>
                </c:pt>
                <c:pt idx="1">
                  <c:v>152037</c:v>
                </c:pt>
                <c:pt idx="2">
                  <c:v>101798</c:v>
                </c:pt>
                <c:pt idx="3">
                  <c:v>71244</c:v>
                </c:pt>
                <c:pt idx="4">
                  <c:v>66298</c:v>
                </c:pt>
                <c:pt idx="5">
                  <c:v>50280</c:v>
                </c:pt>
                <c:pt idx="6">
                  <c:v>49678</c:v>
                </c:pt>
                <c:pt idx="7">
                  <c:v>49426</c:v>
                </c:pt>
              </c:numCache>
            </c:numRef>
          </c:bubbleSize>
          <c:bubble3D val="0"/>
          <c:extLst>
            <c:ext xmlns:c15="http://schemas.microsoft.com/office/drawing/2012/chart" uri="{02D57815-91ED-43cb-92C2-25804820EDAC}">
              <c15:datalabelsRange>
                <c15:f>Sheet1!$E$2:$E$10</c15:f>
                <c15:dlblRangeCache>
                  <c:ptCount val="9"/>
                  <c:pt idx="0">
                    <c:v>Ruinart</c:v>
                  </c:pt>
                  <c:pt idx="1">
                    <c:v>Nicolas</c:v>
                  </c:pt>
                  <c:pt idx="2">
                    <c:v>Deutz</c:v>
                  </c:pt>
                  <c:pt idx="3">
                    <c:v>Malard</c:v>
                  </c:pt>
                  <c:pt idx="4">
                    <c:v>Laurent Perrier</c:v>
                  </c:pt>
                  <c:pt idx="5">
                    <c:v>Bollinger</c:v>
                  </c:pt>
                  <c:pt idx="6">
                    <c:v>Canard Duchêne</c:v>
                  </c:pt>
                  <c:pt idx="7">
                    <c:v>Ayala</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4"/>
          <c:min val="1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893"/>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A77F40D-F2AC-437B-A654-16888F8E1A3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16EE7D0-518D-47BC-9777-517F15E3B26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B0EF3F7-C98F-42AC-B968-2AD15867551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329BF0F-F5D5-4F9F-A355-79E5DC5A9EB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4F411C6-24DA-47AF-B55C-0B5D3ED0430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802356C-1787-4C9F-A99D-4FE57C320BC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5A9E3425-F644-49CB-B27D-F7024439FF1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5B6FC7F6-129E-4B3D-9EE1-8F375C1AC05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71.709699999999998</c:v>
                </c:pt>
                <c:pt idx="1">
                  <c:v>23.626300000000001</c:v>
                </c:pt>
                <c:pt idx="2">
                  <c:v>50.448099999999997</c:v>
                </c:pt>
                <c:pt idx="3">
                  <c:v>53.660699999999999</c:v>
                </c:pt>
                <c:pt idx="4">
                  <c:v>31.505700000000001</c:v>
                </c:pt>
                <c:pt idx="5">
                  <c:v>88.677499999999995</c:v>
                </c:pt>
                <c:pt idx="6">
                  <c:v>32.752200000000002</c:v>
                </c:pt>
                <c:pt idx="7">
                  <c:v>291.98700000000002</c:v>
                </c:pt>
              </c:numCache>
            </c:numRef>
          </c:xVal>
          <c:yVal>
            <c:numRef>
              <c:f>Sheet1!$B$2:$B$9</c:f>
              <c:numCache>
                <c:formatCode>General</c:formatCode>
                <c:ptCount val="8"/>
                <c:pt idx="0">
                  <c:v>1.5509999999999999</c:v>
                </c:pt>
                <c:pt idx="1">
                  <c:v>0.51600000000000001</c:v>
                </c:pt>
                <c:pt idx="2">
                  <c:v>1.08</c:v>
                </c:pt>
                <c:pt idx="3">
                  <c:v>1.0529999999999999</c:v>
                </c:pt>
                <c:pt idx="4">
                  <c:v>0.68600000000000005</c:v>
                </c:pt>
                <c:pt idx="5">
                  <c:v>1.9419999999999999</c:v>
                </c:pt>
                <c:pt idx="6">
                  <c:v>0.70499999999999996</c:v>
                </c:pt>
                <c:pt idx="7">
                  <c:v>6.2690000000000001</c:v>
                </c:pt>
              </c:numCache>
            </c:numRef>
          </c:yVal>
          <c:bubbleSize>
            <c:numRef>
              <c:f>Sheet1!$C$2:$C$9</c:f>
              <c:numCache>
                <c:formatCode>General</c:formatCode>
                <c:ptCount val="8"/>
                <c:pt idx="0">
                  <c:v>4907450</c:v>
                </c:pt>
                <c:pt idx="1">
                  <c:v>1463201</c:v>
                </c:pt>
                <c:pt idx="2">
                  <c:v>1419306</c:v>
                </c:pt>
                <c:pt idx="3">
                  <c:v>1119576</c:v>
                </c:pt>
                <c:pt idx="4">
                  <c:v>828914</c:v>
                </c:pt>
                <c:pt idx="5">
                  <c:v>791269</c:v>
                </c:pt>
                <c:pt idx="6">
                  <c:v>634868</c:v>
                </c:pt>
                <c:pt idx="7">
                  <c:v>585726</c:v>
                </c:pt>
              </c:numCache>
            </c:numRef>
          </c:bubbleSize>
          <c:bubble3D val="0"/>
          <c:extLst>
            <c:ext xmlns:c15="http://schemas.microsoft.com/office/drawing/2012/chart" uri="{02D57815-91ED-43cb-92C2-25804820EDAC}">
              <c15:datalabelsRange>
                <c15:f>Sheet1!$E$2:$E$10</c15:f>
                <c15:dlblRangeCache>
                  <c:ptCount val="9"/>
                  <c:pt idx="0">
                    <c:v>Ruinart</c:v>
                  </c:pt>
                  <c:pt idx="1">
                    <c:v>Nicolas</c:v>
                  </c:pt>
                  <c:pt idx="2">
                    <c:v>Deutz</c:v>
                  </c:pt>
                  <c:pt idx="3">
                    <c:v>Laurent Perrier</c:v>
                  </c:pt>
                  <c:pt idx="4">
                    <c:v>Malard</c:v>
                  </c:pt>
                  <c:pt idx="5">
                    <c:v>Roederer</c:v>
                  </c:pt>
                  <c:pt idx="6">
                    <c:v>Nicolas Feuillatte</c:v>
                  </c:pt>
                  <c:pt idx="7">
                    <c:v>Dom Perigno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50"/>
          <c:min val="1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6.4690000000000003"/>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55FF5D5-24FC-44D8-9AD7-59D22F2CC3C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75CF6E9-5975-4566-B55F-DBFC446C089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EF3C326-75E9-426C-8844-DBD7BAAB9EF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D3D7C84-D48B-48F5-983D-10F1AC681CD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50D95C05-D64F-4FE0-93BB-3022A88BCB0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3636156-6FDD-443E-AA96-24952C63D78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F5F0D1A-5454-432F-B901-53F385DCC93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1BE64F1E-970A-4A7F-A0CF-6DEE157A811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68.133499999999998</c:v>
                </c:pt>
                <c:pt idx="1">
                  <c:v>23.392900000000001</c:v>
                </c:pt>
                <c:pt idx="2">
                  <c:v>48.761299999999999</c:v>
                </c:pt>
                <c:pt idx="3">
                  <c:v>51.302199999999999</c:v>
                </c:pt>
                <c:pt idx="4">
                  <c:v>31.512499999999999</c:v>
                </c:pt>
                <c:pt idx="5">
                  <c:v>32.631799999999998</c:v>
                </c:pt>
                <c:pt idx="6">
                  <c:v>29.2836</c:v>
                </c:pt>
                <c:pt idx="7">
                  <c:v>71.167199999999994</c:v>
                </c:pt>
              </c:numCache>
            </c:numRef>
          </c:xVal>
          <c:yVal>
            <c:numRef>
              <c:f>Sheet1!$B$2:$B$9</c:f>
              <c:numCache>
                <c:formatCode>General</c:formatCode>
                <c:ptCount val="8"/>
                <c:pt idx="0">
                  <c:v>1.595</c:v>
                </c:pt>
                <c:pt idx="1">
                  <c:v>0.55700000000000005</c:v>
                </c:pt>
                <c:pt idx="2">
                  <c:v>1.1419999999999999</c:v>
                </c:pt>
                <c:pt idx="3">
                  <c:v>1.097</c:v>
                </c:pt>
                <c:pt idx="4">
                  <c:v>0.747</c:v>
                </c:pt>
                <c:pt idx="5">
                  <c:v>0.76100000000000001</c:v>
                </c:pt>
                <c:pt idx="6">
                  <c:v>0.69299999999999995</c:v>
                </c:pt>
                <c:pt idx="7">
                  <c:v>1.6910000000000001</c:v>
                </c:pt>
              </c:numCache>
            </c:numRef>
          </c:yVal>
          <c:bubbleSize>
            <c:numRef>
              <c:f>Sheet1!$C$2:$C$9</c:f>
              <c:numCache>
                <c:formatCode>General</c:formatCode>
                <c:ptCount val="8"/>
                <c:pt idx="0">
                  <c:v>2147840</c:v>
                </c:pt>
                <c:pt idx="1">
                  <c:v>849490</c:v>
                </c:pt>
                <c:pt idx="2">
                  <c:v>757750</c:v>
                </c:pt>
                <c:pt idx="3">
                  <c:v>524411</c:v>
                </c:pt>
                <c:pt idx="4">
                  <c:v>464085</c:v>
                </c:pt>
                <c:pt idx="5">
                  <c:v>324491</c:v>
                </c:pt>
                <c:pt idx="6">
                  <c:v>304491</c:v>
                </c:pt>
                <c:pt idx="7">
                  <c:v>281324</c:v>
                </c:pt>
              </c:numCache>
            </c:numRef>
          </c:bubbleSize>
          <c:bubble3D val="0"/>
          <c:extLst>
            <c:ext xmlns:c15="http://schemas.microsoft.com/office/drawing/2012/chart" uri="{02D57815-91ED-43cb-92C2-25804820EDAC}">
              <c15:datalabelsRange>
                <c15:f>Sheet1!$E$2:$E$10</c15:f>
                <c15:dlblRangeCache>
                  <c:ptCount val="9"/>
                  <c:pt idx="0">
                    <c:v>Ruinart</c:v>
                  </c:pt>
                  <c:pt idx="1">
                    <c:v>Nicolas</c:v>
                  </c:pt>
                  <c:pt idx="2">
                    <c:v>Deutz</c:v>
                  </c:pt>
                  <c:pt idx="3">
                    <c:v>Laurent Perrier</c:v>
                  </c:pt>
                  <c:pt idx="4">
                    <c:v>Malard</c:v>
                  </c:pt>
                  <c:pt idx="5">
                    <c:v>Nicolas Feuillatte</c:v>
                  </c:pt>
                  <c:pt idx="6">
                    <c:v>Heidsieck &amp; Co Monopole</c:v>
                  </c:pt>
                  <c:pt idx="7">
                    <c:v>Roederer</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5"/>
          <c:min val="1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891"/>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F1C5560-AB0B-4C1A-BE38-8B0D7E9F87C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3E3ECAF-F3D7-49E3-9CBD-B3C8AC1B677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559618B-18EA-4250-9C1E-EFA8AEC3F0D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6F151CD-F54D-4F37-A08E-4849208524D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2CA3B2A-4089-42D0-9A51-33F26FF91C4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50D3EB6-B3DA-451C-968F-ACE049FA01E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8A8CC6E3-1054-4C71-8450-08B4721600E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D43113BC-8CDE-4B43-89BA-6B96EC79632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69.275000000000006</c:v>
                </c:pt>
                <c:pt idx="1">
                  <c:v>23.590299999999999</c:v>
                </c:pt>
                <c:pt idx="2">
                  <c:v>50.235199999999999</c:v>
                </c:pt>
                <c:pt idx="3">
                  <c:v>31.48</c:v>
                </c:pt>
                <c:pt idx="4">
                  <c:v>52.412700000000001</c:v>
                </c:pt>
                <c:pt idx="5">
                  <c:v>32.894399999999997</c:v>
                </c:pt>
                <c:pt idx="6">
                  <c:v>29.253399999999999</c:v>
                </c:pt>
                <c:pt idx="7">
                  <c:v>38.716000000000001</c:v>
                </c:pt>
              </c:numCache>
            </c:numRef>
          </c:xVal>
          <c:yVal>
            <c:numRef>
              <c:f>Sheet1!$B$2:$B$9</c:f>
              <c:numCache>
                <c:formatCode>General</c:formatCode>
                <c:ptCount val="8"/>
                <c:pt idx="0">
                  <c:v>1.6160000000000001</c:v>
                </c:pt>
                <c:pt idx="1">
                  <c:v>0.56000000000000005</c:v>
                </c:pt>
                <c:pt idx="2">
                  <c:v>1.1599999999999999</c:v>
                </c:pt>
                <c:pt idx="3">
                  <c:v>0.745</c:v>
                </c:pt>
                <c:pt idx="4">
                  <c:v>1.1080000000000001</c:v>
                </c:pt>
                <c:pt idx="5">
                  <c:v>0.75700000000000001</c:v>
                </c:pt>
                <c:pt idx="6">
                  <c:v>0.69099999999999995</c:v>
                </c:pt>
                <c:pt idx="7">
                  <c:v>0.91500000000000004</c:v>
                </c:pt>
              </c:numCache>
            </c:numRef>
          </c:yVal>
          <c:bubbleSize>
            <c:numRef>
              <c:f>Sheet1!$C$2:$C$9</c:f>
              <c:numCache>
                <c:formatCode>General</c:formatCode>
                <c:ptCount val="8"/>
                <c:pt idx="0">
                  <c:v>3453150</c:v>
                </c:pt>
                <c:pt idx="1">
                  <c:v>1317521</c:v>
                </c:pt>
                <c:pt idx="2">
                  <c:v>1108641</c:v>
                </c:pt>
                <c:pt idx="3">
                  <c:v>730304</c:v>
                </c:pt>
                <c:pt idx="4">
                  <c:v>682885</c:v>
                </c:pt>
                <c:pt idx="5">
                  <c:v>520981</c:v>
                </c:pt>
                <c:pt idx="6">
                  <c:v>468611</c:v>
                </c:pt>
                <c:pt idx="7">
                  <c:v>467844</c:v>
                </c:pt>
              </c:numCache>
            </c:numRef>
          </c:bubbleSize>
          <c:bubble3D val="0"/>
          <c:extLst>
            <c:ext xmlns:c15="http://schemas.microsoft.com/office/drawing/2012/chart" uri="{02D57815-91ED-43cb-92C2-25804820EDAC}">
              <c15:datalabelsRange>
                <c15:f>Sheet1!$E$2:$E$10</c15:f>
                <c15:dlblRangeCache>
                  <c:ptCount val="9"/>
                  <c:pt idx="0">
                    <c:v>Ruinart</c:v>
                  </c:pt>
                  <c:pt idx="1">
                    <c:v>Nicolas</c:v>
                  </c:pt>
                  <c:pt idx="2">
                    <c:v>Deutz</c:v>
                  </c:pt>
                  <c:pt idx="3">
                    <c:v>Malard</c:v>
                  </c:pt>
                  <c:pt idx="4">
                    <c:v>Laurent Perrier</c:v>
                  </c:pt>
                  <c:pt idx="5">
                    <c:v>Nicolas Feuillatte</c:v>
                  </c:pt>
                  <c:pt idx="6">
                    <c:v>Heidsieck &amp; Co Monopole</c:v>
                  </c:pt>
                  <c:pt idx="7">
                    <c:v>Ayala</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3"/>
          <c:min val="1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8160000000000001"/>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99D5094-341C-4B70-AE18-A0824CC3141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A004D3D-F86C-4407-9D62-614723469A8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8BBB339-E5BA-49FA-B785-1E82B75DC7B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1F6A0A1-7BE7-4176-8010-0A8F9B34E3E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B2145C2-88D8-4781-B265-1C94240420F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195BC1D-7E58-4561-8A0B-B721B8E72DD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3BE6E324-07E5-402A-AD37-A23419DCF67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D37A1F47-E7BB-4A5D-B2ED-3088DE5AA94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69.515299999999996</c:v>
                </c:pt>
                <c:pt idx="1">
                  <c:v>23.7239</c:v>
                </c:pt>
                <c:pt idx="2">
                  <c:v>49.200299999999999</c:v>
                </c:pt>
                <c:pt idx="3">
                  <c:v>31.5063</c:v>
                </c:pt>
                <c:pt idx="4">
                  <c:v>52.281500000000001</c:v>
                </c:pt>
                <c:pt idx="5">
                  <c:v>32.801400000000001</c:v>
                </c:pt>
                <c:pt idx="6">
                  <c:v>29.312200000000001</c:v>
                </c:pt>
                <c:pt idx="7">
                  <c:v>30.9068</c:v>
                </c:pt>
              </c:numCache>
            </c:numRef>
          </c:xVal>
          <c:yVal>
            <c:numRef>
              <c:f>Sheet1!$B$2:$B$9</c:f>
              <c:numCache>
                <c:formatCode>General</c:formatCode>
                <c:ptCount val="8"/>
                <c:pt idx="0">
                  <c:v>1.625</c:v>
                </c:pt>
                <c:pt idx="1">
                  <c:v>0.56499999999999995</c:v>
                </c:pt>
                <c:pt idx="2">
                  <c:v>1.141</c:v>
                </c:pt>
                <c:pt idx="3">
                  <c:v>0.748</c:v>
                </c:pt>
                <c:pt idx="4">
                  <c:v>1.0960000000000001</c:v>
                </c:pt>
                <c:pt idx="5">
                  <c:v>0.75700000000000001</c:v>
                </c:pt>
                <c:pt idx="6">
                  <c:v>0.69499999999999995</c:v>
                </c:pt>
                <c:pt idx="7">
                  <c:v>0.73299999999999998</c:v>
                </c:pt>
              </c:numCache>
            </c:numRef>
          </c:yVal>
          <c:bubbleSize>
            <c:numRef>
              <c:f>Sheet1!$C$2:$C$9</c:f>
              <c:numCache>
                <c:formatCode>General</c:formatCode>
                <c:ptCount val="8"/>
                <c:pt idx="0">
                  <c:v>2733549</c:v>
                </c:pt>
                <c:pt idx="1">
                  <c:v>1023352</c:v>
                </c:pt>
                <c:pt idx="2">
                  <c:v>901841</c:v>
                </c:pt>
                <c:pt idx="3">
                  <c:v>627069</c:v>
                </c:pt>
                <c:pt idx="4">
                  <c:v>511679</c:v>
                </c:pt>
                <c:pt idx="5">
                  <c:v>429337</c:v>
                </c:pt>
                <c:pt idx="6">
                  <c:v>405270</c:v>
                </c:pt>
                <c:pt idx="7">
                  <c:v>374003</c:v>
                </c:pt>
              </c:numCache>
            </c:numRef>
          </c:bubbleSize>
          <c:bubble3D val="0"/>
          <c:extLst>
            <c:ext xmlns:c15="http://schemas.microsoft.com/office/drawing/2012/chart" uri="{02D57815-91ED-43cb-92C2-25804820EDAC}">
              <c15:datalabelsRange>
                <c15:f>Sheet1!$E$2:$E$10</c15:f>
                <c15:dlblRangeCache>
                  <c:ptCount val="9"/>
                  <c:pt idx="0">
                    <c:v>Ruinart</c:v>
                  </c:pt>
                  <c:pt idx="1">
                    <c:v>Nicolas</c:v>
                  </c:pt>
                  <c:pt idx="2">
                    <c:v>Deutz</c:v>
                  </c:pt>
                  <c:pt idx="3">
                    <c:v>Malard</c:v>
                  </c:pt>
                  <c:pt idx="4">
                    <c:v>Laurent Perrier</c:v>
                  </c:pt>
                  <c:pt idx="5">
                    <c:v>Nicolas Feuillatte</c:v>
                  </c:pt>
                  <c:pt idx="6">
                    <c:v>Heidsieck &amp; Co Monopole</c:v>
                  </c:pt>
                  <c:pt idx="7">
                    <c:v>De Blign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3"/>
          <c:min val="1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825"/>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C95C78E-0436-41BE-B80B-50E316DCE94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A2C49E1-4F9A-4F2F-B810-D16BB6BE617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430DCDB-449A-48B3-A7CE-C8ED30C761D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16338D1-0197-4855-A41C-1F5541DBF72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3000A58-9FC4-4001-AE97-2D45493DA21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F4DE5EF-3621-4A4B-838E-ACF5BFD3539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E82A925D-24FE-4356-A47C-7C5FAF00320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ADC66805-FD39-471D-ACA3-1B3990C8F76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68.593400000000003</c:v>
                </c:pt>
                <c:pt idx="1">
                  <c:v>23.808499999999999</c:v>
                </c:pt>
                <c:pt idx="2">
                  <c:v>50.115900000000003</c:v>
                </c:pt>
                <c:pt idx="3">
                  <c:v>31.6996</c:v>
                </c:pt>
                <c:pt idx="4">
                  <c:v>52.491900000000001</c:v>
                </c:pt>
                <c:pt idx="5">
                  <c:v>29.232500000000002</c:v>
                </c:pt>
                <c:pt idx="6">
                  <c:v>33.807899999999997</c:v>
                </c:pt>
                <c:pt idx="7">
                  <c:v>31.170300000000001</c:v>
                </c:pt>
              </c:numCache>
            </c:numRef>
          </c:xVal>
          <c:yVal>
            <c:numRef>
              <c:f>Sheet1!$B$2:$B$9</c:f>
              <c:numCache>
                <c:formatCode>General</c:formatCode>
                <c:ptCount val="8"/>
                <c:pt idx="0">
                  <c:v>1.6279999999999999</c:v>
                </c:pt>
                <c:pt idx="1">
                  <c:v>0.57399999999999995</c:v>
                </c:pt>
                <c:pt idx="2">
                  <c:v>1.1639999999999999</c:v>
                </c:pt>
                <c:pt idx="3">
                  <c:v>0.76200000000000001</c:v>
                </c:pt>
                <c:pt idx="4">
                  <c:v>1.1220000000000001</c:v>
                </c:pt>
                <c:pt idx="5">
                  <c:v>0.70299999999999996</c:v>
                </c:pt>
                <c:pt idx="6">
                  <c:v>0.78200000000000003</c:v>
                </c:pt>
                <c:pt idx="7">
                  <c:v>0.749</c:v>
                </c:pt>
              </c:numCache>
            </c:numRef>
          </c:yVal>
          <c:bubbleSize>
            <c:numRef>
              <c:f>Sheet1!$C$2:$C$9</c:f>
              <c:numCache>
                <c:formatCode>General</c:formatCode>
                <c:ptCount val="8"/>
                <c:pt idx="0">
                  <c:v>2452284</c:v>
                </c:pt>
                <c:pt idx="1">
                  <c:v>1052215</c:v>
                </c:pt>
                <c:pt idx="2">
                  <c:v>800953</c:v>
                </c:pt>
                <c:pt idx="3">
                  <c:v>584730</c:v>
                </c:pt>
                <c:pt idx="4">
                  <c:v>451798</c:v>
                </c:pt>
                <c:pt idx="5">
                  <c:v>367569</c:v>
                </c:pt>
                <c:pt idx="6">
                  <c:v>360663</c:v>
                </c:pt>
                <c:pt idx="7">
                  <c:v>351009</c:v>
                </c:pt>
              </c:numCache>
            </c:numRef>
          </c:bubbleSize>
          <c:bubble3D val="0"/>
          <c:extLst>
            <c:ext xmlns:c15="http://schemas.microsoft.com/office/drawing/2012/chart" uri="{02D57815-91ED-43cb-92C2-25804820EDAC}">
              <c15:datalabelsRange>
                <c15:f>Sheet1!$E$2:$E$10</c15:f>
                <c15:dlblRangeCache>
                  <c:ptCount val="9"/>
                  <c:pt idx="0">
                    <c:v>Ruinart</c:v>
                  </c:pt>
                  <c:pt idx="1">
                    <c:v>Nicolas</c:v>
                  </c:pt>
                  <c:pt idx="2">
                    <c:v>Deutz</c:v>
                  </c:pt>
                  <c:pt idx="3">
                    <c:v>Malard</c:v>
                  </c:pt>
                  <c:pt idx="4">
                    <c:v>Laurent Perrier</c:v>
                  </c:pt>
                  <c:pt idx="5">
                    <c:v>Heidsieck &amp; Co Monopole</c:v>
                  </c:pt>
                  <c:pt idx="6">
                    <c:v>Nicolas Feuillatte</c:v>
                  </c:pt>
                  <c:pt idx="7">
                    <c:v>De Blign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2"/>
          <c:min val="1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8279999999999998"/>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D2C8AA9-5847-46AA-BA29-DB33205605A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D391D7B-80CC-4F14-9B69-5B80B509A37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85C8E9F-887B-4D22-A813-26B03DC52A7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C2D650E-2A21-47AB-B2F3-181FF3D4FDB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BEB5A5E-B512-477C-B285-8AC7BE3AB20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0B0C563-8DF9-4A0C-9F19-AA0B59679CC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5C11AB51-0283-4EB0-A74D-57F3E4B10CC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1A973084-E719-45B6-8335-0D6CEDE656B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4.4570999999999996</c:v>
                </c:pt>
                <c:pt idx="1">
                  <c:v>4.2683</c:v>
                </c:pt>
                <c:pt idx="2">
                  <c:v>5.8516000000000004</c:v>
                </c:pt>
                <c:pt idx="3">
                  <c:v>7.1054000000000004</c:v>
                </c:pt>
                <c:pt idx="4">
                  <c:v>6.9976000000000003</c:v>
                </c:pt>
                <c:pt idx="5">
                  <c:v>6.3528000000000002</c:v>
                </c:pt>
                <c:pt idx="6">
                  <c:v>4.9656000000000002</c:v>
                </c:pt>
                <c:pt idx="7">
                  <c:v>7.1954000000000002</c:v>
                </c:pt>
              </c:numCache>
            </c:numRef>
          </c:xVal>
          <c:yVal>
            <c:numRef>
              <c:f>Sheet1!$B$2:$B$9</c:f>
              <c:numCache>
                <c:formatCode>General</c:formatCode>
                <c:ptCount val="8"/>
                <c:pt idx="0">
                  <c:v>1.1240000000000001</c:v>
                </c:pt>
                <c:pt idx="1">
                  <c:v>0.38400000000000001</c:v>
                </c:pt>
                <c:pt idx="2">
                  <c:v>1.286</c:v>
                </c:pt>
                <c:pt idx="3">
                  <c:v>1.3109999999999999</c:v>
                </c:pt>
                <c:pt idx="4">
                  <c:v>1.8540000000000001</c:v>
                </c:pt>
                <c:pt idx="5">
                  <c:v>1.5669999999999999</c:v>
                </c:pt>
                <c:pt idx="6">
                  <c:v>0.44500000000000001</c:v>
                </c:pt>
                <c:pt idx="7">
                  <c:v>1.446</c:v>
                </c:pt>
              </c:numCache>
            </c:numRef>
          </c:yVal>
          <c:bubbleSize>
            <c:numRef>
              <c:f>Sheet1!$C$2:$C$9</c:f>
              <c:numCache>
                <c:formatCode>General</c:formatCode>
                <c:ptCount val="8"/>
                <c:pt idx="0">
                  <c:v>132987950</c:v>
                </c:pt>
                <c:pt idx="1">
                  <c:v>39552397</c:v>
                </c:pt>
                <c:pt idx="2">
                  <c:v>33996423</c:v>
                </c:pt>
                <c:pt idx="3">
                  <c:v>32603771</c:v>
                </c:pt>
                <c:pt idx="4">
                  <c:v>26217786</c:v>
                </c:pt>
                <c:pt idx="5">
                  <c:v>21170443</c:v>
                </c:pt>
                <c:pt idx="6">
                  <c:v>19554616</c:v>
                </c:pt>
                <c:pt idx="7">
                  <c:v>17071028</c:v>
                </c:pt>
              </c:numCache>
            </c:numRef>
          </c:bubbleSize>
          <c:bubble3D val="0"/>
          <c:extLst>
            <c:ext xmlns:c15="http://schemas.microsoft.com/office/drawing/2012/chart" uri="{02D57815-91ED-43cb-92C2-25804820EDAC}">
              <c15:datalabelsRange>
                <c15:f>Sheet1!$E$2:$E$10</c15:f>
                <c15:dlblRangeCache>
                  <c:ptCount val="9"/>
                  <c:pt idx="0">
                    <c:v>Mdd</c:v>
                  </c:pt>
                  <c:pt idx="1">
                    <c:v>Charles Volner</c:v>
                  </c:pt>
                  <c:pt idx="2">
                    <c:v>Freixenet</c:v>
                  </c:pt>
                  <c:pt idx="3">
                    <c:v>Wolfberger</c:v>
                  </c:pt>
                  <c:pt idx="4">
                    <c:v>Riccadonna</c:v>
                  </c:pt>
                  <c:pt idx="5">
                    <c:v>Vilaveroni</c:v>
                  </c:pt>
                  <c:pt idx="6">
                    <c:v>Kriter</c:v>
                  </c:pt>
                  <c:pt idx="7">
                    <c:v>Arthur Metz</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9"/>
          <c:min val="3"/>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0540000000000003"/>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F2590D1-15FD-4F50-B52F-61BA3A9D7A1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3E6B5F1-8494-4FFF-A71F-798B8BFF9EA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321F2C2-5CD7-4DEE-A090-08957E463AF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0CF29F2-DE20-4345-B1E8-C7F6BD05830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F60696F-2591-4E4B-9141-E4599188D71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DB7FA0B-5FA9-4784-909E-72E09B81F4B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EEBBE3F8-3BD6-4526-B9EB-385B02DEE89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BDFE1793-FFA9-4A66-B23B-8253482856D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11.451499999999999</c:v>
                </c:pt>
                <c:pt idx="1">
                  <c:v>12.7646</c:v>
                </c:pt>
                <c:pt idx="2">
                  <c:v>17.4328</c:v>
                </c:pt>
                <c:pt idx="3">
                  <c:v>9.1104000000000003</c:v>
                </c:pt>
                <c:pt idx="4">
                  <c:v>11.800599999999999</c:v>
                </c:pt>
                <c:pt idx="5">
                  <c:v>11.4077</c:v>
                </c:pt>
                <c:pt idx="6">
                  <c:v>13.4663</c:v>
                </c:pt>
                <c:pt idx="7">
                  <c:v>5.7388000000000003</c:v>
                </c:pt>
              </c:numCache>
            </c:numRef>
          </c:xVal>
          <c:yVal>
            <c:numRef>
              <c:f>Sheet1!$B$2:$B$9</c:f>
              <c:numCache>
                <c:formatCode>General</c:formatCode>
                <c:ptCount val="8"/>
                <c:pt idx="0">
                  <c:v>1.083</c:v>
                </c:pt>
                <c:pt idx="1">
                  <c:v>1.208</c:v>
                </c:pt>
                <c:pt idx="2">
                  <c:v>1.667</c:v>
                </c:pt>
                <c:pt idx="3">
                  <c:v>0.86199999999999999</c:v>
                </c:pt>
                <c:pt idx="4">
                  <c:v>1.0640000000000001</c:v>
                </c:pt>
                <c:pt idx="5">
                  <c:v>1.08</c:v>
                </c:pt>
                <c:pt idx="6">
                  <c:v>1.2729999999999999</c:v>
                </c:pt>
                <c:pt idx="7">
                  <c:v>0.54200000000000004</c:v>
                </c:pt>
              </c:numCache>
            </c:numRef>
          </c:yVal>
          <c:bubbleSize>
            <c:numRef>
              <c:f>Sheet1!$C$2:$C$9</c:f>
              <c:numCache>
                <c:formatCode>General</c:formatCode>
                <c:ptCount val="8"/>
                <c:pt idx="0">
                  <c:v>607538</c:v>
                </c:pt>
                <c:pt idx="1">
                  <c:v>507318</c:v>
                </c:pt>
                <c:pt idx="2">
                  <c:v>388332</c:v>
                </c:pt>
                <c:pt idx="3">
                  <c:v>323774</c:v>
                </c:pt>
                <c:pt idx="4">
                  <c:v>305234</c:v>
                </c:pt>
                <c:pt idx="5">
                  <c:v>282454</c:v>
                </c:pt>
                <c:pt idx="6">
                  <c:v>158041</c:v>
                </c:pt>
                <c:pt idx="7">
                  <c:v>100733</c:v>
                </c:pt>
              </c:numCache>
            </c:numRef>
          </c:bubbleSize>
          <c:bubble3D val="0"/>
          <c:extLst>
            <c:ext xmlns:c15="http://schemas.microsoft.com/office/drawing/2012/chart" uri="{02D57815-91ED-43cb-92C2-25804820EDAC}">
              <c15:datalabelsRange>
                <c15:f>Sheet1!$E$2:$E$10</c15:f>
                <c15:dlblRangeCache>
                  <c:ptCount val="9"/>
                  <c:pt idx="0">
                    <c:v>Bottega</c:v>
                  </c:pt>
                  <c:pt idx="1">
                    <c:v>Patriarche</c:v>
                  </c:pt>
                  <c:pt idx="2">
                    <c:v>Mure</c:v>
                  </c:pt>
                  <c:pt idx="3">
                    <c:v>Savian</c:v>
                  </c:pt>
                  <c:pt idx="4">
                    <c:v>Bouvet-Ladubay</c:v>
                  </c:pt>
                  <c:pt idx="5">
                    <c:v>Chateau Moncontour</c:v>
                  </c:pt>
                  <c:pt idx="6">
                    <c:v>De Chanceny</c:v>
                  </c:pt>
                  <c:pt idx="7">
                    <c:v>Kriter</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
          <c:min val="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867"/>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88B433D-0540-46E1-834F-151ADDED241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827A0EE-B744-4F8B-AE9F-CD10D3126B3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F8B6441-6A2D-4ABC-9588-553883E1063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2EA4DBA-0E5A-443A-A36D-9B10EFBEEF7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66C2700F-1D9E-4477-B94E-FD0152CA4E9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651F137-ECF8-4B23-8065-E0C0E12AACC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69447C2E-0FD8-4DC9-8480-8F6625ABC2A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A23E3BCB-C917-4DD5-8169-E53FDE52493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4.4570999999999996</c:v>
                </c:pt>
                <c:pt idx="1">
                  <c:v>4.2683</c:v>
                </c:pt>
                <c:pt idx="2">
                  <c:v>5.8516000000000004</c:v>
                </c:pt>
                <c:pt idx="3">
                  <c:v>7.1054000000000004</c:v>
                </c:pt>
                <c:pt idx="4">
                  <c:v>6.9976000000000003</c:v>
                </c:pt>
                <c:pt idx="5">
                  <c:v>6.3528000000000002</c:v>
                </c:pt>
                <c:pt idx="6">
                  <c:v>4.9625000000000004</c:v>
                </c:pt>
                <c:pt idx="7">
                  <c:v>7.1954000000000002</c:v>
                </c:pt>
              </c:numCache>
            </c:numRef>
          </c:xVal>
          <c:yVal>
            <c:numRef>
              <c:f>Sheet1!$B$2:$B$9</c:f>
              <c:numCache>
                <c:formatCode>General</c:formatCode>
                <c:ptCount val="8"/>
                <c:pt idx="0">
                  <c:v>1.129</c:v>
                </c:pt>
                <c:pt idx="1">
                  <c:v>0.38600000000000001</c:v>
                </c:pt>
                <c:pt idx="2">
                  <c:v>1.2929999999999999</c:v>
                </c:pt>
                <c:pt idx="3">
                  <c:v>1.3169999999999999</c:v>
                </c:pt>
                <c:pt idx="4">
                  <c:v>1.863</c:v>
                </c:pt>
                <c:pt idx="5">
                  <c:v>1.575</c:v>
                </c:pt>
                <c:pt idx="6">
                  <c:v>0.44600000000000001</c:v>
                </c:pt>
                <c:pt idx="7">
                  <c:v>1.4530000000000001</c:v>
                </c:pt>
              </c:numCache>
            </c:numRef>
          </c:yVal>
          <c:bubbleSize>
            <c:numRef>
              <c:f>Sheet1!$C$2:$C$9</c:f>
              <c:numCache>
                <c:formatCode>General</c:formatCode>
                <c:ptCount val="8"/>
                <c:pt idx="0">
                  <c:v>132987950</c:v>
                </c:pt>
                <c:pt idx="1">
                  <c:v>39552397</c:v>
                </c:pt>
                <c:pt idx="2">
                  <c:v>33996423</c:v>
                </c:pt>
                <c:pt idx="3">
                  <c:v>32603771</c:v>
                </c:pt>
                <c:pt idx="4">
                  <c:v>26217786</c:v>
                </c:pt>
                <c:pt idx="5">
                  <c:v>21162718</c:v>
                </c:pt>
                <c:pt idx="6">
                  <c:v>19453979</c:v>
                </c:pt>
                <c:pt idx="7">
                  <c:v>17071028</c:v>
                </c:pt>
              </c:numCache>
            </c:numRef>
          </c:bubbleSize>
          <c:bubble3D val="0"/>
          <c:extLst>
            <c:ext xmlns:c15="http://schemas.microsoft.com/office/drawing/2012/chart" uri="{02D57815-91ED-43cb-92C2-25804820EDAC}">
              <c15:datalabelsRange>
                <c15:f>Sheet1!$E$2:$E$10</c15:f>
                <c15:dlblRangeCache>
                  <c:ptCount val="9"/>
                  <c:pt idx="0">
                    <c:v>Mdd</c:v>
                  </c:pt>
                  <c:pt idx="1">
                    <c:v>Charles Volner</c:v>
                  </c:pt>
                  <c:pt idx="2">
                    <c:v>Freixenet</c:v>
                  </c:pt>
                  <c:pt idx="3">
                    <c:v>Wolfberger</c:v>
                  </c:pt>
                  <c:pt idx="4">
                    <c:v>Riccadonna</c:v>
                  </c:pt>
                  <c:pt idx="5">
                    <c:v>Vilaveroni</c:v>
                  </c:pt>
                  <c:pt idx="6">
                    <c:v>Kriter</c:v>
                  </c:pt>
                  <c:pt idx="7">
                    <c:v>Arthur Metz</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9"/>
          <c:min val="3"/>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0630000000000002"/>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DFBC500-FFB5-43E5-ACCD-2E9FA0569B5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EA7CEEE-D305-4981-BB15-8AB7FE91FAD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26C08D6-7CBD-45A2-BE90-90CB6E14FD0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6CA8018-15F0-4449-9A6F-BFCE689DA74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64E51F1-8264-418E-81DC-3CDBF79198E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B7976F8-5551-4873-8260-3DA83C81B45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39C4E52A-5A68-4F29-81CF-59B6E0E1754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5405BD51-FFE0-4A2A-9E37-33725BC0040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11.4527</c:v>
                </c:pt>
                <c:pt idx="1">
                  <c:v>12.753</c:v>
                </c:pt>
                <c:pt idx="2">
                  <c:v>17.365300000000001</c:v>
                </c:pt>
                <c:pt idx="3">
                  <c:v>9.0898000000000003</c:v>
                </c:pt>
                <c:pt idx="4">
                  <c:v>11.398199999999999</c:v>
                </c:pt>
                <c:pt idx="5">
                  <c:v>11.792999999999999</c:v>
                </c:pt>
                <c:pt idx="6">
                  <c:v>13.5303</c:v>
                </c:pt>
                <c:pt idx="7">
                  <c:v>5.7638999999999996</c:v>
                </c:pt>
              </c:numCache>
            </c:numRef>
          </c:xVal>
          <c:yVal>
            <c:numRef>
              <c:f>Sheet1!$B$2:$B$9</c:f>
              <c:numCache>
                <c:formatCode>General</c:formatCode>
                <c:ptCount val="8"/>
                <c:pt idx="0">
                  <c:v>1.0860000000000001</c:v>
                </c:pt>
                <c:pt idx="1">
                  <c:v>1.21</c:v>
                </c:pt>
                <c:pt idx="2">
                  <c:v>1.659</c:v>
                </c:pt>
                <c:pt idx="3">
                  <c:v>0.86199999999999999</c:v>
                </c:pt>
                <c:pt idx="4">
                  <c:v>1.081</c:v>
                </c:pt>
                <c:pt idx="5">
                  <c:v>1.069</c:v>
                </c:pt>
                <c:pt idx="6">
                  <c:v>1.284</c:v>
                </c:pt>
                <c:pt idx="7">
                  <c:v>0.54600000000000004</c:v>
                </c:pt>
              </c:numCache>
            </c:numRef>
          </c:yVal>
          <c:bubbleSize>
            <c:numRef>
              <c:f>Sheet1!$C$2:$C$9</c:f>
              <c:numCache>
                <c:formatCode>General</c:formatCode>
                <c:ptCount val="8"/>
                <c:pt idx="0">
                  <c:v>290933</c:v>
                </c:pt>
                <c:pt idx="1">
                  <c:v>231659</c:v>
                </c:pt>
                <c:pt idx="2">
                  <c:v>179505</c:v>
                </c:pt>
                <c:pt idx="3">
                  <c:v>172107</c:v>
                </c:pt>
                <c:pt idx="4">
                  <c:v>151528</c:v>
                </c:pt>
                <c:pt idx="5">
                  <c:v>144783</c:v>
                </c:pt>
                <c:pt idx="6">
                  <c:v>89327</c:v>
                </c:pt>
                <c:pt idx="7">
                  <c:v>47921</c:v>
                </c:pt>
              </c:numCache>
            </c:numRef>
          </c:bubbleSize>
          <c:bubble3D val="0"/>
          <c:extLst>
            <c:ext xmlns:c15="http://schemas.microsoft.com/office/drawing/2012/chart" uri="{02D57815-91ED-43cb-92C2-25804820EDAC}">
              <c15:datalabelsRange>
                <c15:f>Sheet1!$E$2:$E$10</c15:f>
                <c15:dlblRangeCache>
                  <c:ptCount val="9"/>
                  <c:pt idx="0">
                    <c:v>Bottega</c:v>
                  </c:pt>
                  <c:pt idx="1">
                    <c:v>Patriarche</c:v>
                  </c:pt>
                  <c:pt idx="2">
                    <c:v>Mure</c:v>
                  </c:pt>
                  <c:pt idx="3">
                    <c:v>Savian</c:v>
                  </c:pt>
                  <c:pt idx="4">
                    <c:v>Chateau Moncontour</c:v>
                  </c:pt>
                  <c:pt idx="5">
                    <c:v>Bouvet-Ladubay</c:v>
                  </c:pt>
                  <c:pt idx="6">
                    <c:v>De Chanceny</c:v>
                  </c:pt>
                  <c:pt idx="7">
                    <c:v>Kriter</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
          <c:min val="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85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8615E55-61AC-4F36-BCEB-46E160E5CC6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1EA8C4B-6991-4374-B03F-7D2CA18B3A6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3395082-725F-4127-817D-5C5A1B62D7E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C2C450B-4ABA-4405-B292-F64AA93BE6E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6082DADF-1B9D-4F1C-8C2F-64A1656E364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1811C86-C046-4D23-897F-798686CFA15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336727B-C411-4857-BCF2-6A9BABCB570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DC3E8BD1-6FC9-40C6-BC11-D1DAAB104CB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70.044300000000007</c:v>
                </c:pt>
                <c:pt idx="1">
                  <c:v>23.673100000000002</c:v>
                </c:pt>
                <c:pt idx="2">
                  <c:v>50.6248</c:v>
                </c:pt>
                <c:pt idx="3">
                  <c:v>31.541399999999999</c:v>
                </c:pt>
                <c:pt idx="4">
                  <c:v>52.898600000000002</c:v>
                </c:pt>
                <c:pt idx="5">
                  <c:v>33.237000000000002</c:v>
                </c:pt>
                <c:pt idx="6">
                  <c:v>30.649899999999999</c:v>
                </c:pt>
                <c:pt idx="7">
                  <c:v>30.5626</c:v>
                </c:pt>
              </c:numCache>
            </c:numRef>
          </c:xVal>
          <c:yVal>
            <c:numRef>
              <c:f>Sheet1!$B$2:$B$9</c:f>
              <c:numCache>
                <c:formatCode>General</c:formatCode>
                <c:ptCount val="8"/>
                <c:pt idx="0">
                  <c:v>1.65</c:v>
                </c:pt>
                <c:pt idx="1">
                  <c:v>0.56799999999999995</c:v>
                </c:pt>
                <c:pt idx="2">
                  <c:v>1.1679999999999999</c:v>
                </c:pt>
                <c:pt idx="3">
                  <c:v>0.755</c:v>
                </c:pt>
                <c:pt idx="4">
                  <c:v>1.117</c:v>
                </c:pt>
                <c:pt idx="5">
                  <c:v>0.76500000000000001</c:v>
                </c:pt>
                <c:pt idx="6">
                  <c:v>0.73299999999999998</c:v>
                </c:pt>
                <c:pt idx="7">
                  <c:v>0.74399999999999999</c:v>
                </c:pt>
              </c:numCache>
            </c:numRef>
          </c:yVal>
          <c:bubbleSize>
            <c:numRef>
              <c:f>Sheet1!$C$2:$C$9</c:f>
              <c:numCache>
                <c:formatCode>General</c:formatCode>
                <c:ptCount val="8"/>
                <c:pt idx="0">
                  <c:v>3181414</c:v>
                </c:pt>
                <c:pt idx="1">
                  <c:v>1250034</c:v>
                </c:pt>
                <c:pt idx="2">
                  <c:v>867406</c:v>
                </c:pt>
                <c:pt idx="3">
                  <c:v>661770</c:v>
                </c:pt>
                <c:pt idx="4">
                  <c:v>505869</c:v>
                </c:pt>
                <c:pt idx="5">
                  <c:v>426896</c:v>
                </c:pt>
                <c:pt idx="6">
                  <c:v>422417</c:v>
                </c:pt>
                <c:pt idx="7">
                  <c:v>413482</c:v>
                </c:pt>
              </c:numCache>
            </c:numRef>
          </c:bubbleSize>
          <c:bubble3D val="0"/>
          <c:extLst>
            <c:ext xmlns:c15="http://schemas.microsoft.com/office/drawing/2012/chart" uri="{02D57815-91ED-43cb-92C2-25804820EDAC}">
              <c15:datalabelsRange>
                <c15:f>Sheet1!$E$2:$E$10</c15:f>
                <c15:dlblRangeCache>
                  <c:ptCount val="9"/>
                  <c:pt idx="0">
                    <c:v>Ruinart</c:v>
                  </c:pt>
                  <c:pt idx="1">
                    <c:v>Nicolas</c:v>
                  </c:pt>
                  <c:pt idx="2">
                    <c:v>Deutz</c:v>
                  </c:pt>
                  <c:pt idx="3">
                    <c:v>Malard</c:v>
                  </c:pt>
                  <c:pt idx="4">
                    <c:v>Laurent Perrier</c:v>
                  </c:pt>
                  <c:pt idx="5">
                    <c:v>Nicolas Feuillatte</c:v>
                  </c:pt>
                  <c:pt idx="6">
                    <c:v>De Bligny</c:v>
                  </c:pt>
                  <c:pt idx="7">
                    <c:v>Canard Duchên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4"/>
          <c:min val="19"/>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CB985ED-BEAE-4158-94F6-FD2E764BA76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11BC91D-8ABF-4872-9B54-65A2F59A10F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112BCC5-E320-43D7-B926-20C9B09FB1B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D194B08-93F7-4385-A5CB-1AD3CB5B010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02CE184-0C45-4A51-9CC8-74DB6C84610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0FC1579-1352-46F4-A1D7-B0E0DCCDD4A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CFE29972-5FD2-4356-BE26-AAAC008653F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C8F787AE-13E5-497C-AD8D-1B275DCA175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12.745100000000001</c:v>
                </c:pt>
                <c:pt idx="1">
                  <c:v>11.3698</c:v>
                </c:pt>
                <c:pt idx="2">
                  <c:v>17.401599999999998</c:v>
                </c:pt>
                <c:pt idx="3">
                  <c:v>11.7576</c:v>
                </c:pt>
                <c:pt idx="4">
                  <c:v>11.376799999999999</c:v>
                </c:pt>
                <c:pt idx="5">
                  <c:v>9.0983000000000001</c:v>
                </c:pt>
                <c:pt idx="6">
                  <c:v>13.245200000000001</c:v>
                </c:pt>
                <c:pt idx="7">
                  <c:v>5.7225999999999999</c:v>
                </c:pt>
              </c:numCache>
            </c:numRef>
          </c:xVal>
          <c:yVal>
            <c:numRef>
              <c:f>Sheet1!$B$2:$B$9</c:f>
              <c:numCache>
                <c:formatCode>General</c:formatCode>
                <c:ptCount val="8"/>
                <c:pt idx="0">
                  <c:v>1.2070000000000001</c:v>
                </c:pt>
                <c:pt idx="1">
                  <c:v>1.075</c:v>
                </c:pt>
                <c:pt idx="2">
                  <c:v>1.65</c:v>
                </c:pt>
                <c:pt idx="3">
                  <c:v>1.0609999999999999</c:v>
                </c:pt>
                <c:pt idx="4">
                  <c:v>1.077</c:v>
                </c:pt>
                <c:pt idx="5">
                  <c:v>0.86199999999999999</c:v>
                </c:pt>
                <c:pt idx="6">
                  <c:v>1.256</c:v>
                </c:pt>
                <c:pt idx="7">
                  <c:v>0.54100000000000004</c:v>
                </c:pt>
              </c:numCache>
            </c:numRef>
          </c:yVal>
          <c:bubbleSize>
            <c:numRef>
              <c:f>Sheet1!$C$2:$C$9</c:f>
              <c:numCache>
                <c:formatCode>General</c:formatCode>
                <c:ptCount val="8"/>
                <c:pt idx="0">
                  <c:v>115254</c:v>
                </c:pt>
                <c:pt idx="1">
                  <c:v>108729</c:v>
                </c:pt>
                <c:pt idx="2">
                  <c:v>74009</c:v>
                </c:pt>
                <c:pt idx="3">
                  <c:v>61739</c:v>
                </c:pt>
                <c:pt idx="4">
                  <c:v>55701</c:v>
                </c:pt>
                <c:pt idx="5">
                  <c:v>55136</c:v>
                </c:pt>
                <c:pt idx="6">
                  <c:v>28093</c:v>
                </c:pt>
                <c:pt idx="7">
                  <c:v>26015</c:v>
                </c:pt>
              </c:numCache>
            </c:numRef>
          </c:bubbleSize>
          <c:bubble3D val="0"/>
          <c:extLst>
            <c:ext xmlns:c15="http://schemas.microsoft.com/office/drawing/2012/chart" uri="{02D57815-91ED-43cb-92C2-25804820EDAC}">
              <c15:datalabelsRange>
                <c15:f>Sheet1!$E$2:$E$10</c15:f>
                <c15:dlblRangeCache>
                  <c:ptCount val="9"/>
                  <c:pt idx="0">
                    <c:v>Patriarche</c:v>
                  </c:pt>
                  <c:pt idx="1">
                    <c:v>Bottega</c:v>
                  </c:pt>
                  <c:pt idx="2">
                    <c:v>Mure</c:v>
                  </c:pt>
                  <c:pt idx="3">
                    <c:v>Bouvet-Ladubay</c:v>
                  </c:pt>
                  <c:pt idx="4">
                    <c:v>Chateau Moncontour</c:v>
                  </c:pt>
                  <c:pt idx="5">
                    <c:v>Savian</c:v>
                  </c:pt>
                  <c:pt idx="6">
                    <c:v>De Chanceny</c:v>
                  </c:pt>
                  <c:pt idx="7">
                    <c:v>Kriter</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
          <c:min val="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849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EFE0F91-151A-400B-A717-486663D7A82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8B85182-0CFF-46D0-AF29-112962C91B1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A404DF5-A4CB-4794-A326-5A1F30861B0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7B1CE52-1546-486C-8F9C-DB52AB55042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55F3A652-E6C8-44C5-AB63-ACFD1815B63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80E29A9-5E71-410F-9BC0-8F394A5BDA1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D30A713-F218-4CF4-A2C9-49F5DC09DDC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8E40F1D5-1AFA-4293-8242-00A3428538A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11.425599999999999</c:v>
                </c:pt>
                <c:pt idx="1">
                  <c:v>13.021599999999999</c:v>
                </c:pt>
                <c:pt idx="2">
                  <c:v>17.555099999999999</c:v>
                </c:pt>
                <c:pt idx="3">
                  <c:v>9.1058000000000003</c:v>
                </c:pt>
                <c:pt idx="4">
                  <c:v>11.366099999999999</c:v>
                </c:pt>
                <c:pt idx="5">
                  <c:v>11.7385</c:v>
                </c:pt>
                <c:pt idx="6">
                  <c:v>13.419700000000001</c:v>
                </c:pt>
                <c:pt idx="7">
                  <c:v>11.3514</c:v>
                </c:pt>
              </c:numCache>
            </c:numRef>
          </c:xVal>
          <c:yVal>
            <c:numRef>
              <c:f>Sheet1!$B$2:$B$9</c:f>
              <c:numCache>
                <c:formatCode>General</c:formatCode>
                <c:ptCount val="8"/>
                <c:pt idx="0">
                  <c:v>1.0529999999999999</c:v>
                </c:pt>
                <c:pt idx="1">
                  <c:v>1.2030000000000001</c:v>
                </c:pt>
                <c:pt idx="2">
                  <c:v>1.6679999999999999</c:v>
                </c:pt>
                <c:pt idx="3">
                  <c:v>0.84</c:v>
                </c:pt>
                <c:pt idx="4">
                  <c:v>1.0469999999999999</c:v>
                </c:pt>
                <c:pt idx="5">
                  <c:v>1.036</c:v>
                </c:pt>
                <c:pt idx="6">
                  <c:v>1.238</c:v>
                </c:pt>
                <c:pt idx="7">
                  <c:v>0.89</c:v>
                </c:pt>
              </c:numCache>
            </c:numRef>
          </c:yVal>
          <c:bubbleSize>
            <c:numRef>
              <c:f>Sheet1!$C$2:$C$9</c:f>
              <c:numCache>
                <c:formatCode>General</c:formatCode>
                <c:ptCount val="8"/>
                <c:pt idx="0">
                  <c:v>75203</c:v>
                </c:pt>
                <c:pt idx="1">
                  <c:v>56722</c:v>
                </c:pt>
                <c:pt idx="2">
                  <c:v>51331</c:v>
                </c:pt>
                <c:pt idx="3">
                  <c:v>40348</c:v>
                </c:pt>
                <c:pt idx="4">
                  <c:v>30427</c:v>
                </c:pt>
                <c:pt idx="5">
                  <c:v>22620</c:v>
                </c:pt>
                <c:pt idx="6">
                  <c:v>18895</c:v>
                </c:pt>
                <c:pt idx="7">
                  <c:v>9206</c:v>
                </c:pt>
              </c:numCache>
            </c:numRef>
          </c:bubbleSize>
          <c:bubble3D val="0"/>
          <c:extLst>
            <c:ext xmlns:c15="http://schemas.microsoft.com/office/drawing/2012/chart" uri="{02D57815-91ED-43cb-92C2-25804820EDAC}">
              <c15:datalabelsRange>
                <c15:f>Sheet1!$E$2:$E$10</c15:f>
                <c15:dlblRangeCache>
                  <c:ptCount val="9"/>
                  <c:pt idx="0">
                    <c:v>Bottega</c:v>
                  </c:pt>
                  <c:pt idx="1">
                    <c:v>Patriarche</c:v>
                  </c:pt>
                  <c:pt idx="2">
                    <c:v>Mure</c:v>
                  </c:pt>
                  <c:pt idx="3">
                    <c:v>Savian</c:v>
                  </c:pt>
                  <c:pt idx="4">
                    <c:v>Chateau Moncontour</c:v>
                  </c:pt>
                  <c:pt idx="5">
                    <c:v>Bouvet-Ladubay</c:v>
                  </c:pt>
                  <c:pt idx="6">
                    <c:v>De Chanceny</c:v>
                  </c:pt>
                  <c:pt idx="7">
                    <c:v>Contarini</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
          <c:min val="7"/>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867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F88DE80-58D7-4F5C-9492-2935C44D946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8E93F75-BE67-4764-A02C-001390C57B0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17A2A21-5ACE-4D99-B638-55BA2135A79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040C829-0F17-4EF4-B611-C20771AD9FE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4300CA2-6FAC-4232-A2DD-6E6404F2A09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C01E502-A892-43FD-82F1-59C73415EAC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72C94882-E0D9-48E6-B823-F6D19B7B396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895EDA9F-BE4E-449A-96E6-798DD79851A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11.524699999999999</c:v>
                </c:pt>
                <c:pt idx="1">
                  <c:v>12.857200000000001</c:v>
                </c:pt>
                <c:pt idx="2">
                  <c:v>11.817299999999999</c:v>
                </c:pt>
                <c:pt idx="3">
                  <c:v>9.1434999999999995</c:v>
                </c:pt>
                <c:pt idx="4">
                  <c:v>17.4514</c:v>
                </c:pt>
                <c:pt idx="5">
                  <c:v>11.5405</c:v>
                </c:pt>
                <c:pt idx="6">
                  <c:v>13.3918</c:v>
                </c:pt>
                <c:pt idx="7">
                  <c:v>11.5547</c:v>
                </c:pt>
              </c:numCache>
            </c:numRef>
          </c:xVal>
          <c:yVal>
            <c:numRef>
              <c:f>Sheet1!$B$2:$B$9</c:f>
              <c:numCache>
                <c:formatCode>General</c:formatCode>
                <c:ptCount val="8"/>
                <c:pt idx="0">
                  <c:v>1.0760000000000001</c:v>
                </c:pt>
                <c:pt idx="1">
                  <c:v>1.206</c:v>
                </c:pt>
                <c:pt idx="2">
                  <c:v>1.0589999999999999</c:v>
                </c:pt>
                <c:pt idx="3">
                  <c:v>0.85699999999999998</c:v>
                </c:pt>
                <c:pt idx="4">
                  <c:v>1.63</c:v>
                </c:pt>
                <c:pt idx="5">
                  <c:v>1.0820000000000001</c:v>
                </c:pt>
                <c:pt idx="6">
                  <c:v>1.2450000000000001</c:v>
                </c:pt>
                <c:pt idx="7">
                  <c:v>0.90700000000000003</c:v>
                </c:pt>
              </c:numCache>
            </c:numRef>
          </c:yVal>
          <c:bubbleSize>
            <c:numRef>
              <c:f>Sheet1!$C$2:$C$9</c:f>
              <c:numCache>
                <c:formatCode>General</c:formatCode>
                <c:ptCount val="8"/>
                <c:pt idx="0">
                  <c:v>34574</c:v>
                </c:pt>
                <c:pt idx="1">
                  <c:v>24043</c:v>
                </c:pt>
                <c:pt idx="2">
                  <c:v>20314</c:v>
                </c:pt>
                <c:pt idx="3">
                  <c:v>19558</c:v>
                </c:pt>
                <c:pt idx="4">
                  <c:v>16893</c:v>
                </c:pt>
                <c:pt idx="5">
                  <c:v>16376</c:v>
                </c:pt>
                <c:pt idx="6">
                  <c:v>5571</c:v>
                </c:pt>
                <c:pt idx="7">
                  <c:v>4437</c:v>
                </c:pt>
              </c:numCache>
            </c:numRef>
          </c:bubbleSize>
          <c:bubble3D val="0"/>
          <c:extLst>
            <c:ext xmlns:c15="http://schemas.microsoft.com/office/drawing/2012/chart" uri="{02D57815-91ED-43cb-92C2-25804820EDAC}">
              <c15:datalabelsRange>
                <c15:f>Sheet1!$E$2:$E$10</c15:f>
                <c15:dlblRangeCache>
                  <c:ptCount val="9"/>
                  <c:pt idx="0">
                    <c:v>Bottega</c:v>
                  </c:pt>
                  <c:pt idx="1">
                    <c:v>Patriarche</c:v>
                  </c:pt>
                  <c:pt idx="2">
                    <c:v>Bouvet-Ladubay</c:v>
                  </c:pt>
                  <c:pt idx="3">
                    <c:v>Savian</c:v>
                  </c:pt>
                  <c:pt idx="4">
                    <c:v>Mure</c:v>
                  </c:pt>
                  <c:pt idx="5">
                    <c:v>Chateau Moncontour</c:v>
                  </c:pt>
                  <c:pt idx="6">
                    <c:v>De Chanceny</c:v>
                  </c:pt>
                  <c:pt idx="7">
                    <c:v>Contarini</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
          <c:min val="7"/>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8299999999999998"/>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BE0D0AB-65BB-437B-8381-9E38B4B9C33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F301C45-78AA-4060-9F60-C759F86DB2D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98D7117-41ED-4F0D-8459-364462EF90B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A2D37AB-2339-429F-8556-A292AA0DE73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50E4D520-067F-44FE-BDBF-03CE0C60512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DF133EE-5ED9-4429-8C40-1EBC0C075E2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DAB9226-A894-46C1-A4DB-8D413100162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8E2BF38C-A945-4338-8696-80A4D2D2689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11.4154</c:v>
                </c:pt>
                <c:pt idx="1">
                  <c:v>17.843299999999999</c:v>
                </c:pt>
                <c:pt idx="2">
                  <c:v>12.435700000000001</c:v>
                </c:pt>
                <c:pt idx="3">
                  <c:v>11.672000000000001</c:v>
                </c:pt>
                <c:pt idx="4">
                  <c:v>9.2040000000000006</c:v>
                </c:pt>
                <c:pt idx="5">
                  <c:v>11.5655</c:v>
                </c:pt>
                <c:pt idx="6">
                  <c:v>12.408200000000001</c:v>
                </c:pt>
                <c:pt idx="7">
                  <c:v>13.4473</c:v>
                </c:pt>
              </c:numCache>
            </c:numRef>
          </c:xVal>
          <c:yVal>
            <c:numRef>
              <c:f>Sheet1!$B$2:$B$9</c:f>
              <c:numCache>
                <c:formatCode>General</c:formatCode>
                <c:ptCount val="8"/>
                <c:pt idx="0">
                  <c:v>1.1100000000000001</c:v>
                </c:pt>
                <c:pt idx="1">
                  <c:v>1.7410000000000001</c:v>
                </c:pt>
                <c:pt idx="2">
                  <c:v>1.2</c:v>
                </c:pt>
                <c:pt idx="3">
                  <c:v>1.0820000000000001</c:v>
                </c:pt>
                <c:pt idx="4">
                  <c:v>0.88800000000000001</c:v>
                </c:pt>
                <c:pt idx="5">
                  <c:v>1.125</c:v>
                </c:pt>
                <c:pt idx="6">
                  <c:v>0.93</c:v>
                </c:pt>
                <c:pt idx="7">
                  <c:v>1.2949999999999999</c:v>
                </c:pt>
              </c:numCache>
            </c:numRef>
          </c:yVal>
          <c:bubbleSize>
            <c:numRef>
              <c:f>Sheet1!$C$2:$C$9</c:f>
              <c:numCache>
                <c:formatCode>General</c:formatCode>
                <c:ptCount val="8"/>
                <c:pt idx="0">
                  <c:v>29406</c:v>
                </c:pt>
                <c:pt idx="1">
                  <c:v>21519</c:v>
                </c:pt>
                <c:pt idx="2">
                  <c:v>20606</c:v>
                </c:pt>
                <c:pt idx="3">
                  <c:v>15337</c:v>
                </c:pt>
                <c:pt idx="4">
                  <c:v>12361</c:v>
                </c:pt>
                <c:pt idx="5">
                  <c:v>8304</c:v>
                </c:pt>
                <c:pt idx="6">
                  <c:v>5472</c:v>
                </c:pt>
                <c:pt idx="7">
                  <c:v>4720</c:v>
                </c:pt>
              </c:numCache>
            </c:numRef>
          </c:bubbleSize>
          <c:bubble3D val="0"/>
          <c:extLst>
            <c:ext xmlns:c15="http://schemas.microsoft.com/office/drawing/2012/chart" uri="{02D57815-91ED-43cb-92C2-25804820EDAC}">
              <c15:datalabelsRange>
                <c15:f>Sheet1!$E$2:$E$10</c15:f>
                <c15:dlblRangeCache>
                  <c:ptCount val="9"/>
                  <c:pt idx="0">
                    <c:v>Bottega</c:v>
                  </c:pt>
                  <c:pt idx="1">
                    <c:v>Mure</c:v>
                  </c:pt>
                  <c:pt idx="2">
                    <c:v>Patriarche</c:v>
                  </c:pt>
                  <c:pt idx="3">
                    <c:v>Bouvet-Ladubay</c:v>
                  </c:pt>
                  <c:pt idx="4">
                    <c:v>Savian</c:v>
                  </c:pt>
                  <c:pt idx="5">
                    <c:v>Chateau Moncontour</c:v>
                  </c:pt>
                  <c:pt idx="6">
                    <c:v>Contarini</c:v>
                  </c:pt>
                  <c:pt idx="7">
                    <c:v>De Chancen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
          <c:min val="7"/>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9410000000000001"/>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51F4408-779A-4A3D-A791-AD407E5EF3C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615C1D8-CABB-4F40-A0F6-2413B97626A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24C9F4B-EC24-4EB9-91B1-2F0569CCC60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6971AFE-7641-4900-A23E-0C58BC5DA6E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6C87B8E-542B-4B4A-9631-110F938B06A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E4E37C6-72CA-45D2-B1F6-C67C8C22363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EFC1E2CE-0BB7-4DEF-BFB5-209FFA193F7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EE0C3D23-BB9D-4CA0-9260-D8E51B0B096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11.437099999999999</c:v>
                </c:pt>
                <c:pt idx="1">
                  <c:v>12.776999999999999</c:v>
                </c:pt>
                <c:pt idx="2">
                  <c:v>17.389700000000001</c:v>
                </c:pt>
                <c:pt idx="3">
                  <c:v>9.0905000000000005</c:v>
                </c:pt>
                <c:pt idx="4">
                  <c:v>11.3963</c:v>
                </c:pt>
                <c:pt idx="5">
                  <c:v>11.78</c:v>
                </c:pt>
                <c:pt idx="6">
                  <c:v>13.4511</c:v>
                </c:pt>
                <c:pt idx="7">
                  <c:v>5.7374999999999998</c:v>
                </c:pt>
              </c:numCache>
            </c:numRef>
          </c:xVal>
          <c:yVal>
            <c:numRef>
              <c:f>Sheet1!$B$2:$B$9</c:f>
              <c:numCache>
                <c:formatCode>General</c:formatCode>
                <c:ptCount val="8"/>
                <c:pt idx="0">
                  <c:v>1.079</c:v>
                </c:pt>
                <c:pt idx="1">
                  <c:v>1.206</c:v>
                </c:pt>
                <c:pt idx="2">
                  <c:v>1.641</c:v>
                </c:pt>
                <c:pt idx="3">
                  <c:v>0.85699999999999998</c:v>
                </c:pt>
                <c:pt idx="4">
                  <c:v>1.075</c:v>
                </c:pt>
                <c:pt idx="5">
                  <c:v>1.0640000000000001</c:v>
                </c:pt>
                <c:pt idx="6">
                  <c:v>1.2689999999999999</c:v>
                </c:pt>
                <c:pt idx="7">
                  <c:v>0.54100000000000004</c:v>
                </c:pt>
              </c:numCache>
            </c:numRef>
          </c:yVal>
          <c:bubbleSize>
            <c:numRef>
              <c:f>Sheet1!$C$2:$C$9</c:f>
              <c:numCache>
                <c:formatCode>General</c:formatCode>
                <c:ptCount val="8"/>
                <c:pt idx="0">
                  <c:v>428822</c:v>
                </c:pt>
                <c:pt idx="1">
                  <c:v>352518</c:v>
                </c:pt>
                <c:pt idx="2">
                  <c:v>237909</c:v>
                </c:pt>
                <c:pt idx="3">
                  <c:v>237189</c:v>
                </c:pt>
                <c:pt idx="4">
                  <c:v>224598</c:v>
                </c:pt>
                <c:pt idx="5">
                  <c:v>209943</c:v>
                </c:pt>
                <c:pt idx="6">
                  <c:v>122782</c:v>
                </c:pt>
                <c:pt idx="7">
                  <c:v>62527</c:v>
                </c:pt>
              </c:numCache>
            </c:numRef>
          </c:bubbleSize>
          <c:bubble3D val="0"/>
          <c:extLst>
            <c:ext xmlns:c15="http://schemas.microsoft.com/office/drawing/2012/chart" uri="{02D57815-91ED-43cb-92C2-25804820EDAC}">
              <c15:datalabelsRange>
                <c15:f>Sheet1!$E$2:$E$10</c15:f>
                <c15:dlblRangeCache>
                  <c:ptCount val="9"/>
                  <c:pt idx="0">
                    <c:v>Bottega</c:v>
                  </c:pt>
                  <c:pt idx="1">
                    <c:v>Patriarche</c:v>
                  </c:pt>
                  <c:pt idx="2">
                    <c:v>Mure</c:v>
                  </c:pt>
                  <c:pt idx="3">
                    <c:v>Savian</c:v>
                  </c:pt>
                  <c:pt idx="4">
                    <c:v>Chateau Moncontour</c:v>
                  </c:pt>
                  <c:pt idx="5">
                    <c:v>Bouvet-Ladubay</c:v>
                  </c:pt>
                  <c:pt idx="6">
                    <c:v>De Chanceny</c:v>
                  </c:pt>
                  <c:pt idx="7">
                    <c:v>Kriter</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
          <c:min val="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841"/>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01A5852-CFAC-43EB-A8B1-D5E64F4CC93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E2C13E7-93A5-4FB4-8DE4-C8D07D4F5AC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FE8D67A-4A79-4D6A-873D-385793A531D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B0BEB3F-CBE3-406E-947F-2DD419C81D3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595F4346-EF2E-4FBD-B3E7-01ED0BDC242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5D232F2-C076-4B2D-8F01-6B3769F91AC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293368B5-28C6-4465-AB62-31406BCDDAC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A348F377-81C4-4F26-845B-8EBC2A388EA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11.4709</c:v>
                </c:pt>
                <c:pt idx="1">
                  <c:v>12.8293</c:v>
                </c:pt>
                <c:pt idx="2">
                  <c:v>9.1577000000000002</c:v>
                </c:pt>
                <c:pt idx="3">
                  <c:v>17.518999999999998</c:v>
                </c:pt>
                <c:pt idx="4">
                  <c:v>11.9748</c:v>
                </c:pt>
                <c:pt idx="5">
                  <c:v>11.4427</c:v>
                </c:pt>
                <c:pt idx="6">
                  <c:v>13.5473</c:v>
                </c:pt>
                <c:pt idx="7">
                  <c:v>11.4771</c:v>
                </c:pt>
              </c:numCache>
            </c:numRef>
          </c:xVal>
          <c:yVal>
            <c:numRef>
              <c:f>Sheet1!$B$2:$B$9</c:f>
              <c:numCache>
                <c:formatCode>General</c:formatCode>
                <c:ptCount val="8"/>
                <c:pt idx="0">
                  <c:v>1.123</c:v>
                </c:pt>
                <c:pt idx="1">
                  <c:v>1.2569999999999999</c:v>
                </c:pt>
                <c:pt idx="2">
                  <c:v>0.89700000000000002</c:v>
                </c:pt>
                <c:pt idx="3">
                  <c:v>1.714</c:v>
                </c:pt>
                <c:pt idx="4">
                  <c:v>1.105</c:v>
                </c:pt>
                <c:pt idx="5">
                  <c:v>1.1160000000000001</c:v>
                </c:pt>
                <c:pt idx="6">
                  <c:v>1.327</c:v>
                </c:pt>
                <c:pt idx="7">
                  <c:v>0.93799999999999994</c:v>
                </c:pt>
              </c:numCache>
            </c:numRef>
          </c:yVal>
          <c:bubbleSize>
            <c:numRef>
              <c:f>Sheet1!$C$2:$C$9</c:f>
              <c:numCache>
                <c:formatCode>General</c:formatCode>
                <c:ptCount val="8"/>
                <c:pt idx="0">
                  <c:v>78289</c:v>
                </c:pt>
                <c:pt idx="1">
                  <c:v>39373</c:v>
                </c:pt>
                <c:pt idx="2">
                  <c:v>32061</c:v>
                </c:pt>
                <c:pt idx="3">
                  <c:v>22179</c:v>
                </c:pt>
                <c:pt idx="4">
                  <c:v>16609</c:v>
                </c:pt>
                <c:pt idx="5">
                  <c:v>12072</c:v>
                </c:pt>
                <c:pt idx="6">
                  <c:v>8589</c:v>
                </c:pt>
                <c:pt idx="7">
                  <c:v>8252</c:v>
                </c:pt>
              </c:numCache>
            </c:numRef>
          </c:bubbleSize>
          <c:bubble3D val="0"/>
          <c:extLst>
            <c:ext xmlns:c15="http://schemas.microsoft.com/office/drawing/2012/chart" uri="{02D57815-91ED-43cb-92C2-25804820EDAC}">
              <c15:datalabelsRange>
                <c15:f>Sheet1!$E$2:$E$10</c15:f>
                <c15:dlblRangeCache>
                  <c:ptCount val="9"/>
                  <c:pt idx="0">
                    <c:v>Bottega</c:v>
                  </c:pt>
                  <c:pt idx="1">
                    <c:v>Patriarche</c:v>
                  </c:pt>
                  <c:pt idx="2">
                    <c:v>Savian</c:v>
                  </c:pt>
                  <c:pt idx="3">
                    <c:v>Mure</c:v>
                  </c:pt>
                  <c:pt idx="4">
                    <c:v>Bouvet-Ladubay</c:v>
                  </c:pt>
                  <c:pt idx="5">
                    <c:v>Chateau Moncontour</c:v>
                  </c:pt>
                  <c:pt idx="6">
                    <c:v>De Chanceny</c:v>
                  </c:pt>
                  <c:pt idx="7">
                    <c:v>Contarini</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
          <c:min val="7"/>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913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199C27D-DB7F-48EE-BFF3-094E779A658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4B5A07B-0D9E-4188-B544-08DBABBF0A9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57B47FB-0F79-456B-BC27-7D8DA0B0E3B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6CAC488-3813-4DD2-BF55-BA6D42FBF5B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10551EA6-EA26-4AC8-AF15-A8F5C612E13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C1EEE66-04C6-4832-A8C1-4B798E7B761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3FAF328-0C6A-4FBD-8314-57BF43B98BA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44846D41-9B04-4104-83DD-B08CD78AD02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11.4886</c:v>
                </c:pt>
                <c:pt idx="1">
                  <c:v>12.6144</c:v>
                </c:pt>
                <c:pt idx="2">
                  <c:v>9.1776</c:v>
                </c:pt>
                <c:pt idx="3">
                  <c:v>17.562100000000001</c:v>
                </c:pt>
                <c:pt idx="4">
                  <c:v>11.366199999999999</c:v>
                </c:pt>
                <c:pt idx="5">
                  <c:v>11.551</c:v>
                </c:pt>
                <c:pt idx="6">
                  <c:v>6.4760999999999997</c:v>
                </c:pt>
                <c:pt idx="7">
                  <c:v>12.0534</c:v>
                </c:pt>
              </c:numCache>
            </c:numRef>
          </c:xVal>
          <c:yVal>
            <c:numRef>
              <c:f>Sheet1!$B$2:$B$9</c:f>
              <c:numCache>
                <c:formatCode>General</c:formatCode>
                <c:ptCount val="8"/>
                <c:pt idx="0">
                  <c:v>1.1180000000000001</c:v>
                </c:pt>
                <c:pt idx="1">
                  <c:v>1.2310000000000001</c:v>
                </c:pt>
                <c:pt idx="2">
                  <c:v>0.89500000000000002</c:v>
                </c:pt>
                <c:pt idx="3">
                  <c:v>1.698</c:v>
                </c:pt>
                <c:pt idx="4">
                  <c:v>1.103</c:v>
                </c:pt>
                <c:pt idx="5">
                  <c:v>0.93899999999999995</c:v>
                </c:pt>
                <c:pt idx="6">
                  <c:v>0.629</c:v>
                </c:pt>
                <c:pt idx="7">
                  <c:v>1.0760000000000001</c:v>
                </c:pt>
              </c:numCache>
            </c:numRef>
          </c:yVal>
          <c:bubbleSize>
            <c:numRef>
              <c:f>Sheet1!$C$2:$C$9</c:f>
              <c:numCache>
                <c:formatCode>General</c:formatCode>
                <c:ptCount val="8"/>
                <c:pt idx="0">
                  <c:v>41175</c:v>
                </c:pt>
                <c:pt idx="1">
                  <c:v>33731</c:v>
                </c:pt>
                <c:pt idx="2">
                  <c:v>22788</c:v>
                </c:pt>
                <c:pt idx="3">
                  <c:v>13997</c:v>
                </c:pt>
                <c:pt idx="4">
                  <c:v>10707</c:v>
                </c:pt>
                <c:pt idx="5">
                  <c:v>8259</c:v>
                </c:pt>
                <c:pt idx="6">
                  <c:v>7726</c:v>
                </c:pt>
                <c:pt idx="7">
                  <c:v>7220</c:v>
                </c:pt>
              </c:numCache>
            </c:numRef>
          </c:bubbleSize>
          <c:bubble3D val="0"/>
          <c:extLst>
            <c:ext xmlns:c15="http://schemas.microsoft.com/office/drawing/2012/chart" uri="{02D57815-91ED-43cb-92C2-25804820EDAC}">
              <c15:datalabelsRange>
                <c15:f>Sheet1!$E$2:$E$10</c15:f>
                <c15:dlblRangeCache>
                  <c:ptCount val="9"/>
                  <c:pt idx="0">
                    <c:v>Bottega</c:v>
                  </c:pt>
                  <c:pt idx="1">
                    <c:v>Patriarche</c:v>
                  </c:pt>
                  <c:pt idx="2">
                    <c:v>Savian</c:v>
                  </c:pt>
                  <c:pt idx="3">
                    <c:v>Mure</c:v>
                  </c:pt>
                  <c:pt idx="4">
                    <c:v>Chateau Moncontour</c:v>
                  </c:pt>
                  <c:pt idx="5">
                    <c:v>Contarini</c:v>
                  </c:pt>
                  <c:pt idx="6">
                    <c:v>Vilaveroni</c:v>
                  </c:pt>
                  <c:pt idx="7">
                    <c:v>Bouvet-Laduba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
          <c:min val="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897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D6A0412-AA40-41C6-B3A7-4B5F3DB109F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7E132A3-7DA3-4B3B-AC45-64E288F2A76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BE05418-6270-48AB-96A7-724C38FC5AA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17795A7-BF3B-4EBA-A344-BE4B00D3094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492C12C-25CE-4C6B-AD8F-CB6F38489AD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BFD825D7-ED09-4A21-92ED-0A2B0546EDB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E6D1999A-F70B-48F3-9843-6913EE96298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85013C38-0F6A-4B52-8CB1-B3C2860BBBB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12.6576</c:v>
                </c:pt>
                <c:pt idx="1">
                  <c:v>11.490399999999999</c:v>
                </c:pt>
                <c:pt idx="2">
                  <c:v>11.404400000000001</c:v>
                </c:pt>
                <c:pt idx="3">
                  <c:v>17.4818</c:v>
                </c:pt>
                <c:pt idx="4">
                  <c:v>5.8106999999999998</c:v>
                </c:pt>
                <c:pt idx="5">
                  <c:v>11.525499999999999</c:v>
                </c:pt>
                <c:pt idx="6">
                  <c:v>9.1667000000000005</c:v>
                </c:pt>
                <c:pt idx="7">
                  <c:v>10.4292</c:v>
                </c:pt>
              </c:numCache>
            </c:numRef>
          </c:xVal>
          <c:yVal>
            <c:numRef>
              <c:f>Sheet1!$B$2:$B$9</c:f>
              <c:numCache>
                <c:formatCode>General</c:formatCode>
                <c:ptCount val="8"/>
                <c:pt idx="0">
                  <c:v>1.2689999999999999</c:v>
                </c:pt>
                <c:pt idx="1">
                  <c:v>1.131</c:v>
                </c:pt>
                <c:pt idx="2">
                  <c:v>1.0940000000000001</c:v>
                </c:pt>
                <c:pt idx="3">
                  <c:v>1.7410000000000001</c:v>
                </c:pt>
                <c:pt idx="4">
                  <c:v>0.57599999999999996</c:v>
                </c:pt>
                <c:pt idx="5">
                  <c:v>1.1419999999999999</c:v>
                </c:pt>
                <c:pt idx="6">
                  <c:v>0.90500000000000003</c:v>
                </c:pt>
                <c:pt idx="7">
                  <c:v>0.97699999999999998</c:v>
                </c:pt>
              </c:numCache>
            </c:numRef>
          </c:yVal>
          <c:bubbleSize>
            <c:numRef>
              <c:f>Sheet1!$C$2:$C$9</c:f>
              <c:numCache>
                <c:formatCode>General</c:formatCode>
                <c:ptCount val="8"/>
                <c:pt idx="0">
                  <c:v>14860</c:v>
                </c:pt>
                <c:pt idx="1">
                  <c:v>13214</c:v>
                </c:pt>
                <c:pt idx="2">
                  <c:v>10800</c:v>
                </c:pt>
                <c:pt idx="3">
                  <c:v>9615</c:v>
                </c:pt>
                <c:pt idx="4">
                  <c:v>8164</c:v>
                </c:pt>
                <c:pt idx="5">
                  <c:v>5878</c:v>
                </c:pt>
                <c:pt idx="6">
                  <c:v>5555</c:v>
                </c:pt>
                <c:pt idx="7">
                  <c:v>2284</c:v>
                </c:pt>
              </c:numCache>
            </c:numRef>
          </c:bubbleSize>
          <c:bubble3D val="0"/>
          <c:extLst>
            <c:ext xmlns:c15="http://schemas.microsoft.com/office/drawing/2012/chart" uri="{02D57815-91ED-43cb-92C2-25804820EDAC}">
              <c15:datalabelsRange>
                <c15:f>Sheet1!$E$2:$E$10</c15:f>
                <c15:dlblRangeCache>
                  <c:ptCount val="9"/>
                  <c:pt idx="0">
                    <c:v>Patriarche</c:v>
                  </c:pt>
                  <c:pt idx="1">
                    <c:v>Bottega</c:v>
                  </c:pt>
                  <c:pt idx="2">
                    <c:v>Bouvet-Ladubay</c:v>
                  </c:pt>
                  <c:pt idx="3">
                    <c:v>Mure</c:v>
                  </c:pt>
                  <c:pt idx="4">
                    <c:v>Kriter</c:v>
                  </c:pt>
                  <c:pt idx="5">
                    <c:v>Chateau Moncontour</c:v>
                  </c:pt>
                  <c:pt idx="6">
                    <c:v>Savian</c:v>
                  </c:pt>
                  <c:pt idx="7">
                    <c:v>Contarini</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
          <c:min val="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9410000000000001"/>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8F7D162-AB84-4212-A0A1-AEB6995B841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C0770E6-4648-4B44-A43C-D44BB7BDD19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62DE71B-C04F-481C-8969-48CD334A559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70011BE-71B0-4C35-9C37-00DFDC3C909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12D073B-CFBE-479E-8DE2-DC056722DFE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1ED61A4E-033E-4D40-A8A8-A597756E736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D39A8A53-9790-4F58-AEFD-5BF4B7B0718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38FD4D83-9EDD-47AF-A4F8-E157E033B45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17.333100000000002</c:v>
                </c:pt>
                <c:pt idx="1">
                  <c:v>12.973800000000001</c:v>
                </c:pt>
                <c:pt idx="2">
                  <c:v>9.0344999999999995</c:v>
                </c:pt>
                <c:pt idx="3">
                  <c:v>11.645300000000001</c:v>
                </c:pt>
                <c:pt idx="4">
                  <c:v>11.7005</c:v>
                </c:pt>
              </c:numCache>
            </c:numRef>
          </c:xVal>
          <c:yVal>
            <c:numRef>
              <c:f>Sheet1!$B$2:$B$6</c:f>
              <c:numCache>
                <c:formatCode>General</c:formatCode>
                <c:ptCount val="5"/>
                <c:pt idx="0">
                  <c:v>1.5960000000000001</c:v>
                </c:pt>
                <c:pt idx="1">
                  <c:v>1.091</c:v>
                </c:pt>
                <c:pt idx="2">
                  <c:v>0.78300000000000003</c:v>
                </c:pt>
                <c:pt idx="3">
                  <c:v>0.97099999999999997</c:v>
                </c:pt>
                <c:pt idx="4">
                  <c:v>0.98399999999999999</c:v>
                </c:pt>
              </c:numCache>
            </c:numRef>
          </c:yVal>
          <c:bubbleSize>
            <c:numRef>
              <c:f>Sheet1!$C$2:$C$6</c:f>
              <c:numCache>
                <c:formatCode>General</c:formatCode>
                <c:ptCount val="5"/>
                <c:pt idx="0">
                  <c:v>68483</c:v>
                </c:pt>
                <c:pt idx="1">
                  <c:v>3957</c:v>
                </c:pt>
                <c:pt idx="2">
                  <c:v>3930</c:v>
                </c:pt>
                <c:pt idx="3">
                  <c:v>3447</c:v>
                </c:pt>
                <c:pt idx="4">
                  <c:v>2188</c:v>
                </c:pt>
              </c:numCache>
            </c:numRef>
          </c:bubbleSize>
          <c:bubble3D val="0"/>
          <c:extLst>
            <c:ext xmlns:c15="http://schemas.microsoft.com/office/drawing/2012/chart" uri="{02D57815-91ED-43cb-92C2-25804820EDAC}">
              <c15:datalabelsRange>
                <c15:f>Sheet1!$E$2:$E$10</c15:f>
                <c15:dlblRangeCache>
                  <c:ptCount val="9"/>
                  <c:pt idx="0">
                    <c:v>Mure</c:v>
                  </c:pt>
                  <c:pt idx="1">
                    <c:v>Patriarche</c:v>
                  </c:pt>
                  <c:pt idx="2">
                    <c:v>Savian</c:v>
                  </c:pt>
                  <c:pt idx="3">
                    <c:v>Bottega</c:v>
                  </c:pt>
                  <c:pt idx="4">
                    <c:v>Chateau Moncontour</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
          <c:min val="7"/>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796"/>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F83A6AA-9B75-47D2-BD6E-3D34B2DAD70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744A965-6EB9-471C-A661-0F0CCC4761E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E3FCB3F-5088-4B9E-BED1-1B7177CFDC2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4475222-AF5D-4782-B059-C8A1D4FA696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7BFABBB-B206-4ADA-BC17-9839B3BA1C7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FB4F758A-5AF8-448F-9362-F47F3D958B8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E6C86C7F-55CB-4A85-A9A4-A39FE793B61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DA44137B-183F-404E-946B-E8F5C427A87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11.4457</c:v>
                </c:pt>
                <c:pt idx="1">
                  <c:v>12.7675</c:v>
                </c:pt>
                <c:pt idx="2">
                  <c:v>9.1258999999999997</c:v>
                </c:pt>
                <c:pt idx="3">
                  <c:v>17.377600000000001</c:v>
                </c:pt>
                <c:pt idx="4">
                  <c:v>11.3108</c:v>
                </c:pt>
                <c:pt idx="5">
                  <c:v>11.7963</c:v>
                </c:pt>
                <c:pt idx="6">
                  <c:v>13.266400000000001</c:v>
                </c:pt>
                <c:pt idx="7">
                  <c:v>11.2964</c:v>
                </c:pt>
              </c:numCache>
            </c:numRef>
          </c:xVal>
          <c:yVal>
            <c:numRef>
              <c:f>Sheet1!$B$2:$B$9</c:f>
              <c:numCache>
                <c:formatCode>General</c:formatCode>
                <c:ptCount val="8"/>
                <c:pt idx="0">
                  <c:v>1.0960000000000001</c:v>
                </c:pt>
                <c:pt idx="1">
                  <c:v>1.224</c:v>
                </c:pt>
                <c:pt idx="2">
                  <c:v>0.874</c:v>
                </c:pt>
                <c:pt idx="3">
                  <c:v>1.6639999999999999</c:v>
                </c:pt>
                <c:pt idx="4">
                  <c:v>1.0840000000000001</c:v>
                </c:pt>
                <c:pt idx="5">
                  <c:v>1.077</c:v>
                </c:pt>
                <c:pt idx="6">
                  <c:v>1.2689999999999999</c:v>
                </c:pt>
                <c:pt idx="7">
                  <c:v>0.92400000000000004</c:v>
                </c:pt>
              </c:numCache>
            </c:numRef>
          </c:yVal>
          <c:bubbleSize>
            <c:numRef>
              <c:f>Sheet1!$C$2:$C$9</c:f>
              <c:numCache>
                <c:formatCode>General</c:formatCode>
                <c:ptCount val="8"/>
                <c:pt idx="0">
                  <c:v>195596</c:v>
                </c:pt>
                <c:pt idx="1">
                  <c:v>123577</c:v>
                </c:pt>
                <c:pt idx="2">
                  <c:v>96917</c:v>
                </c:pt>
                <c:pt idx="3">
                  <c:v>78512</c:v>
                </c:pt>
                <c:pt idx="4">
                  <c:v>64924</c:v>
                </c:pt>
                <c:pt idx="5">
                  <c:v>64278</c:v>
                </c:pt>
                <c:pt idx="6">
                  <c:v>37597</c:v>
                </c:pt>
                <c:pt idx="7">
                  <c:v>19859</c:v>
                </c:pt>
              </c:numCache>
            </c:numRef>
          </c:bubbleSize>
          <c:bubble3D val="0"/>
          <c:extLst>
            <c:ext xmlns:c15="http://schemas.microsoft.com/office/drawing/2012/chart" uri="{02D57815-91ED-43cb-92C2-25804820EDAC}">
              <c15:datalabelsRange>
                <c15:f>Sheet1!$E$2:$E$10</c15:f>
                <c15:dlblRangeCache>
                  <c:ptCount val="9"/>
                  <c:pt idx="0">
                    <c:v>Bottega</c:v>
                  </c:pt>
                  <c:pt idx="1">
                    <c:v>Patriarche</c:v>
                  </c:pt>
                  <c:pt idx="2">
                    <c:v>Savian</c:v>
                  </c:pt>
                  <c:pt idx="3">
                    <c:v>Mure</c:v>
                  </c:pt>
                  <c:pt idx="4">
                    <c:v>Chateau Moncontour</c:v>
                  </c:pt>
                  <c:pt idx="5">
                    <c:v>Bouvet-Ladubay</c:v>
                  </c:pt>
                  <c:pt idx="6">
                    <c:v>De Chanceny</c:v>
                  </c:pt>
                  <c:pt idx="7">
                    <c:v>Contarini</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
          <c:min val="7"/>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863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EFBA866C-B5FB-4E56-B937-0174DEE8A9E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58522D6B-D486-4BC4-9BDD-8FA7A2747F1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69269E94-D231-4456-8BB8-1D08163A429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C8344AC8-B3B5-413E-9A19-978000577B6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A33E9BC0-74AE-46DA-AF58-6FC86B0F296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A30B5BC3-AABC-4C5E-954B-429B3F29D24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6734D17C-FA09-4112-9176-60325ABD8CF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CCA1DE65-A22C-403A-ACB5-6F4B3B652B7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12.745100000000001</c:v>
                </c:pt>
                <c:pt idx="1">
                  <c:v>11.3698</c:v>
                </c:pt>
                <c:pt idx="2">
                  <c:v>17.401599999999998</c:v>
                </c:pt>
                <c:pt idx="3">
                  <c:v>11.7576</c:v>
                </c:pt>
                <c:pt idx="4">
                  <c:v>11.376799999999999</c:v>
                </c:pt>
                <c:pt idx="5">
                  <c:v>9.0983000000000001</c:v>
                </c:pt>
                <c:pt idx="6">
                  <c:v>13.245200000000001</c:v>
                </c:pt>
                <c:pt idx="7">
                  <c:v>5.7225999999999999</c:v>
                </c:pt>
              </c:numCache>
            </c:numRef>
          </c:xVal>
          <c:yVal>
            <c:numRef>
              <c:f>Sheet1!$B$2:$B$9</c:f>
              <c:numCache>
                <c:formatCode>General</c:formatCode>
                <c:ptCount val="8"/>
                <c:pt idx="0">
                  <c:v>1.2070000000000001</c:v>
                </c:pt>
                <c:pt idx="1">
                  <c:v>1.075</c:v>
                </c:pt>
                <c:pt idx="2">
                  <c:v>1.65</c:v>
                </c:pt>
                <c:pt idx="3">
                  <c:v>1.0609999999999999</c:v>
                </c:pt>
                <c:pt idx="4">
                  <c:v>1.077</c:v>
                </c:pt>
                <c:pt idx="5">
                  <c:v>0.86199999999999999</c:v>
                </c:pt>
                <c:pt idx="6">
                  <c:v>1.256</c:v>
                </c:pt>
                <c:pt idx="7">
                  <c:v>0.54100000000000004</c:v>
                </c:pt>
              </c:numCache>
            </c:numRef>
          </c:yVal>
          <c:bubbleSize>
            <c:numRef>
              <c:f>Sheet1!$C$2:$C$9</c:f>
              <c:numCache>
                <c:formatCode>General</c:formatCode>
                <c:ptCount val="8"/>
                <c:pt idx="0">
                  <c:v>115254</c:v>
                </c:pt>
                <c:pt idx="1">
                  <c:v>108729</c:v>
                </c:pt>
                <c:pt idx="2">
                  <c:v>74009</c:v>
                </c:pt>
                <c:pt idx="3">
                  <c:v>61739</c:v>
                </c:pt>
                <c:pt idx="4">
                  <c:v>55701</c:v>
                </c:pt>
                <c:pt idx="5">
                  <c:v>55136</c:v>
                </c:pt>
                <c:pt idx="6">
                  <c:v>28093</c:v>
                </c:pt>
                <c:pt idx="7">
                  <c:v>26015</c:v>
                </c:pt>
              </c:numCache>
            </c:numRef>
          </c:bubbleSize>
          <c:bubble3D val="0"/>
          <c:extLst>
            <c:ext xmlns:c15="http://schemas.microsoft.com/office/drawing/2012/chart" uri="{02D57815-91ED-43cb-92C2-25804820EDAC}">
              <c15:datalabelsRange>
                <c15:f>Sheet1!$E$2:$E$10</c15:f>
                <c15:dlblRangeCache>
                  <c:ptCount val="9"/>
                  <c:pt idx="0">
                    <c:v>Patriarche</c:v>
                  </c:pt>
                  <c:pt idx="1">
                    <c:v>Bottega</c:v>
                  </c:pt>
                  <c:pt idx="2">
                    <c:v>Mure</c:v>
                  </c:pt>
                  <c:pt idx="3">
                    <c:v>Bouvet-Ladubay</c:v>
                  </c:pt>
                  <c:pt idx="4">
                    <c:v>Chateau Moncontour</c:v>
                  </c:pt>
                  <c:pt idx="5">
                    <c:v>Savian</c:v>
                  </c:pt>
                  <c:pt idx="6">
                    <c:v>De Chanceny</c:v>
                  </c:pt>
                  <c:pt idx="7">
                    <c:v>Kriter</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
          <c:min val="5"/>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CA7E79F-3F30-4454-BBEA-05F4A70A606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CB802DB-9238-4CF4-933F-3A24B180BCE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A21728F-C3D3-4007-8902-835F2705171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6036F29-9A56-4C7C-ABFE-79CB00C9486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898C369-4DD5-410A-9EFE-7F95E77721F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394CC34-4181-47FB-8795-D12D28E9250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35A626F3-833F-426C-9EE6-9520953301F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0EC1308-8E89-4C55-8F46-E57C48DA4E3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11.4999</c:v>
                </c:pt>
                <c:pt idx="1">
                  <c:v>12.7821</c:v>
                </c:pt>
                <c:pt idx="2">
                  <c:v>17.365600000000001</c:v>
                </c:pt>
                <c:pt idx="3">
                  <c:v>11.6388</c:v>
                </c:pt>
                <c:pt idx="4">
                  <c:v>11.379899999999999</c:v>
                </c:pt>
                <c:pt idx="5">
                  <c:v>9.0538000000000007</c:v>
                </c:pt>
                <c:pt idx="6">
                  <c:v>13.565200000000001</c:v>
                </c:pt>
                <c:pt idx="7">
                  <c:v>5.7614999999999998</c:v>
                </c:pt>
              </c:numCache>
            </c:numRef>
          </c:xVal>
          <c:yVal>
            <c:numRef>
              <c:f>Sheet1!$B$2:$B$9</c:f>
              <c:numCache>
                <c:formatCode>General</c:formatCode>
                <c:ptCount val="8"/>
                <c:pt idx="0">
                  <c:v>1.0920000000000001</c:v>
                </c:pt>
                <c:pt idx="1">
                  <c:v>1.214</c:v>
                </c:pt>
                <c:pt idx="2">
                  <c:v>1.6639999999999999</c:v>
                </c:pt>
                <c:pt idx="3">
                  <c:v>1.0660000000000001</c:v>
                </c:pt>
                <c:pt idx="4">
                  <c:v>1.081</c:v>
                </c:pt>
                <c:pt idx="5">
                  <c:v>0.86099999999999999</c:v>
                </c:pt>
                <c:pt idx="6">
                  <c:v>1.2849999999999999</c:v>
                </c:pt>
                <c:pt idx="7">
                  <c:v>0.54600000000000004</c:v>
                </c:pt>
              </c:numCache>
            </c:numRef>
          </c:yVal>
          <c:bubbleSize>
            <c:numRef>
              <c:f>Sheet1!$C$2:$C$9</c:f>
              <c:numCache>
                <c:formatCode>General</c:formatCode>
                <c:ptCount val="8"/>
                <c:pt idx="0">
                  <c:v>82178</c:v>
                </c:pt>
                <c:pt idx="1">
                  <c:v>74724</c:v>
                </c:pt>
                <c:pt idx="2">
                  <c:v>70435</c:v>
                </c:pt>
                <c:pt idx="3">
                  <c:v>50745</c:v>
                </c:pt>
                <c:pt idx="4">
                  <c:v>43528</c:v>
                </c:pt>
                <c:pt idx="5">
                  <c:v>39538</c:v>
                </c:pt>
                <c:pt idx="6">
                  <c:v>23088</c:v>
                </c:pt>
                <c:pt idx="7">
                  <c:v>21335</c:v>
                </c:pt>
              </c:numCache>
            </c:numRef>
          </c:bubbleSize>
          <c:bubble3D val="0"/>
          <c:extLst>
            <c:ext xmlns:c15="http://schemas.microsoft.com/office/drawing/2012/chart" uri="{02D57815-91ED-43cb-92C2-25804820EDAC}">
              <c15:datalabelsRange>
                <c15:f>Sheet1!$E$2:$E$10</c15:f>
                <c15:dlblRangeCache>
                  <c:ptCount val="9"/>
                  <c:pt idx="0">
                    <c:v>Bottega</c:v>
                  </c:pt>
                  <c:pt idx="1">
                    <c:v>Patriarche</c:v>
                  </c:pt>
                  <c:pt idx="2">
                    <c:v>Mure</c:v>
                  </c:pt>
                  <c:pt idx="3">
                    <c:v>Bouvet-Ladubay</c:v>
                  </c:pt>
                  <c:pt idx="4">
                    <c:v>Chateau Moncontour</c:v>
                  </c:pt>
                  <c:pt idx="5">
                    <c:v>Savian</c:v>
                  </c:pt>
                  <c:pt idx="6">
                    <c:v>De Chanceny</c:v>
                  </c:pt>
                  <c:pt idx="7">
                    <c:v>Kriter</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
          <c:min val="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863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F32F3F3-48CC-4A68-BDD9-F0458E30438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D9466E2-B213-4C39-B608-9C431D0BE85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B072C14-09CE-4909-BD98-906904C18B9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B3D413B-D1C2-4982-AEFD-65C044E41B6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1C0D7870-B464-43AB-964F-C8176066A83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10B7418-AA24-4CC4-9BFA-557C81DBD15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170188E9-D665-42A4-9C58-62AC5FFC914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A46DA21F-D715-4345-AD99-F6902CBE8E0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11.404999999999999</c:v>
                </c:pt>
                <c:pt idx="1">
                  <c:v>12.696099999999999</c:v>
                </c:pt>
                <c:pt idx="2">
                  <c:v>9.0840999999999994</c:v>
                </c:pt>
                <c:pt idx="3">
                  <c:v>17.397300000000001</c:v>
                </c:pt>
                <c:pt idx="4">
                  <c:v>11.7463</c:v>
                </c:pt>
                <c:pt idx="5">
                  <c:v>11.4129</c:v>
                </c:pt>
                <c:pt idx="6">
                  <c:v>13.5061</c:v>
                </c:pt>
                <c:pt idx="7">
                  <c:v>5.7343000000000002</c:v>
                </c:pt>
              </c:numCache>
            </c:numRef>
          </c:xVal>
          <c:yVal>
            <c:numRef>
              <c:f>Sheet1!$B$2:$B$9</c:f>
              <c:numCache>
                <c:formatCode>General</c:formatCode>
                <c:ptCount val="8"/>
                <c:pt idx="0">
                  <c:v>1.0820000000000001</c:v>
                </c:pt>
                <c:pt idx="1">
                  <c:v>1.2050000000000001</c:v>
                </c:pt>
                <c:pt idx="2">
                  <c:v>0.86199999999999999</c:v>
                </c:pt>
                <c:pt idx="3">
                  <c:v>1.6519999999999999</c:v>
                </c:pt>
                <c:pt idx="4">
                  <c:v>1.0720000000000001</c:v>
                </c:pt>
                <c:pt idx="5">
                  <c:v>1.083</c:v>
                </c:pt>
                <c:pt idx="6">
                  <c:v>1.28</c:v>
                </c:pt>
                <c:pt idx="7">
                  <c:v>0.54500000000000004</c:v>
                </c:pt>
              </c:numCache>
            </c:numRef>
          </c:yVal>
          <c:bubbleSize>
            <c:numRef>
              <c:f>Sheet1!$C$2:$C$9</c:f>
              <c:numCache>
                <c:formatCode>General</c:formatCode>
                <c:ptCount val="8"/>
                <c:pt idx="0">
                  <c:v>150888</c:v>
                </c:pt>
                <c:pt idx="1">
                  <c:v>111713</c:v>
                </c:pt>
                <c:pt idx="2">
                  <c:v>86281</c:v>
                </c:pt>
                <c:pt idx="3">
                  <c:v>76009</c:v>
                </c:pt>
                <c:pt idx="4">
                  <c:v>74413</c:v>
                </c:pt>
                <c:pt idx="5">
                  <c:v>70235</c:v>
                </c:pt>
                <c:pt idx="6">
                  <c:v>42355</c:v>
                </c:pt>
                <c:pt idx="7">
                  <c:v>19233</c:v>
                </c:pt>
              </c:numCache>
            </c:numRef>
          </c:bubbleSize>
          <c:bubble3D val="0"/>
          <c:extLst>
            <c:ext xmlns:c15="http://schemas.microsoft.com/office/drawing/2012/chart" uri="{02D57815-91ED-43cb-92C2-25804820EDAC}">
              <c15:datalabelsRange>
                <c15:f>Sheet1!$E$2:$E$10</c15:f>
                <c15:dlblRangeCache>
                  <c:ptCount val="9"/>
                  <c:pt idx="0">
                    <c:v>Bottega</c:v>
                  </c:pt>
                  <c:pt idx="1">
                    <c:v>Patriarche</c:v>
                  </c:pt>
                  <c:pt idx="2">
                    <c:v>Savian</c:v>
                  </c:pt>
                  <c:pt idx="3">
                    <c:v>Mure</c:v>
                  </c:pt>
                  <c:pt idx="4">
                    <c:v>Bouvet-Ladubay</c:v>
                  </c:pt>
                  <c:pt idx="5">
                    <c:v>Chateau Moncontour</c:v>
                  </c:pt>
                  <c:pt idx="6">
                    <c:v>De Chanceny</c:v>
                  </c:pt>
                  <c:pt idx="7">
                    <c:v>Kriter</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
          <c:min val="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851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1CEA3F8-429C-4EC0-8E32-8AE1CDEAA7F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9FEC4AF-81A9-4096-A410-C7C77A3A0C4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F2C1DA7-0823-4689-AED8-ECC52892EAA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F43BDC0-4462-48DD-8620-435A3393E94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32CE66E-01C3-45D8-87F8-5425FDCBA7B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522EC72-BC95-44B8-A211-D906B573533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829B049E-36E5-4333-9F02-6D2D8E6C287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868E0FDD-98EC-4404-B891-15606ADF3CB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11.3996</c:v>
                </c:pt>
                <c:pt idx="1">
                  <c:v>12.751099999999999</c:v>
                </c:pt>
                <c:pt idx="2">
                  <c:v>17.6111</c:v>
                </c:pt>
                <c:pt idx="3">
                  <c:v>9.1219000000000001</c:v>
                </c:pt>
                <c:pt idx="4">
                  <c:v>11.9292</c:v>
                </c:pt>
                <c:pt idx="5">
                  <c:v>11.430300000000001</c:v>
                </c:pt>
                <c:pt idx="6">
                  <c:v>13.4643</c:v>
                </c:pt>
                <c:pt idx="7">
                  <c:v>11.543699999999999</c:v>
                </c:pt>
              </c:numCache>
            </c:numRef>
          </c:xVal>
          <c:yVal>
            <c:numRef>
              <c:f>Sheet1!$B$2:$B$9</c:f>
              <c:numCache>
                <c:formatCode>General</c:formatCode>
                <c:ptCount val="8"/>
                <c:pt idx="0">
                  <c:v>1.06</c:v>
                </c:pt>
                <c:pt idx="1">
                  <c:v>1.1859999999999999</c:v>
                </c:pt>
                <c:pt idx="2">
                  <c:v>1.6619999999999999</c:v>
                </c:pt>
                <c:pt idx="3">
                  <c:v>0.84899999999999998</c:v>
                </c:pt>
                <c:pt idx="4">
                  <c:v>1.0469999999999999</c:v>
                </c:pt>
                <c:pt idx="5">
                  <c:v>1.0620000000000001</c:v>
                </c:pt>
                <c:pt idx="6">
                  <c:v>1.25</c:v>
                </c:pt>
                <c:pt idx="7">
                  <c:v>0.89800000000000002</c:v>
                </c:pt>
              </c:numCache>
            </c:numRef>
          </c:yVal>
          <c:bubbleSize>
            <c:numRef>
              <c:f>Sheet1!$C$2:$C$9</c:f>
              <c:numCache>
                <c:formatCode>General</c:formatCode>
                <c:ptCount val="8"/>
                <c:pt idx="0">
                  <c:v>101593</c:v>
                </c:pt>
                <c:pt idx="1">
                  <c:v>99140</c:v>
                </c:pt>
                <c:pt idx="2">
                  <c:v>82244</c:v>
                </c:pt>
                <c:pt idx="3">
                  <c:v>56501</c:v>
                </c:pt>
                <c:pt idx="4">
                  <c:v>55399</c:v>
                </c:pt>
                <c:pt idx="5">
                  <c:v>53231</c:v>
                </c:pt>
                <c:pt idx="6">
                  <c:v>27871</c:v>
                </c:pt>
                <c:pt idx="7">
                  <c:v>17154</c:v>
                </c:pt>
              </c:numCache>
            </c:numRef>
          </c:bubbleSize>
          <c:bubble3D val="0"/>
          <c:extLst>
            <c:ext xmlns:c15="http://schemas.microsoft.com/office/drawing/2012/chart" uri="{02D57815-91ED-43cb-92C2-25804820EDAC}">
              <c15:datalabelsRange>
                <c15:f>Sheet1!$E$2:$E$10</c15:f>
                <c15:dlblRangeCache>
                  <c:ptCount val="9"/>
                  <c:pt idx="0">
                    <c:v>Bottega</c:v>
                  </c:pt>
                  <c:pt idx="1">
                    <c:v>Patriarche</c:v>
                  </c:pt>
                  <c:pt idx="2">
                    <c:v>Mure</c:v>
                  </c:pt>
                  <c:pt idx="3">
                    <c:v>Savian</c:v>
                  </c:pt>
                  <c:pt idx="4">
                    <c:v>Bouvet-Ladubay</c:v>
                  </c:pt>
                  <c:pt idx="5">
                    <c:v>Chateau Moncontour</c:v>
                  </c:pt>
                  <c:pt idx="6">
                    <c:v>De Chanceny</c:v>
                  </c:pt>
                  <c:pt idx="7">
                    <c:v>Contarini</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
          <c:min val="7"/>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861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C49D21A-59BE-4E3D-8615-D139D209A1B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25D6972-12B5-413E-8242-A14C9A378F8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00880E0-EDD8-45F2-AEE3-D61D77ECDC8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C0EEF39-3FC1-4C9C-A8B0-F4825DDCAA2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64FEB55-2166-413C-9083-E974938C79C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1695771-14F2-46EB-8326-2FCDB71C06C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21289DD7-BA1E-4946-82FF-35EE7753CE9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C457F106-82A3-4877-9E70-B0266FD86BB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12.7788</c:v>
                </c:pt>
                <c:pt idx="1">
                  <c:v>17.286000000000001</c:v>
                </c:pt>
                <c:pt idx="2">
                  <c:v>11.5068</c:v>
                </c:pt>
                <c:pt idx="3">
                  <c:v>11.856400000000001</c:v>
                </c:pt>
                <c:pt idx="4">
                  <c:v>11.451700000000001</c:v>
                </c:pt>
                <c:pt idx="5">
                  <c:v>9.1301000000000005</c:v>
                </c:pt>
                <c:pt idx="6">
                  <c:v>5.7043999999999997</c:v>
                </c:pt>
                <c:pt idx="7">
                  <c:v>13.463800000000001</c:v>
                </c:pt>
              </c:numCache>
            </c:numRef>
          </c:xVal>
          <c:yVal>
            <c:numRef>
              <c:f>Sheet1!$B$2:$B$9</c:f>
              <c:numCache>
                <c:formatCode>General</c:formatCode>
                <c:ptCount val="8"/>
                <c:pt idx="0">
                  <c:v>1.206</c:v>
                </c:pt>
                <c:pt idx="1">
                  <c:v>1.671</c:v>
                </c:pt>
                <c:pt idx="2">
                  <c:v>1.0860000000000001</c:v>
                </c:pt>
                <c:pt idx="3">
                  <c:v>1.0509999999999999</c:v>
                </c:pt>
                <c:pt idx="4">
                  <c:v>1.0820000000000001</c:v>
                </c:pt>
                <c:pt idx="5">
                  <c:v>0.86199999999999999</c:v>
                </c:pt>
                <c:pt idx="6">
                  <c:v>0.53800000000000003</c:v>
                </c:pt>
                <c:pt idx="7">
                  <c:v>1.2729999999999999</c:v>
                </c:pt>
              </c:numCache>
            </c:numRef>
          </c:yVal>
          <c:bubbleSize>
            <c:numRef>
              <c:f>Sheet1!$C$2:$C$9</c:f>
              <c:numCache>
                <c:formatCode>General</c:formatCode>
                <c:ptCount val="8"/>
                <c:pt idx="0">
                  <c:v>98192</c:v>
                </c:pt>
                <c:pt idx="1">
                  <c:v>81175</c:v>
                </c:pt>
                <c:pt idx="2">
                  <c:v>77326</c:v>
                </c:pt>
                <c:pt idx="3">
                  <c:v>60420</c:v>
                </c:pt>
                <c:pt idx="4">
                  <c:v>50548</c:v>
                </c:pt>
                <c:pt idx="5">
                  <c:v>44555</c:v>
                </c:pt>
                <c:pt idx="6">
                  <c:v>27997</c:v>
                </c:pt>
                <c:pt idx="7">
                  <c:v>27143</c:v>
                </c:pt>
              </c:numCache>
            </c:numRef>
          </c:bubbleSize>
          <c:bubble3D val="0"/>
          <c:extLst>
            <c:ext xmlns:c15="http://schemas.microsoft.com/office/drawing/2012/chart" uri="{02D57815-91ED-43cb-92C2-25804820EDAC}">
              <c15:datalabelsRange>
                <c15:f>Sheet1!$E$2:$E$10</c15:f>
                <c15:dlblRangeCache>
                  <c:ptCount val="9"/>
                  <c:pt idx="0">
                    <c:v>Patriarche</c:v>
                  </c:pt>
                  <c:pt idx="1">
                    <c:v>Mure</c:v>
                  </c:pt>
                  <c:pt idx="2">
                    <c:v>Bottega</c:v>
                  </c:pt>
                  <c:pt idx="3">
                    <c:v>Bouvet-Ladubay</c:v>
                  </c:pt>
                  <c:pt idx="4">
                    <c:v>Chateau Moncontour</c:v>
                  </c:pt>
                  <c:pt idx="5">
                    <c:v>Savian</c:v>
                  </c:pt>
                  <c:pt idx="6">
                    <c:v>Kriter</c:v>
                  </c:pt>
                  <c:pt idx="7">
                    <c:v>De Chancen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
          <c:min val="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871"/>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5FB0CF2-5963-4383-8585-2729C8F9B58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973A850-D5B7-4834-A9DD-5F48E35EDA6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D542044-BCEB-4216-9627-274209404C5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10D8A4A-AB5E-4BD8-8FC6-F32C5430765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A14658B-4646-4620-BCC3-CB2BF74D52A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495F6D5-5A08-41C0-8ADB-725A09610A8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61426690-DA07-4866-976B-BA5425BED30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4E23C531-3127-4F7B-8262-CD811FD280D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3.5872999999999999</c:v>
                </c:pt>
                <c:pt idx="1">
                  <c:v>3.6678000000000002</c:v>
                </c:pt>
                <c:pt idx="2">
                  <c:v>3.9388000000000001</c:v>
                </c:pt>
                <c:pt idx="3">
                  <c:v>2.9659</c:v>
                </c:pt>
                <c:pt idx="4">
                  <c:v>5.45</c:v>
                </c:pt>
                <c:pt idx="5">
                  <c:v>7.4157999999999999</c:v>
                </c:pt>
                <c:pt idx="6">
                  <c:v>29.135300000000001</c:v>
                </c:pt>
              </c:numCache>
            </c:numRef>
          </c:xVal>
          <c:yVal>
            <c:numRef>
              <c:f>Sheet1!$B$2:$B$8</c:f>
              <c:numCache>
                <c:formatCode>General</c:formatCode>
                <c:ptCount val="7"/>
                <c:pt idx="0">
                  <c:v>0.93100000000000005</c:v>
                </c:pt>
                <c:pt idx="1">
                  <c:v>0.95099999999999996</c:v>
                </c:pt>
                <c:pt idx="2">
                  <c:v>1.0089999999999999</c:v>
                </c:pt>
                <c:pt idx="3">
                  <c:v>0.76900000000000002</c:v>
                </c:pt>
                <c:pt idx="4">
                  <c:v>1.4139999999999999</c:v>
                </c:pt>
                <c:pt idx="5">
                  <c:v>1.9059999999999999</c:v>
                </c:pt>
                <c:pt idx="6">
                  <c:v>7.5529999999999999</c:v>
                </c:pt>
              </c:numCache>
            </c:numRef>
          </c:yVal>
          <c:bubbleSize>
            <c:numRef>
              <c:f>Sheet1!$C$2:$C$8</c:f>
              <c:numCache>
                <c:formatCode>General</c:formatCode>
                <c:ptCount val="7"/>
                <c:pt idx="0">
                  <c:v>8393288</c:v>
                </c:pt>
                <c:pt idx="1">
                  <c:v>5214126</c:v>
                </c:pt>
                <c:pt idx="2">
                  <c:v>4064943</c:v>
                </c:pt>
                <c:pt idx="3">
                  <c:v>2391008</c:v>
                </c:pt>
                <c:pt idx="4">
                  <c:v>1430636</c:v>
                </c:pt>
                <c:pt idx="5">
                  <c:v>436974</c:v>
                </c:pt>
                <c:pt idx="6">
                  <c:v>337562</c:v>
                </c:pt>
              </c:numCache>
            </c:numRef>
          </c:bubbleSize>
          <c:bubble3D val="0"/>
          <c:extLst>
            <c:ext xmlns:c15="http://schemas.microsoft.com/office/drawing/2012/chart" uri="{02D57815-91ED-43cb-92C2-25804820EDAC}">
              <c15:datalabelsRange>
                <c15:f>Sheet1!$E$2:$E$10</c15:f>
                <c15:dlblRangeCache>
                  <c:ptCount val="9"/>
                  <c:pt idx="0">
                    <c:v>D'Artigny</c:v>
                  </c:pt>
                  <c:pt idx="1">
                    <c:v>Festillant</c:v>
                  </c:pt>
                  <c:pt idx="2">
                    <c:v>Petillant De Listel</c:v>
                  </c:pt>
                  <c:pt idx="3">
                    <c:v>Mdd</c:v>
                  </c:pt>
                  <c:pt idx="4">
                    <c:v>Freixenet</c:v>
                  </c:pt>
                  <c:pt idx="5">
                    <c:v>Ackerman</c:v>
                  </c:pt>
                  <c:pt idx="6">
                    <c:v>De Chancen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5"/>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7.7530000000000001"/>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F8ED10B-330E-420E-BFD8-317058C261A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A39FD22-17DE-4850-94E6-F06D5183DDB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FEF26AC9-DE4D-483F-9CDD-6D3600E1B3A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D3601F6C-BA59-461A-8544-3DE4A491DF3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0BA9CEC1-429A-4FE1-A7F8-CDE5905E5F5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5543814E-E919-48EC-B83B-ADDB911E10A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E5FD0FD4-648C-4537-AFE6-0EED9B1A5CE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6649F9AF-6723-4A6C-A8C4-A359A2815FC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29.107099999999999</c:v>
                </c:pt>
                <c:pt idx="1">
                  <c:v>11.3858</c:v>
                </c:pt>
              </c:numCache>
            </c:numRef>
          </c:xVal>
          <c:yVal>
            <c:numRef>
              <c:f>Sheet1!$B$2:$B$3</c:f>
              <c:numCache>
                <c:formatCode>General</c:formatCode>
                <c:ptCount val="2"/>
                <c:pt idx="0">
                  <c:v>1.679</c:v>
                </c:pt>
                <c:pt idx="1">
                  <c:v>0.65800000000000003</c:v>
                </c:pt>
              </c:numCache>
            </c:numRef>
          </c:yVal>
          <c:bubbleSize>
            <c:numRef>
              <c:f>Sheet1!$C$2:$C$3</c:f>
              <c:numCache>
                <c:formatCode>General</c:formatCode>
                <c:ptCount val="2"/>
                <c:pt idx="0">
                  <c:v>322623</c:v>
                </c:pt>
                <c:pt idx="1">
                  <c:v>219371</c:v>
                </c:pt>
              </c:numCache>
            </c:numRef>
          </c:bubbleSize>
          <c:bubble3D val="0"/>
          <c:extLst>
            <c:ext xmlns:c15="http://schemas.microsoft.com/office/drawing/2012/chart" uri="{02D57815-91ED-43cb-92C2-25804820EDAC}">
              <c15:datalabelsRange>
                <c15:f>Sheet1!$E$2:$E$10</c15:f>
                <c15:dlblRangeCache>
                  <c:ptCount val="9"/>
                  <c:pt idx="0">
                    <c:v>De Chanceny</c:v>
                  </c:pt>
                  <c:pt idx="1">
                    <c:v>Lyre'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5"/>
          <c:min val="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87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A5CE3B7-E7A2-4322-8CBA-E92725EF87C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ADD14DE-507F-4B03-B813-A4EB6F165E5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8E60B9C-A781-4DBF-945E-CD39081E516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7883F14-FD6B-4F48-BB36-4AB7387A898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2678249-44E5-4E25-ABB1-92AFF433463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1B159E6-8645-48F4-8BC1-A5C1B646E47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F5F10C03-7D6D-4463-864C-FCD124A3AFD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D9530B6A-489F-4F60-81CA-88665790CF6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3.5872999999999999</c:v>
                </c:pt>
                <c:pt idx="1">
                  <c:v>3.6678000000000002</c:v>
                </c:pt>
                <c:pt idx="2">
                  <c:v>3.9388000000000001</c:v>
                </c:pt>
                <c:pt idx="3">
                  <c:v>2.9659</c:v>
                </c:pt>
                <c:pt idx="4">
                  <c:v>5.45</c:v>
                </c:pt>
                <c:pt idx="5">
                  <c:v>7.4157999999999999</c:v>
                </c:pt>
              </c:numCache>
            </c:numRef>
          </c:xVal>
          <c:yVal>
            <c:numRef>
              <c:f>Sheet1!$B$2:$B$7</c:f>
              <c:numCache>
                <c:formatCode>General</c:formatCode>
                <c:ptCount val="6"/>
                <c:pt idx="0">
                  <c:v>0.95199999999999996</c:v>
                </c:pt>
                <c:pt idx="1">
                  <c:v>0.97199999999999998</c:v>
                </c:pt>
                <c:pt idx="2">
                  <c:v>1.032</c:v>
                </c:pt>
                <c:pt idx="3">
                  <c:v>0.78700000000000003</c:v>
                </c:pt>
                <c:pt idx="4">
                  <c:v>1.446</c:v>
                </c:pt>
                <c:pt idx="5">
                  <c:v>1.9490000000000001</c:v>
                </c:pt>
              </c:numCache>
            </c:numRef>
          </c:yVal>
          <c:bubbleSize>
            <c:numRef>
              <c:f>Sheet1!$C$2:$C$7</c:f>
              <c:numCache>
                <c:formatCode>General</c:formatCode>
                <c:ptCount val="6"/>
                <c:pt idx="0">
                  <c:v>8393288</c:v>
                </c:pt>
                <c:pt idx="1">
                  <c:v>5214126</c:v>
                </c:pt>
                <c:pt idx="2">
                  <c:v>4064943</c:v>
                </c:pt>
                <c:pt idx="3">
                  <c:v>2391008</c:v>
                </c:pt>
                <c:pt idx="4">
                  <c:v>1430636</c:v>
                </c:pt>
                <c:pt idx="5">
                  <c:v>436974</c:v>
                </c:pt>
              </c:numCache>
            </c:numRef>
          </c:bubbleSize>
          <c:bubble3D val="0"/>
          <c:extLst>
            <c:ext xmlns:c15="http://schemas.microsoft.com/office/drawing/2012/chart" uri="{02D57815-91ED-43cb-92C2-25804820EDAC}">
              <c15:datalabelsRange>
                <c15:f>Sheet1!$E$2:$E$10</c15:f>
                <c15:dlblRangeCache>
                  <c:ptCount val="9"/>
                  <c:pt idx="0">
                    <c:v>D'Artigny</c:v>
                  </c:pt>
                  <c:pt idx="1">
                    <c:v>Festillant</c:v>
                  </c:pt>
                  <c:pt idx="2">
                    <c:v>Petillant De Listel</c:v>
                  </c:pt>
                  <c:pt idx="3">
                    <c:v>Mdd</c:v>
                  </c:pt>
                  <c:pt idx="4">
                    <c:v>Freixenet</c:v>
                  </c:pt>
                  <c:pt idx="5">
                    <c:v>Ackerma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9"/>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14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2E91E14-7A67-4699-8FCF-D532524A212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323F07D-92AA-4DE2-9E76-00C9C0BC0C9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4EA5FA02-D562-476D-A139-88338AF6A0D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653F56DB-543C-4C4A-8B33-A27538FDD97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ADCE836E-D6E2-4110-8407-98DD43ED6AF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E14C9A5D-295A-4433-BE67-E586E3FDB78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75A2CA03-D0AF-4366-8D75-82D5E950E54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31B625C1-18FF-4E62-8B87-863B0BDC813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29.026399999999999</c:v>
                </c:pt>
                <c:pt idx="1">
                  <c:v>11.3819</c:v>
                </c:pt>
              </c:numCache>
            </c:numRef>
          </c:xVal>
          <c:yVal>
            <c:numRef>
              <c:f>Sheet1!$B$2:$B$3</c:f>
              <c:numCache>
                <c:formatCode>General</c:formatCode>
                <c:ptCount val="2"/>
                <c:pt idx="0">
                  <c:v>1.68</c:v>
                </c:pt>
                <c:pt idx="1">
                  <c:v>0.65900000000000003</c:v>
                </c:pt>
              </c:numCache>
            </c:numRef>
          </c:yVal>
          <c:bubbleSize>
            <c:numRef>
              <c:f>Sheet1!$C$2:$C$3</c:f>
              <c:numCache>
                <c:formatCode>General</c:formatCode>
                <c:ptCount val="2"/>
                <c:pt idx="0">
                  <c:v>159529</c:v>
                </c:pt>
                <c:pt idx="1">
                  <c:v>109528</c:v>
                </c:pt>
              </c:numCache>
            </c:numRef>
          </c:bubbleSize>
          <c:bubble3D val="0"/>
          <c:extLst>
            <c:ext xmlns:c15="http://schemas.microsoft.com/office/drawing/2012/chart" uri="{02D57815-91ED-43cb-92C2-25804820EDAC}">
              <c15:datalabelsRange>
                <c15:f>Sheet1!$E$2:$E$10</c15:f>
                <c15:dlblRangeCache>
                  <c:ptCount val="9"/>
                  <c:pt idx="0">
                    <c:v>De Chanceny</c:v>
                  </c:pt>
                  <c:pt idx="1">
                    <c:v>Lyre'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5"/>
          <c:min val="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88"/>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D78D9A6-2159-4E85-9815-12FE2FA3529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50857F2-C4AD-4DB4-A613-E61D0D38B6D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AD72226A-C3D5-45A0-AEFB-6F2F5E32DE5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3B2E19B0-4A11-48A1-A598-A0FFCADEC4A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EB93A6E4-C1AA-43D1-B5A8-6D8E5B000C1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982910FA-9888-49B3-AE88-D9EB14BCC6A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26B47CB0-1B85-4455-B36B-3C39AADC9ED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755E21A7-5F21-4456-BD08-124BC84BB49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29.073699999999999</c:v>
                </c:pt>
                <c:pt idx="1">
                  <c:v>11.320499999999999</c:v>
                </c:pt>
              </c:numCache>
            </c:numRef>
          </c:xVal>
          <c:yVal>
            <c:numRef>
              <c:f>Sheet1!$B$2:$B$3</c:f>
              <c:numCache>
                <c:formatCode>General</c:formatCode>
                <c:ptCount val="2"/>
                <c:pt idx="0">
                  <c:v>1.798</c:v>
                </c:pt>
                <c:pt idx="1">
                  <c:v>0.70299999999999996</c:v>
                </c:pt>
              </c:numCache>
            </c:numRef>
          </c:yVal>
          <c:bubbleSize>
            <c:numRef>
              <c:f>Sheet1!$C$2:$C$3</c:f>
              <c:numCache>
                <c:formatCode>General</c:formatCode>
                <c:ptCount val="2"/>
                <c:pt idx="0">
                  <c:v>51664</c:v>
                </c:pt>
                <c:pt idx="1">
                  <c:v>47263</c:v>
                </c:pt>
              </c:numCache>
            </c:numRef>
          </c:bubbleSize>
          <c:bubble3D val="0"/>
          <c:extLst>
            <c:ext xmlns:c15="http://schemas.microsoft.com/office/drawing/2012/chart" uri="{02D57815-91ED-43cb-92C2-25804820EDAC}">
              <c15:datalabelsRange>
                <c15:f>Sheet1!$E$2:$E$10</c15:f>
                <c15:dlblRangeCache>
                  <c:ptCount val="9"/>
                  <c:pt idx="0">
                    <c:v>De Chanceny</c:v>
                  </c:pt>
                  <c:pt idx="1">
                    <c:v>Lyre'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5"/>
          <c:min val="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998"/>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390A8B1-076D-491D-819B-B7CA810A04E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2FA9B56-C860-465D-AEE2-19D80FDDCD7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E4D194C1-A7C8-4716-9820-B67EBF8B878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7DEBA1E0-4770-4B45-BE41-06E2ACE5551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FC9FF256-0EA2-4861-88B0-F246AF6278D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13D94BFC-AA53-4EE9-B0B8-ADFE13CFFFD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87A45BD6-8E78-4750-9F07-9E65B59E744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EF8E8DF5-0C4B-4F90-A108-895C7317426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29.1313</c:v>
                </c:pt>
                <c:pt idx="1">
                  <c:v>11.426500000000001</c:v>
                </c:pt>
              </c:numCache>
            </c:numRef>
          </c:xVal>
          <c:yVal>
            <c:numRef>
              <c:f>Sheet1!$B$2:$B$3</c:f>
              <c:numCache>
                <c:formatCode>General</c:formatCode>
                <c:ptCount val="2"/>
                <c:pt idx="0">
                  <c:v>1.613</c:v>
                </c:pt>
                <c:pt idx="1">
                  <c:v>0.63400000000000001</c:v>
                </c:pt>
              </c:numCache>
            </c:numRef>
          </c:yVal>
          <c:bubbleSize>
            <c:numRef>
              <c:f>Sheet1!$C$2:$C$3</c:f>
              <c:numCache>
                <c:formatCode>General</c:formatCode>
                <c:ptCount val="2"/>
                <c:pt idx="0">
                  <c:v>33268</c:v>
                </c:pt>
                <c:pt idx="1">
                  <c:v>19288</c:v>
                </c:pt>
              </c:numCache>
            </c:numRef>
          </c:bubbleSize>
          <c:bubble3D val="0"/>
          <c:extLst>
            <c:ext xmlns:c15="http://schemas.microsoft.com/office/drawing/2012/chart" uri="{02D57815-91ED-43cb-92C2-25804820EDAC}">
              <c15:datalabelsRange>
                <c15:f>Sheet1!$E$2:$E$10</c15:f>
                <c15:dlblRangeCache>
                  <c:ptCount val="9"/>
                  <c:pt idx="0">
                    <c:v>De Chanceny</c:v>
                  </c:pt>
                  <c:pt idx="1">
                    <c:v>Lyre'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5"/>
          <c:min val="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812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FFF2408B-484D-40C5-99BF-77726B316FA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27D371AB-BC67-4D4D-B83C-E617B312405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D871-46D6-BBFE-7C00E0D51738}"/>
                </c:ext>
              </c:extLst>
            </c:dLbl>
            <c:dLbl>
              <c:idx val="3"/>
              <c:tx>
                <c:rich>
                  <a:bodyPr/>
                  <a:lstStyle/>
                  <a:p>
                    <a:fld id="{28DE2441-B511-47F6-8AB8-991B12901D2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D871-46D6-BBFE-7C00E0D51738}"/>
                </c:ext>
              </c:extLst>
            </c:dLbl>
            <c:dLbl>
              <c:idx val="4"/>
              <c:tx>
                <c:rich>
                  <a:bodyPr/>
                  <a:lstStyle/>
                  <a:p>
                    <a:fld id="{F018CFC9-BEEB-44D0-8510-35616EEDA32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D871-46D6-BBFE-7C00E0D51738}"/>
                </c:ext>
              </c:extLst>
            </c:dLbl>
            <c:dLbl>
              <c:idx val="5"/>
              <c:tx>
                <c:rich>
                  <a:bodyPr/>
                  <a:lstStyle/>
                  <a:p>
                    <a:fld id="{8DAFB6C4-C5B5-487E-9019-7C82CA1ACA6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71-46D6-BBFE-7C00E0D51738}"/>
                </c:ext>
              </c:extLst>
            </c:dLbl>
            <c:dLbl>
              <c:idx val="6"/>
              <c:tx>
                <c:rich>
                  <a:bodyPr/>
                  <a:lstStyle/>
                  <a:p>
                    <a:fld id="{D2D28C28-FEFE-47F6-95B2-19D035E464C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71-46D6-BBFE-7C00E0D51738}"/>
                </c:ext>
              </c:extLst>
            </c:dLbl>
            <c:dLbl>
              <c:idx val="7"/>
              <c:tx>
                <c:rich>
                  <a:bodyPr/>
                  <a:lstStyle/>
                  <a:p>
                    <a:fld id="{22382E7A-D07C-4745-90D8-C284AA76C3D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71-46D6-BBFE-7C00E0D51738}"/>
                </c:ext>
              </c:extLst>
            </c:dLbl>
            <c:dLbl>
              <c:idx val="8"/>
              <c:tx>
                <c:rich>
                  <a:bodyPr/>
                  <a:lstStyle/>
                  <a:p>
                    <a:fld id="{89516FBE-BE84-466E-9F64-895B898458B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29.073699999999999</c:v>
                </c:pt>
                <c:pt idx="1">
                  <c:v>11.320499999999999</c:v>
                </c:pt>
              </c:numCache>
            </c:numRef>
          </c:xVal>
          <c:yVal>
            <c:numRef>
              <c:f>Sheet1!$B$2:$B$3</c:f>
              <c:numCache>
                <c:formatCode>General</c:formatCode>
                <c:ptCount val="2"/>
                <c:pt idx="0">
                  <c:v>1.798</c:v>
                </c:pt>
                <c:pt idx="1">
                  <c:v>0.70299999999999996</c:v>
                </c:pt>
              </c:numCache>
            </c:numRef>
          </c:yVal>
          <c:bubbleSize>
            <c:numRef>
              <c:f>Sheet1!$C$2:$C$3</c:f>
              <c:numCache>
                <c:formatCode>General</c:formatCode>
                <c:ptCount val="2"/>
                <c:pt idx="0">
                  <c:v>51664</c:v>
                </c:pt>
                <c:pt idx="1">
                  <c:v>47263</c:v>
                </c:pt>
              </c:numCache>
            </c:numRef>
          </c:bubbleSize>
          <c:bubble3D val="0"/>
          <c:extLst>
            <c:ext xmlns:c15="http://schemas.microsoft.com/office/drawing/2012/chart" uri="{02D57815-91ED-43cb-92C2-25804820EDAC}">
              <c15:datalabelsRange>
                <c15:f>Sheet1!$E$2:$E$10</c15:f>
                <c15:dlblRangeCache>
                  <c:ptCount val="9"/>
                  <c:pt idx="0">
                    <c:v>De Chanceny</c:v>
                  </c:pt>
                  <c:pt idx="1">
                    <c:v>Lyre's</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5"/>
          <c:min val="9"/>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502EE2E-2CD4-4C6C-B8E9-3C5A4876BEA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4156795-BA12-4AE0-AADC-D3474FD417D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2FA5EE87-A5FE-474D-9A14-FAFD783EBD4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A681DE1B-A6C2-41B1-9D09-D52D0B1B6D6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44CB9FC2-31A4-4BB7-B692-022C5A2E6AC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B5143AFB-70D4-4A7E-94E3-A3AFC9FD47D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652B1EF9-5BBF-42DC-8389-F25130AA4F3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BA8D8DEF-49A7-4149-A0E3-B9AD3E9290C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29.110499999999998</c:v>
                </c:pt>
                <c:pt idx="1">
                  <c:v>11.432700000000001</c:v>
                </c:pt>
              </c:numCache>
            </c:numRef>
          </c:xVal>
          <c:yVal>
            <c:numRef>
              <c:f>Sheet1!$B$2:$B$3</c:f>
              <c:numCache>
                <c:formatCode>General</c:formatCode>
                <c:ptCount val="2"/>
                <c:pt idx="0">
                  <c:v>1.42</c:v>
                </c:pt>
                <c:pt idx="1">
                  <c:v>0.55900000000000005</c:v>
                </c:pt>
              </c:numCache>
            </c:numRef>
          </c:yVal>
          <c:bubbleSize>
            <c:numRef>
              <c:f>Sheet1!$C$2:$C$3</c:f>
              <c:numCache>
                <c:formatCode>General</c:formatCode>
                <c:ptCount val="2"/>
                <c:pt idx="0">
                  <c:v>30304</c:v>
                </c:pt>
                <c:pt idx="1">
                  <c:v>11387</c:v>
                </c:pt>
              </c:numCache>
            </c:numRef>
          </c:bubbleSize>
          <c:bubble3D val="0"/>
          <c:extLst>
            <c:ext xmlns:c15="http://schemas.microsoft.com/office/drawing/2012/chart" uri="{02D57815-91ED-43cb-92C2-25804820EDAC}">
              <c15:datalabelsRange>
                <c15:f>Sheet1!$E$2:$E$10</c15:f>
                <c15:dlblRangeCache>
                  <c:ptCount val="9"/>
                  <c:pt idx="0">
                    <c:v>De Chanceny</c:v>
                  </c:pt>
                  <c:pt idx="1">
                    <c:v>Lyre'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5"/>
          <c:min val="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619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6510CB0-3AB8-4180-BC07-74102E370DF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B7A1968-A226-469C-8C64-2ECE8B067FE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D02A227C-2263-498B-8DE6-A83596A5CF7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D1E63418-591C-4ACF-B028-4790C1B8625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E55FD961-69F8-4706-A440-CBD8A2E2577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56FED8CC-27A3-48D2-B785-15BC86038DD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B3701460-D8D0-4304-9669-08D90E88A9E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E0D19345-9678-4305-BD3C-73C062E561E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29.191199999999998</c:v>
                </c:pt>
                <c:pt idx="1">
                  <c:v>11.3607</c:v>
                </c:pt>
              </c:numCache>
            </c:numRef>
          </c:xVal>
          <c:yVal>
            <c:numRef>
              <c:f>Sheet1!$B$2:$B$3</c:f>
              <c:numCache>
                <c:formatCode>General</c:formatCode>
                <c:ptCount val="2"/>
                <c:pt idx="0">
                  <c:v>1.6819999999999999</c:v>
                </c:pt>
                <c:pt idx="1">
                  <c:v>0.64600000000000002</c:v>
                </c:pt>
              </c:numCache>
            </c:numRef>
          </c:yVal>
          <c:bubbleSize>
            <c:numRef>
              <c:f>Sheet1!$C$2:$C$3</c:f>
              <c:numCache>
                <c:formatCode>General</c:formatCode>
                <c:ptCount val="2"/>
                <c:pt idx="0">
                  <c:v>16493</c:v>
                </c:pt>
                <c:pt idx="1">
                  <c:v>9952</c:v>
                </c:pt>
              </c:numCache>
            </c:numRef>
          </c:bubbleSize>
          <c:bubble3D val="0"/>
          <c:extLst>
            <c:ext xmlns:c15="http://schemas.microsoft.com/office/drawing/2012/chart" uri="{02D57815-91ED-43cb-92C2-25804820EDAC}">
              <c15:datalabelsRange>
                <c15:f>Sheet1!$E$2:$E$10</c15:f>
                <c15:dlblRangeCache>
                  <c:ptCount val="9"/>
                  <c:pt idx="0">
                    <c:v>De Chanceny</c:v>
                  </c:pt>
                  <c:pt idx="1">
                    <c:v>Lyre'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5"/>
          <c:min val="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881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2704728-7125-401F-AC60-9F3877D19D3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96C6F51-FD6C-4CE6-A4C3-42A9EC38D28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ACFF9600-D08D-478D-93E1-6A84F5BF09E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27E9ED21-ABBD-4CD6-809B-04649FE8C57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FB5F806C-BD63-4934-A9ED-CB12B1ABF98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9EE24303-9E20-4CE7-952F-5B8E4E33490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C6CC379B-95D7-4410-B6EF-BA110153181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ED8945B1-8EF3-49A9-949F-12D3913CD3F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29.011900000000001</c:v>
                </c:pt>
                <c:pt idx="1">
                  <c:v>11.3827</c:v>
                </c:pt>
              </c:numCache>
            </c:numRef>
          </c:xVal>
          <c:yVal>
            <c:numRef>
              <c:f>Sheet1!$B$2:$B$3</c:f>
              <c:numCache>
                <c:formatCode>General</c:formatCode>
                <c:ptCount val="2"/>
                <c:pt idx="0">
                  <c:v>1.6539999999999999</c:v>
                </c:pt>
                <c:pt idx="1">
                  <c:v>0.64900000000000002</c:v>
                </c:pt>
              </c:numCache>
            </c:numRef>
          </c:yVal>
          <c:bubbleSize>
            <c:numRef>
              <c:f>Sheet1!$C$2:$C$3</c:f>
              <c:numCache>
                <c:formatCode>General</c:formatCode>
                <c:ptCount val="2"/>
                <c:pt idx="0">
                  <c:v>237317</c:v>
                </c:pt>
                <c:pt idx="1">
                  <c:v>154292</c:v>
                </c:pt>
              </c:numCache>
            </c:numRef>
          </c:bubbleSize>
          <c:bubble3D val="0"/>
          <c:extLst>
            <c:ext xmlns:c15="http://schemas.microsoft.com/office/drawing/2012/chart" uri="{02D57815-91ED-43cb-92C2-25804820EDAC}">
              <c15:datalabelsRange>
                <c15:f>Sheet1!$E$2:$E$10</c15:f>
                <c15:dlblRangeCache>
                  <c:ptCount val="9"/>
                  <c:pt idx="0">
                    <c:v>De Chanceny</c:v>
                  </c:pt>
                  <c:pt idx="1">
                    <c:v>Lyre'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5"/>
          <c:min val="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853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BB3AF5E-FED1-4D82-9848-A82D1C860BE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709B37B-5B87-4A51-836C-0EAAD2731C2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BA0B9767-3B37-4120-869F-ACED0859DE5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1DF6ACCE-23FE-47C1-87EA-B9E895E5898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BA344544-5940-4BCE-8680-975625D5B85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138009AE-D675-4708-A125-4D14B712B9A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96D055B9-8E19-4A5F-B0BA-D8F508A332D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6D91DC7C-BEB6-4AC9-8B57-D450A40E251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29.1084</c:v>
                </c:pt>
                <c:pt idx="1">
                  <c:v>11.2789</c:v>
                </c:pt>
              </c:numCache>
            </c:numRef>
          </c:xVal>
          <c:yVal>
            <c:numRef>
              <c:f>Sheet1!$B$2:$B$3</c:f>
              <c:numCache>
                <c:formatCode>General</c:formatCode>
                <c:ptCount val="2"/>
                <c:pt idx="0">
                  <c:v>1.6479999999999999</c:v>
                </c:pt>
                <c:pt idx="1">
                  <c:v>0.63400000000000001</c:v>
                </c:pt>
              </c:numCache>
            </c:numRef>
          </c:yVal>
          <c:bubbleSize>
            <c:numRef>
              <c:f>Sheet1!$C$2:$C$3</c:f>
              <c:numCache>
                <c:formatCode>General</c:formatCode>
                <c:ptCount val="2"/>
                <c:pt idx="0">
                  <c:v>26576</c:v>
                </c:pt>
                <c:pt idx="1">
                  <c:v>15813</c:v>
                </c:pt>
              </c:numCache>
            </c:numRef>
          </c:bubbleSize>
          <c:bubble3D val="0"/>
          <c:extLst>
            <c:ext xmlns:c15="http://schemas.microsoft.com/office/drawing/2012/chart" uri="{02D57815-91ED-43cb-92C2-25804820EDAC}">
              <c15:datalabelsRange>
                <c15:f>Sheet1!$E$2:$E$10</c15:f>
                <c15:dlblRangeCache>
                  <c:ptCount val="9"/>
                  <c:pt idx="0">
                    <c:v>De Chanceny</c:v>
                  </c:pt>
                  <c:pt idx="1">
                    <c:v>Lyre'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5"/>
          <c:min val="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847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262E594-CE81-482F-A40B-75EA9349AEA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21BC3D7-8D45-42F3-AD98-3359F05AFEC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D3810907-65E5-41A3-8F9D-C78D1567693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19A5A656-6428-4C53-A961-096CB67B771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8E610232-FE01-4E7F-9FD4-437D80EEC44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A61ADBE5-968A-4D08-A511-B84ADCD0C42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3A3EFF19-D79A-4492-9E33-DBF73A747C4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2AC51E6E-6806-4B4E-80D2-4E2579FB54B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29.1648</c:v>
                </c:pt>
                <c:pt idx="1">
                  <c:v>11.4002</c:v>
                </c:pt>
              </c:numCache>
            </c:numRef>
          </c:xVal>
          <c:yVal>
            <c:numRef>
              <c:f>Sheet1!$B$2:$B$3</c:f>
              <c:numCache>
                <c:formatCode>General</c:formatCode>
                <c:ptCount val="2"/>
                <c:pt idx="0">
                  <c:v>1.6870000000000001</c:v>
                </c:pt>
                <c:pt idx="1">
                  <c:v>0.65200000000000002</c:v>
                </c:pt>
              </c:numCache>
            </c:numRef>
          </c:yVal>
          <c:bubbleSize>
            <c:numRef>
              <c:f>Sheet1!$C$2:$C$3</c:f>
              <c:numCache>
                <c:formatCode>General</c:formatCode>
                <c:ptCount val="2"/>
                <c:pt idx="0">
                  <c:v>18403</c:v>
                </c:pt>
                <c:pt idx="1">
                  <c:v>11081</c:v>
                </c:pt>
              </c:numCache>
            </c:numRef>
          </c:bubbleSize>
          <c:bubble3D val="0"/>
          <c:extLst>
            <c:ext xmlns:c15="http://schemas.microsoft.com/office/drawing/2012/chart" uri="{02D57815-91ED-43cb-92C2-25804820EDAC}">
              <c15:datalabelsRange>
                <c15:f>Sheet1!$E$2:$E$10</c15:f>
                <c15:dlblRangeCache>
                  <c:ptCount val="9"/>
                  <c:pt idx="0">
                    <c:v>De Chanceny</c:v>
                  </c:pt>
                  <c:pt idx="1">
                    <c:v>Lyre'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5"/>
          <c:min val="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887"/>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CE9D3C3-0219-4712-BB6D-FB935DEE37A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CF6A1E8-BADD-4BC1-A548-67034B9B09F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8BD74DC1-2699-4924-9B78-C9364D7986E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412F1393-F38F-438C-A09D-F3642ABE2FA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BB17591E-C602-409D-A514-49F4D1ADF06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1FE617D8-05EF-49A8-952D-6A880A75684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C5BEA917-2BE1-409C-B8A6-DD7C0040DFD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41393EFD-B393-4C3B-94B1-B86220CCA9B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29.628900000000002</c:v>
                </c:pt>
                <c:pt idx="1">
                  <c:v>11.506600000000001</c:v>
                </c:pt>
              </c:numCache>
            </c:numRef>
          </c:xVal>
          <c:yVal>
            <c:numRef>
              <c:f>Sheet1!$B$2:$B$3</c:f>
              <c:numCache>
                <c:formatCode>General</c:formatCode>
                <c:ptCount val="2"/>
                <c:pt idx="0">
                  <c:v>1.8049999999999999</c:v>
                </c:pt>
                <c:pt idx="1">
                  <c:v>0.71299999999999997</c:v>
                </c:pt>
              </c:numCache>
            </c:numRef>
          </c:yVal>
          <c:bubbleSize>
            <c:numRef>
              <c:f>Sheet1!$C$2:$C$3</c:f>
              <c:numCache>
                <c:formatCode>General</c:formatCode>
                <c:ptCount val="2"/>
                <c:pt idx="0">
                  <c:v>9422</c:v>
                </c:pt>
                <c:pt idx="1">
                  <c:v>7859</c:v>
                </c:pt>
              </c:numCache>
            </c:numRef>
          </c:bubbleSize>
          <c:bubble3D val="0"/>
          <c:extLst>
            <c:ext xmlns:c15="http://schemas.microsoft.com/office/drawing/2012/chart" uri="{02D57815-91ED-43cb-92C2-25804820EDAC}">
              <c15:datalabelsRange>
                <c15:f>Sheet1!$E$2:$E$10</c15:f>
                <c15:dlblRangeCache>
                  <c:ptCount val="9"/>
                  <c:pt idx="0">
                    <c:v>De Chanceny</c:v>
                  </c:pt>
                  <c:pt idx="1">
                    <c:v>Lyre'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6"/>
          <c:min val="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004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D99CCC4-C1EB-49FB-A6C6-EB565F62B1B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69D676F-EECC-4ACB-8580-0C40BB2548A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C7D37E92-E88E-4A9C-95E9-2CAFA7C1158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96154A28-5043-4FED-84FE-6E6455FEF5A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4A996307-CE08-4AAF-A12B-51B2A6B6877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ACF63F7D-41CC-4914-A4C2-39453CF79BC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DFCE3CC4-05D2-4C97-B1B0-91F45C5744D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857A78AA-FBE4-4D0D-A5DC-B0D4FC7508A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29.984000000000002</c:v>
                </c:pt>
                <c:pt idx="1">
                  <c:v>11.5024</c:v>
                </c:pt>
              </c:numCache>
            </c:numRef>
          </c:xVal>
          <c:yVal>
            <c:numRef>
              <c:f>Sheet1!$B$2:$B$3</c:f>
              <c:numCache>
                <c:formatCode>General</c:formatCode>
                <c:ptCount val="2"/>
                <c:pt idx="0">
                  <c:v>1.706</c:v>
                </c:pt>
                <c:pt idx="1">
                  <c:v>0.68300000000000005</c:v>
                </c:pt>
              </c:numCache>
            </c:numRef>
          </c:yVal>
          <c:bubbleSize>
            <c:numRef>
              <c:f>Sheet1!$C$2:$C$3</c:f>
              <c:numCache>
                <c:formatCode>General</c:formatCode>
                <c:ptCount val="2"/>
                <c:pt idx="0">
                  <c:v>5637</c:v>
                </c:pt>
                <c:pt idx="1">
                  <c:v>4716</c:v>
                </c:pt>
              </c:numCache>
            </c:numRef>
          </c:bubbleSize>
          <c:bubble3D val="0"/>
          <c:extLst>
            <c:ext xmlns:c15="http://schemas.microsoft.com/office/drawing/2012/chart" uri="{02D57815-91ED-43cb-92C2-25804820EDAC}">
              <c15:datalabelsRange>
                <c15:f>Sheet1!$E$2:$E$10</c15:f>
                <c15:dlblRangeCache>
                  <c:ptCount val="9"/>
                  <c:pt idx="0">
                    <c:v>De Chanceny</c:v>
                  </c:pt>
                  <c:pt idx="1">
                    <c:v>Lyre'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6"/>
          <c:min val="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905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E8C0616-3508-4E55-AB54-BA159F3C0A5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44C6D00-F4C8-482B-B784-001E085780E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D4B34AB4-D636-404C-9E89-18A9D31468F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28BD5FEC-6CEB-4E90-A44E-45FC2B9495F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DD7A40F4-02B7-4068-AE98-3E6318E1B71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2E07DAD9-9A16-4E6C-B911-920A73D9196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060B6C36-0AFF-4AF4-9219-10A19ECE969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3FA74CA3-2F2C-406A-B875-DFEB188842B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29.0425</c:v>
                </c:pt>
                <c:pt idx="1">
                  <c:v>11.2257</c:v>
                </c:pt>
              </c:numCache>
            </c:numRef>
          </c:xVal>
          <c:yVal>
            <c:numRef>
              <c:f>Sheet1!$B$2:$B$3</c:f>
              <c:numCache>
                <c:formatCode>General</c:formatCode>
                <c:ptCount val="2"/>
                <c:pt idx="0">
                  <c:v>1.581</c:v>
                </c:pt>
                <c:pt idx="1">
                  <c:v>0.61099999999999999</c:v>
                </c:pt>
              </c:numCache>
            </c:numRef>
          </c:yVal>
          <c:bubbleSize>
            <c:numRef>
              <c:f>Sheet1!$C$2:$C$3</c:f>
              <c:numCache>
                <c:formatCode>General</c:formatCode>
                <c:ptCount val="2"/>
                <c:pt idx="0">
                  <c:v>104553</c:v>
                </c:pt>
                <c:pt idx="1">
                  <c:v>56005</c:v>
                </c:pt>
              </c:numCache>
            </c:numRef>
          </c:bubbleSize>
          <c:bubble3D val="0"/>
          <c:extLst>
            <c:ext xmlns:c15="http://schemas.microsoft.com/office/drawing/2012/chart" uri="{02D57815-91ED-43cb-92C2-25804820EDAC}">
              <c15:datalabelsRange>
                <c15:f>Sheet1!$E$2:$E$10</c15:f>
                <c15:dlblRangeCache>
                  <c:ptCount val="9"/>
                  <c:pt idx="0">
                    <c:v>De Chanceny</c:v>
                  </c:pt>
                  <c:pt idx="1">
                    <c:v>Lyre'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5"/>
          <c:min val="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780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7A1CC6B-F4E0-4AAF-A842-AA776208F3E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1EDCBAD-AD54-4EB4-9B6B-D04A3347115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77A546E2-32B7-47BD-93C9-B6FCB9D2E12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E5DD865F-1E29-42F0-A414-95975436009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9B9898BF-FEDE-436A-AD4E-FF82B07E099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5A397780-36E5-4B0F-A793-380FE5D7F4A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52DEC875-568D-4E0F-90CF-789752D7070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EFBE7FDD-FB76-488F-9708-851204E39FF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29.084499999999998</c:v>
                </c:pt>
                <c:pt idx="1">
                  <c:v>11.353199999999999</c:v>
                </c:pt>
              </c:numCache>
            </c:numRef>
          </c:xVal>
          <c:yVal>
            <c:numRef>
              <c:f>Sheet1!$B$2:$B$3</c:f>
              <c:numCache>
                <c:formatCode>General</c:formatCode>
                <c:ptCount val="2"/>
                <c:pt idx="0">
                  <c:v>1.68</c:v>
                </c:pt>
                <c:pt idx="1">
                  <c:v>0.65600000000000003</c:v>
                </c:pt>
              </c:numCache>
            </c:numRef>
          </c:yVal>
          <c:bubbleSize>
            <c:numRef>
              <c:f>Sheet1!$C$2:$C$3</c:f>
              <c:numCache>
                <c:formatCode>General</c:formatCode>
                <c:ptCount val="2"/>
                <c:pt idx="0">
                  <c:v>46128</c:v>
                </c:pt>
                <c:pt idx="1">
                  <c:v>33594</c:v>
                </c:pt>
              </c:numCache>
            </c:numRef>
          </c:bubbleSize>
          <c:bubble3D val="0"/>
          <c:extLst>
            <c:ext xmlns:c15="http://schemas.microsoft.com/office/drawing/2012/chart" uri="{02D57815-91ED-43cb-92C2-25804820EDAC}">
              <c15:datalabelsRange>
                <c15:f>Sheet1!$E$2:$E$10</c15:f>
                <c15:dlblRangeCache>
                  <c:ptCount val="9"/>
                  <c:pt idx="0">
                    <c:v>De Chanceny</c:v>
                  </c:pt>
                  <c:pt idx="1">
                    <c:v>Lyre'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5"/>
          <c:min val="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88"/>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3C273C3-D903-4194-9E08-68CE88A1178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BD300CD-D0A8-4DD8-829C-977DDD89515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BF5B1E65-B323-4FAB-8EC8-2DBAD8CD454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F19379CC-8F64-4BF5-B3DE-3A787A44AB0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74B3F2DD-0663-4996-80F7-4438E8DE74B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D919A99E-AA43-4B92-83EC-A5A7B1BE5C6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9B8067BA-98B7-4593-9472-112E785D396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70556B73-DBA9-4BEF-B3B8-102ACA032F5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29.0535</c:v>
                </c:pt>
                <c:pt idx="1">
                  <c:v>11.4306</c:v>
                </c:pt>
              </c:numCache>
            </c:numRef>
          </c:xVal>
          <c:yVal>
            <c:numRef>
              <c:f>Sheet1!$B$2:$B$3</c:f>
              <c:numCache>
                <c:formatCode>General</c:formatCode>
                <c:ptCount val="2"/>
                <c:pt idx="0">
                  <c:v>1.665</c:v>
                </c:pt>
                <c:pt idx="1">
                  <c:v>0.65500000000000003</c:v>
                </c:pt>
              </c:numCache>
            </c:numRef>
          </c:yVal>
          <c:bubbleSize>
            <c:numRef>
              <c:f>Sheet1!$C$2:$C$3</c:f>
              <c:numCache>
                <c:formatCode>General</c:formatCode>
                <c:ptCount val="2"/>
                <c:pt idx="0">
                  <c:v>74377</c:v>
                </c:pt>
                <c:pt idx="1">
                  <c:v>47963</c:v>
                </c:pt>
              </c:numCache>
            </c:numRef>
          </c:bubbleSize>
          <c:bubble3D val="0"/>
          <c:extLst>
            <c:ext xmlns:c15="http://schemas.microsoft.com/office/drawing/2012/chart" uri="{02D57815-91ED-43cb-92C2-25804820EDAC}">
              <c15:datalabelsRange>
                <c15:f>Sheet1!$E$2:$E$10</c15:f>
                <c15:dlblRangeCache>
                  <c:ptCount val="9"/>
                  <c:pt idx="0">
                    <c:v>De Chanceny</c:v>
                  </c:pt>
                  <c:pt idx="1">
                    <c:v>Lyre'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5"/>
          <c:min val="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865"/>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B2C5602-B2E3-4C4D-BD7D-A999AF33B4B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8F3168A-668A-47DC-82B9-7BE57B51CB1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6933A13-599F-40A9-A8C2-E527B9861A3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0368591-B198-4C1A-A1C6-E2E07EA2B76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B7B8071-384A-4767-BC91-CEC8EC0D53B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F230961-F665-4CF0-8995-FD64D037DA6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7E05F49-BD67-4A79-BB98-39F155DC33C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C9D6170B-2965-4E3C-849F-814A7D051D5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70.331900000000005</c:v>
                </c:pt>
                <c:pt idx="1">
                  <c:v>23.5243</c:v>
                </c:pt>
                <c:pt idx="2">
                  <c:v>50.431899999999999</c:v>
                </c:pt>
                <c:pt idx="3">
                  <c:v>53.389200000000002</c:v>
                </c:pt>
                <c:pt idx="4">
                  <c:v>31.674299999999999</c:v>
                </c:pt>
                <c:pt idx="5">
                  <c:v>83.896100000000004</c:v>
                </c:pt>
                <c:pt idx="6">
                  <c:v>33.087600000000002</c:v>
                </c:pt>
                <c:pt idx="7">
                  <c:v>56.0105</c:v>
                </c:pt>
              </c:numCache>
            </c:numRef>
          </c:xVal>
          <c:yVal>
            <c:numRef>
              <c:f>Sheet1!$B$2:$B$9</c:f>
              <c:numCache>
                <c:formatCode>General</c:formatCode>
                <c:ptCount val="8"/>
                <c:pt idx="0">
                  <c:v>1.552</c:v>
                </c:pt>
                <c:pt idx="1">
                  <c:v>0.52700000000000002</c:v>
                </c:pt>
                <c:pt idx="2">
                  <c:v>1.111</c:v>
                </c:pt>
                <c:pt idx="3">
                  <c:v>1.0760000000000001</c:v>
                </c:pt>
                <c:pt idx="4">
                  <c:v>0.70399999999999996</c:v>
                </c:pt>
                <c:pt idx="5">
                  <c:v>1.823</c:v>
                </c:pt>
                <c:pt idx="6">
                  <c:v>0.72699999999999998</c:v>
                </c:pt>
                <c:pt idx="7">
                  <c:v>1.1200000000000001</c:v>
                </c:pt>
              </c:numCache>
            </c:numRef>
          </c:yVal>
          <c:bubbleSize>
            <c:numRef>
              <c:f>Sheet1!$C$2:$C$9</c:f>
              <c:numCache>
                <c:formatCode>General</c:formatCode>
                <c:ptCount val="8"/>
                <c:pt idx="0">
                  <c:v>1828137</c:v>
                </c:pt>
                <c:pt idx="1">
                  <c:v>611372</c:v>
                </c:pt>
                <c:pt idx="2">
                  <c:v>586220</c:v>
                </c:pt>
                <c:pt idx="3">
                  <c:v>507304</c:v>
                </c:pt>
                <c:pt idx="4">
                  <c:v>355481</c:v>
                </c:pt>
                <c:pt idx="5">
                  <c:v>287512</c:v>
                </c:pt>
                <c:pt idx="6">
                  <c:v>286936</c:v>
                </c:pt>
                <c:pt idx="7">
                  <c:v>239165</c:v>
                </c:pt>
              </c:numCache>
            </c:numRef>
          </c:bubbleSize>
          <c:bubble3D val="0"/>
          <c:extLst>
            <c:ext xmlns:c15="http://schemas.microsoft.com/office/drawing/2012/chart" uri="{02D57815-91ED-43cb-92C2-25804820EDAC}">
              <c15:datalabelsRange>
                <c15:f>Sheet1!$E$2:$E$10</c15:f>
                <c15:dlblRangeCache>
                  <c:ptCount val="9"/>
                  <c:pt idx="0">
                    <c:v>Ruinart</c:v>
                  </c:pt>
                  <c:pt idx="1">
                    <c:v>Nicolas</c:v>
                  </c:pt>
                  <c:pt idx="2">
                    <c:v>Deutz</c:v>
                  </c:pt>
                  <c:pt idx="3">
                    <c:v>Laurent Perrier</c:v>
                  </c:pt>
                  <c:pt idx="4">
                    <c:v>Malard</c:v>
                  </c:pt>
                  <c:pt idx="5">
                    <c:v>Roederer</c:v>
                  </c:pt>
                  <c:pt idx="6">
                    <c:v>Nicolas Feuillatte</c:v>
                  </c:pt>
                  <c:pt idx="7">
                    <c:v>Taittinger</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01"/>
          <c:min val="19"/>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4C94F1B-0ADD-4BE7-99EF-8D08DE7A102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BA084B7-6F95-4FB3-9CE4-C29516558BA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9D7F8F5F-1A23-4A06-AAEF-DB5A1D29FE6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975A0F5E-2DCE-4721-ADBC-F16F3E18BC1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318B7A5C-C885-45FC-81AE-34604817997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019555D0-34B7-4634-8D65-39E1B245F48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8B90C3E8-0106-4C95-8BCA-FA954DE05B9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CCE0A2FC-7D17-4EF7-B873-D15C49D52EF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29.099299999999999</c:v>
                </c:pt>
                <c:pt idx="1">
                  <c:v>11.4146</c:v>
                </c:pt>
              </c:numCache>
            </c:numRef>
          </c:xVal>
          <c:yVal>
            <c:numRef>
              <c:f>Sheet1!$B$2:$B$3</c:f>
              <c:numCache>
                <c:formatCode>General</c:formatCode>
                <c:ptCount val="2"/>
                <c:pt idx="0">
                  <c:v>1.766</c:v>
                </c:pt>
                <c:pt idx="1">
                  <c:v>0.69199999999999995</c:v>
                </c:pt>
              </c:numCache>
            </c:numRef>
          </c:yVal>
          <c:bubbleSize>
            <c:numRef>
              <c:f>Sheet1!$C$2:$C$3</c:f>
              <c:numCache>
                <c:formatCode>General</c:formatCode>
                <c:ptCount val="2"/>
                <c:pt idx="0">
                  <c:v>52466</c:v>
                </c:pt>
                <c:pt idx="1">
                  <c:v>43330</c:v>
                </c:pt>
              </c:numCache>
            </c:numRef>
          </c:bubbleSize>
          <c:bubble3D val="0"/>
          <c:extLst>
            <c:ext xmlns:c15="http://schemas.microsoft.com/office/drawing/2012/chart" uri="{02D57815-91ED-43cb-92C2-25804820EDAC}">
              <c15:datalabelsRange>
                <c15:f>Sheet1!$E$2:$E$10</c15:f>
                <c15:dlblRangeCache>
                  <c:ptCount val="9"/>
                  <c:pt idx="0">
                    <c:v>De Chanceny</c:v>
                  </c:pt>
                  <c:pt idx="1">
                    <c:v>Lyre'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5"/>
          <c:min val="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966"/>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D82268A-99AD-4A89-ADEE-E377CDB9A49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AFC3F48-4D13-4B05-843A-E9E3D544ED3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5EA6FBF8-6312-43E5-A800-00060BD78D0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0C8E1655-3BBB-4331-8D2D-36E07CC196B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F2BE9E19-1E0B-4A16-AD35-BBB8761AE7F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60945F1D-F29C-4DBC-A463-8F3B6411F0F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6A288C2C-7F59-4E42-92A2-9B27B0DF1CD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C7357E54-D20F-491C-822D-B2A05725EE1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29.068899999999999</c:v>
                </c:pt>
                <c:pt idx="1">
                  <c:v>11.472899999999999</c:v>
                </c:pt>
              </c:numCache>
            </c:numRef>
          </c:xVal>
          <c:yVal>
            <c:numRef>
              <c:f>Sheet1!$B$2:$B$3</c:f>
              <c:numCache>
                <c:formatCode>General</c:formatCode>
                <c:ptCount val="2"/>
                <c:pt idx="0">
                  <c:v>1.8120000000000001</c:v>
                </c:pt>
                <c:pt idx="1">
                  <c:v>0.71499999999999997</c:v>
                </c:pt>
              </c:numCache>
            </c:numRef>
          </c:yVal>
          <c:bubbleSize>
            <c:numRef>
              <c:f>Sheet1!$C$2:$C$3</c:f>
              <c:numCache>
                <c:formatCode>General</c:formatCode>
                <c:ptCount val="2"/>
                <c:pt idx="0">
                  <c:v>45115</c:v>
                </c:pt>
                <c:pt idx="1">
                  <c:v>38503</c:v>
                </c:pt>
              </c:numCache>
            </c:numRef>
          </c:bubbleSize>
          <c:bubble3D val="0"/>
          <c:extLst>
            <c:ext xmlns:c15="http://schemas.microsoft.com/office/drawing/2012/chart" uri="{02D57815-91ED-43cb-92C2-25804820EDAC}">
              <c15:datalabelsRange>
                <c15:f>Sheet1!$E$2:$E$10</c15:f>
                <c15:dlblRangeCache>
                  <c:ptCount val="9"/>
                  <c:pt idx="0">
                    <c:v>De Chanceny</c:v>
                  </c:pt>
                  <c:pt idx="1">
                    <c:v>Lyre'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5"/>
          <c:min val="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012"/>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CD69B6A-B3CC-47A4-9BAA-52EE87EA5AE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6869061-6471-403E-995B-0CAE71CB856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5034FDB-2805-4860-8667-7B423520869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5E7355C-82CE-44FC-BB13-E27E5026617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8F44B85-269D-410D-A5F0-99B37C865E0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093A104-0B4D-4512-9A22-192CDA4DE05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EF1E766-44B1-4DC1-95ED-95D753E05E1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13CBDB10-8DC7-4BE7-8D7E-084B015E584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97.008300000000006</c:v>
                </c:pt>
                <c:pt idx="1">
                  <c:v>30.7135</c:v>
                </c:pt>
                <c:pt idx="2">
                  <c:v>39.392000000000003</c:v>
                </c:pt>
                <c:pt idx="3">
                  <c:v>35.273200000000003</c:v>
                </c:pt>
                <c:pt idx="4">
                  <c:v>57.777700000000003</c:v>
                </c:pt>
                <c:pt idx="5">
                  <c:v>46.685600000000001</c:v>
                </c:pt>
                <c:pt idx="6">
                  <c:v>74.661799999999999</c:v>
                </c:pt>
                <c:pt idx="7">
                  <c:v>53.224699999999999</c:v>
                </c:pt>
              </c:numCache>
            </c:numRef>
          </c:xVal>
          <c:yVal>
            <c:numRef>
              <c:f>Sheet1!$B$2:$B$9</c:f>
              <c:numCache>
                <c:formatCode>General</c:formatCode>
                <c:ptCount val="8"/>
                <c:pt idx="0">
                  <c:v>1.91</c:v>
                </c:pt>
                <c:pt idx="1">
                  <c:v>0.60699999999999998</c:v>
                </c:pt>
                <c:pt idx="2">
                  <c:v>0.81100000000000005</c:v>
                </c:pt>
                <c:pt idx="3">
                  <c:v>0.69699999999999995</c:v>
                </c:pt>
                <c:pt idx="4">
                  <c:v>1.1659999999999999</c:v>
                </c:pt>
                <c:pt idx="5">
                  <c:v>0.92300000000000004</c:v>
                </c:pt>
                <c:pt idx="6">
                  <c:v>1.4530000000000001</c:v>
                </c:pt>
                <c:pt idx="7">
                  <c:v>1.03</c:v>
                </c:pt>
              </c:numCache>
            </c:numRef>
          </c:yVal>
          <c:bubbleSize>
            <c:numRef>
              <c:f>Sheet1!$C$2:$C$9</c:f>
              <c:numCache>
                <c:formatCode>General</c:formatCode>
                <c:ptCount val="8"/>
                <c:pt idx="0">
                  <c:v>7602346</c:v>
                </c:pt>
                <c:pt idx="1">
                  <c:v>5549709</c:v>
                </c:pt>
                <c:pt idx="2">
                  <c:v>534037</c:v>
                </c:pt>
                <c:pt idx="3">
                  <c:v>450509</c:v>
                </c:pt>
                <c:pt idx="4">
                  <c:v>424377</c:v>
                </c:pt>
                <c:pt idx="5">
                  <c:v>277219</c:v>
                </c:pt>
                <c:pt idx="6">
                  <c:v>213010</c:v>
                </c:pt>
                <c:pt idx="7">
                  <c:v>200125</c:v>
                </c:pt>
              </c:numCache>
            </c:numRef>
          </c:bubbleSize>
          <c:bubble3D val="0"/>
          <c:extLst>
            <c:ext xmlns:c15="http://schemas.microsoft.com/office/drawing/2012/chart" uri="{02D57815-91ED-43cb-92C2-25804820EDAC}">
              <c15:datalabelsRange>
                <c15:f>Sheet1!$E$2:$E$10</c15:f>
                <c15:dlblRangeCache>
                  <c:ptCount val="9"/>
                  <c:pt idx="0">
                    <c:v>Ruinart</c:v>
                  </c:pt>
                  <c:pt idx="1">
                    <c:v>Canard Duchêne</c:v>
                  </c:pt>
                  <c:pt idx="2">
                    <c:v>Nicolas</c:v>
                  </c:pt>
                  <c:pt idx="3">
                    <c:v>Malard</c:v>
                  </c:pt>
                  <c:pt idx="4">
                    <c:v>Besserat De Bellefon</c:v>
                  </c:pt>
                  <c:pt idx="5">
                    <c:v>Henriot</c:v>
                  </c:pt>
                  <c:pt idx="6">
                    <c:v>Ayala</c:v>
                  </c:pt>
                  <c:pt idx="7">
                    <c:v>Delamott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16"/>
          <c:min val="2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11"/>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86783CE-CDDF-4EAA-9C77-7AA4046DBE0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A82B6CE-4F29-46A0-B226-950877A2800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7710868-E96B-483B-A0CF-F65F029AFC5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47029F4-13A9-4A32-8218-1A61B8D2789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468BCE6-CEB9-41EB-93D4-910E8EDA938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2FFAB33-8FFE-4EB2-B160-C5FBA7F1EF2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E2E892A9-D404-4CA9-BC38-277C7652B28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65974119-15F1-4589-A3D4-9948266B6A4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98.226200000000006</c:v>
                </c:pt>
                <c:pt idx="1">
                  <c:v>39.809199999999997</c:v>
                </c:pt>
                <c:pt idx="2">
                  <c:v>35.308900000000001</c:v>
                </c:pt>
                <c:pt idx="3">
                  <c:v>59.295900000000003</c:v>
                </c:pt>
                <c:pt idx="4">
                  <c:v>46.989800000000002</c:v>
                </c:pt>
                <c:pt idx="5">
                  <c:v>53.581299999999999</c:v>
                </c:pt>
                <c:pt idx="6">
                  <c:v>37.996200000000002</c:v>
                </c:pt>
                <c:pt idx="7">
                  <c:v>76.687899999999999</c:v>
                </c:pt>
              </c:numCache>
            </c:numRef>
          </c:xVal>
          <c:yVal>
            <c:numRef>
              <c:f>Sheet1!$B$2:$B$9</c:f>
              <c:numCache>
                <c:formatCode>General</c:formatCode>
                <c:ptCount val="8"/>
                <c:pt idx="0">
                  <c:v>1.3380000000000001</c:v>
                </c:pt>
                <c:pt idx="1">
                  <c:v>0.56200000000000006</c:v>
                </c:pt>
                <c:pt idx="2">
                  <c:v>0.48299999999999998</c:v>
                </c:pt>
                <c:pt idx="3">
                  <c:v>0.84799999999999998</c:v>
                </c:pt>
                <c:pt idx="4">
                  <c:v>0.63400000000000001</c:v>
                </c:pt>
                <c:pt idx="5">
                  <c:v>0.71599999999999997</c:v>
                </c:pt>
                <c:pt idx="6">
                  <c:v>0.51500000000000001</c:v>
                </c:pt>
                <c:pt idx="7">
                  <c:v>1.0169999999999999</c:v>
                </c:pt>
              </c:numCache>
            </c:numRef>
          </c:yVal>
          <c:bubbleSize>
            <c:numRef>
              <c:f>Sheet1!$C$2:$C$9</c:f>
              <c:numCache>
                <c:formatCode>General</c:formatCode>
                <c:ptCount val="8"/>
                <c:pt idx="0">
                  <c:v>5308144</c:v>
                </c:pt>
                <c:pt idx="1">
                  <c:v>534199</c:v>
                </c:pt>
                <c:pt idx="2">
                  <c:v>450506</c:v>
                </c:pt>
                <c:pt idx="3">
                  <c:v>311422</c:v>
                </c:pt>
                <c:pt idx="4">
                  <c:v>267278</c:v>
                </c:pt>
                <c:pt idx="5">
                  <c:v>198465</c:v>
                </c:pt>
                <c:pt idx="6">
                  <c:v>181508</c:v>
                </c:pt>
                <c:pt idx="7">
                  <c:v>161198</c:v>
                </c:pt>
              </c:numCache>
            </c:numRef>
          </c:bubbleSize>
          <c:bubble3D val="0"/>
          <c:extLst>
            <c:ext xmlns:c15="http://schemas.microsoft.com/office/drawing/2012/chart" uri="{02D57815-91ED-43cb-92C2-25804820EDAC}">
              <c15:datalabelsRange>
                <c15:f>Sheet1!$E$2:$E$10</c15:f>
                <c15:dlblRangeCache>
                  <c:ptCount val="9"/>
                  <c:pt idx="0">
                    <c:v>Ruinart</c:v>
                  </c:pt>
                  <c:pt idx="1">
                    <c:v>Nicolas</c:v>
                  </c:pt>
                  <c:pt idx="2">
                    <c:v>Malard</c:v>
                  </c:pt>
                  <c:pt idx="3">
                    <c:v>Besserat De Bellefon</c:v>
                  </c:pt>
                  <c:pt idx="4">
                    <c:v>Henriot</c:v>
                  </c:pt>
                  <c:pt idx="5">
                    <c:v>Delamotte</c:v>
                  </c:pt>
                  <c:pt idx="6">
                    <c:v>De Bligny</c:v>
                  </c:pt>
                  <c:pt idx="7">
                    <c:v>Ayala</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18"/>
          <c:min val="2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38"/>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5A3B173-498E-458C-BA27-18B6882EA05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29D4DDA-9CD2-4E73-BB38-2D7075A4C90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19FDB43-87DC-443C-8908-96541ADE3AA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D72A9470-E045-4256-AC2C-6E350109282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C39B06BB-920D-463F-9071-FBBD9ACB1BD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BDF3ABB3-6B8C-4046-B535-5A271D9B055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9685C5E4-C90C-4E63-866B-A6EA29B0E03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81EF800F-D738-4660-9D94-2EE743406B1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30.7121</c:v>
                </c:pt>
                <c:pt idx="1">
                  <c:v>94.948400000000007</c:v>
                </c:pt>
                <c:pt idx="2">
                  <c:v>55.431899999999999</c:v>
                </c:pt>
              </c:numCache>
            </c:numRef>
          </c:xVal>
          <c:yVal>
            <c:numRef>
              <c:f>Sheet1!$B$2:$B$4</c:f>
              <c:numCache>
                <c:formatCode>General</c:formatCode>
                <c:ptCount val="3"/>
                <c:pt idx="0">
                  <c:v>0.79300000000000004</c:v>
                </c:pt>
                <c:pt idx="1">
                  <c:v>2.4390000000000001</c:v>
                </c:pt>
                <c:pt idx="2">
                  <c:v>1.4</c:v>
                </c:pt>
              </c:numCache>
            </c:numRef>
          </c:yVal>
          <c:bubbleSize>
            <c:numRef>
              <c:f>Sheet1!$C$2:$C$4</c:f>
              <c:numCache>
                <c:formatCode>General</c:formatCode>
                <c:ptCount val="3"/>
                <c:pt idx="0">
                  <c:v>5549099</c:v>
                </c:pt>
                <c:pt idx="1">
                  <c:v>2308385</c:v>
                </c:pt>
                <c:pt idx="2">
                  <c:v>113081</c:v>
                </c:pt>
              </c:numCache>
            </c:numRef>
          </c:bubbleSize>
          <c:bubble3D val="0"/>
          <c:extLst>
            <c:ext xmlns:c15="http://schemas.microsoft.com/office/drawing/2012/chart" uri="{02D57815-91ED-43cb-92C2-25804820EDAC}">
              <c15:datalabelsRange>
                <c15:f>Sheet1!$E$2:$E$10</c15:f>
                <c15:dlblRangeCache>
                  <c:ptCount val="9"/>
                  <c:pt idx="0">
                    <c:v>Canard Duchêne</c:v>
                  </c:pt>
                  <c:pt idx="1">
                    <c:v>Ruinart</c:v>
                  </c:pt>
                  <c:pt idx="2">
                    <c:v>Besserat De Bellefo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14"/>
          <c:min val="2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6390000000000002"/>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0573FD9-BDED-4585-A179-3A7004AC0CF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E355489-0284-4928-A698-E0AC7D8083F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9D54023-B043-478E-9B1F-8E4DC25DD19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903D518-745C-4EE9-9D41-051C130FB71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038E4B1-4131-4588-83A9-9382D6C40EA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60390A1-A117-478C-8173-784BFDF8648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253D127-E2AE-468C-9AF4-8F1E5AF0198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AC43E0A3-CD3B-416E-80B7-96427CF548D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98.609899999999996</c:v>
                </c:pt>
                <c:pt idx="1">
                  <c:v>39.417499999999997</c:v>
                </c:pt>
                <c:pt idx="2">
                  <c:v>35.276000000000003</c:v>
                </c:pt>
                <c:pt idx="3">
                  <c:v>46.558799999999998</c:v>
                </c:pt>
                <c:pt idx="4">
                  <c:v>59.063800000000001</c:v>
                </c:pt>
                <c:pt idx="5">
                  <c:v>52.780999999999999</c:v>
                </c:pt>
                <c:pt idx="6">
                  <c:v>37.8521</c:v>
                </c:pt>
                <c:pt idx="7">
                  <c:v>75.428600000000003</c:v>
                </c:pt>
              </c:numCache>
            </c:numRef>
          </c:xVal>
          <c:yVal>
            <c:numRef>
              <c:f>Sheet1!$B$2:$B$9</c:f>
              <c:numCache>
                <c:formatCode>General</c:formatCode>
                <c:ptCount val="8"/>
                <c:pt idx="0">
                  <c:v>1.4019999999999999</c:v>
                </c:pt>
                <c:pt idx="1">
                  <c:v>0.58299999999999996</c:v>
                </c:pt>
                <c:pt idx="2">
                  <c:v>0.504</c:v>
                </c:pt>
                <c:pt idx="3">
                  <c:v>0.66500000000000004</c:v>
                </c:pt>
                <c:pt idx="4">
                  <c:v>0.88300000000000001</c:v>
                </c:pt>
                <c:pt idx="5">
                  <c:v>0.75</c:v>
                </c:pt>
                <c:pt idx="6">
                  <c:v>0.54100000000000004</c:v>
                </c:pt>
                <c:pt idx="7">
                  <c:v>1.071</c:v>
                </c:pt>
              </c:numCache>
            </c:numRef>
          </c:yVal>
          <c:bubbleSize>
            <c:numRef>
              <c:f>Sheet1!$C$2:$C$9</c:f>
              <c:numCache>
                <c:formatCode>General</c:formatCode>
                <c:ptCount val="8"/>
                <c:pt idx="0">
                  <c:v>1705852</c:v>
                </c:pt>
                <c:pt idx="1">
                  <c:v>231105</c:v>
                </c:pt>
                <c:pt idx="2">
                  <c:v>202096</c:v>
                </c:pt>
                <c:pt idx="3">
                  <c:v>117654</c:v>
                </c:pt>
                <c:pt idx="4">
                  <c:v>108323</c:v>
                </c:pt>
                <c:pt idx="5">
                  <c:v>81230</c:v>
                </c:pt>
                <c:pt idx="6">
                  <c:v>76802</c:v>
                </c:pt>
                <c:pt idx="7">
                  <c:v>62304</c:v>
                </c:pt>
              </c:numCache>
            </c:numRef>
          </c:bubbleSize>
          <c:bubble3D val="0"/>
          <c:extLst>
            <c:ext xmlns:c15="http://schemas.microsoft.com/office/drawing/2012/chart" uri="{02D57815-91ED-43cb-92C2-25804820EDAC}">
              <c15:datalabelsRange>
                <c15:f>Sheet1!$E$2:$E$10</c15:f>
                <c15:dlblRangeCache>
                  <c:ptCount val="9"/>
                  <c:pt idx="0">
                    <c:v>Ruinart</c:v>
                  </c:pt>
                  <c:pt idx="1">
                    <c:v>Nicolas</c:v>
                  </c:pt>
                  <c:pt idx="2">
                    <c:v>Malard</c:v>
                  </c:pt>
                  <c:pt idx="3">
                    <c:v>Henriot</c:v>
                  </c:pt>
                  <c:pt idx="4">
                    <c:v>Besserat De Bellefon</c:v>
                  </c:pt>
                  <c:pt idx="5">
                    <c:v>Delamotte</c:v>
                  </c:pt>
                  <c:pt idx="6">
                    <c:v>De Bligny</c:v>
                  </c:pt>
                  <c:pt idx="7">
                    <c:v>Ayala</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18"/>
          <c:min val="2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601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5ADA7A5-7937-43A2-A69F-08150445217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90FAC9D-69FE-4AF2-88A6-55648370332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3AC18DE-415C-42A2-907A-EA1DCF1FC7D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95AA81C-58B6-4E12-B033-0A6062A519F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FBD0293-A1D9-4277-8F8D-4B8E13A69B4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30F70DB-3A56-483F-B118-F546077242F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EEFD7B49-7AB3-4ED8-B74C-5E33931C2D0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4F8B57B1-E753-4298-94C6-5BBE434A483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99.5625</c:v>
                </c:pt>
                <c:pt idx="1">
                  <c:v>39.718200000000003</c:v>
                </c:pt>
                <c:pt idx="2">
                  <c:v>35.055900000000001</c:v>
                </c:pt>
                <c:pt idx="3">
                  <c:v>59.2517</c:v>
                </c:pt>
                <c:pt idx="4">
                  <c:v>46.262700000000002</c:v>
                </c:pt>
                <c:pt idx="5">
                  <c:v>37.4221</c:v>
                </c:pt>
                <c:pt idx="6">
                  <c:v>76.025499999999994</c:v>
                </c:pt>
                <c:pt idx="7">
                  <c:v>53.0809</c:v>
                </c:pt>
              </c:numCache>
            </c:numRef>
          </c:xVal>
          <c:yVal>
            <c:numRef>
              <c:f>Sheet1!$B$2:$B$9</c:f>
              <c:numCache>
                <c:formatCode>General</c:formatCode>
                <c:ptCount val="8"/>
                <c:pt idx="0">
                  <c:v>1.4490000000000001</c:v>
                </c:pt>
                <c:pt idx="1">
                  <c:v>0.60499999999999998</c:v>
                </c:pt>
                <c:pt idx="2">
                  <c:v>0.52100000000000002</c:v>
                </c:pt>
                <c:pt idx="3">
                  <c:v>0.90900000000000003</c:v>
                </c:pt>
                <c:pt idx="4">
                  <c:v>0.68500000000000005</c:v>
                </c:pt>
                <c:pt idx="5">
                  <c:v>0.55500000000000005</c:v>
                </c:pt>
                <c:pt idx="6">
                  <c:v>1.1120000000000001</c:v>
                </c:pt>
                <c:pt idx="7">
                  <c:v>0.78800000000000003</c:v>
                </c:pt>
              </c:numCache>
            </c:numRef>
          </c:yVal>
          <c:bubbleSize>
            <c:numRef>
              <c:f>Sheet1!$C$2:$C$9</c:f>
              <c:numCache>
                <c:formatCode>General</c:formatCode>
                <c:ptCount val="8"/>
                <c:pt idx="0">
                  <c:v>1082244</c:v>
                </c:pt>
                <c:pt idx="1">
                  <c:v>126423</c:v>
                </c:pt>
                <c:pt idx="2">
                  <c:v>94651</c:v>
                </c:pt>
                <c:pt idx="3">
                  <c:v>79812</c:v>
                </c:pt>
                <c:pt idx="4">
                  <c:v>59355</c:v>
                </c:pt>
                <c:pt idx="5">
                  <c:v>46104</c:v>
                </c:pt>
                <c:pt idx="6">
                  <c:v>38697</c:v>
                </c:pt>
                <c:pt idx="7">
                  <c:v>34768</c:v>
                </c:pt>
              </c:numCache>
            </c:numRef>
          </c:bubbleSize>
          <c:bubble3D val="0"/>
          <c:extLst>
            <c:ext xmlns:c15="http://schemas.microsoft.com/office/drawing/2012/chart" uri="{02D57815-91ED-43cb-92C2-25804820EDAC}">
              <c15:datalabelsRange>
                <c15:f>Sheet1!$E$2:$E$10</c15:f>
                <c15:dlblRangeCache>
                  <c:ptCount val="9"/>
                  <c:pt idx="0">
                    <c:v>Ruinart</c:v>
                  </c:pt>
                  <c:pt idx="1">
                    <c:v>Nicolas</c:v>
                  </c:pt>
                  <c:pt idx="2">
                    <c:v>Malard</c:v>
                  </c:pt>
                  <c:pt idx="3">
                    <c:v>Besserat De Bellefon</c:v>
                  </c:pt>
                  <c:pt idx="4">
                    <c:v>Henriot</c:v>
                  </c:pt>
                  <c:pt idx="5">
                    <c:v>De Bligny</c:v>
                  </c:pt>
                  <c:pt idx="6">
                    <c:v>Ayala</c:v>
                  </c:pt>
                  <c:pt idx="7">
                    <c:v>Delamott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19"/>
          <c:min val="2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64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00D8875-603D-49C6-B3D6-FE7A8E9EE20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A2A99D9-E5D2-430F-97CD-BC839A9B3BD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E01BDD7-EA31-424A-8D71-4D337BEB3D8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6752D0B-0B1E-4A87-A637-E0D6630C42D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8951D97-D9F9-40AC-A20E-EF636967D29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01C106D-2F34-4227-8142-34050543368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722B56DC-AB34-4848-9921-0DE2E26CB5E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63D9EA6A-BAAE-4318-A4C1-3EABAAAA95A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97.828900000000004</c:v>
                </c:pt>
                <c:pt idx="1">
                  <c:v>39.487299999999998</c:v>
                </c:pt>
                <c:pt idx="2">
                  <c:v>35.456499999999998</c:v>
                </c:pt>
                <c:pt idx="3">
                  <c:v>47.334800000000001</c:v>
                </c:pt>
                <c:pt idx="4">
                  <c:v>54.0471</c:v>
                </c:pt>
                <c:pt idx="5">
                  <c:v>58.458399999999997</c:v>
                </c:pt>
                <c:pt idx="6">
                  <c:v>273.92469999999997</c:v>
                </c:pt>
                <c:pt idx="7">
                  <c:v>266.5926</c:v>
                </c:pt>
              </c:numCache>
            </c:numRef>
          </c:xVal>
          <c:yVal>
            <c:numRef>
              <c:f>Sheet1!$B$2:$B$9</c:f>
              <c:numCache>
                <c:formatCode>General</c:formatCode>
                <c:ptCount val="8"/>
                <c:pt idx="0">
                  <c:v>1.2370000000000001</c:v>
                </c:pt>
                <c:pt idx="1">
                  <c:v>0.53</c:v>
                </c:pt>
                <c:pt idx="2">
                  <c:v>0.44900000000000001</c:v>
                </c:pt>
                <c:pt idx="3">
                  <c:v>0.59299999999999997</c:v>
                </c:pt>
                <c:pt idx="4">
                  <c:v>0.67200000000000004</c:v>
                </c:pt>
                <c:pt idx="5">
                  <c:v>0.79500000000000004</c:v>
                </c:pt>
                <c:pt idx="6">
                  <c:v>3.0190000000000001</c:v>
                </c:pt>
                <c:pt idx="7">
                  <c:v>2.625</c:v>
                </c:pt>
              </c:numCache>
            </c:numRef>
          </c:yVal>
          <c:bubbleSize>
            <c:numRef>
              <c:f>Sheet1!$C$2:$C$9</c:f>
              <c:numCache>
                <c:formatCode>General</c:formatCode>
                <c:ptCount val="8"/>
                <c:pt idx="0">
                  <c:v>649486</c:v>
                </c:pt>
                <c:pt idx="1">
                  <c:v>48214</c:v>
                </c:pt>
                <c:pt idx="2">
                  <c:v>45668</c:v>
                </c:pt>
                <c:pt idx="3">
                  <c:v>32235</c:v>
                </c:pt>
                <c:pt idx="4">
                  <c:v>32158</c:v>
                </c:pt>
                <c:pt idx="5">
                  <c:v>31626</c:v>
                </c:pt>
                <c:pt idx="6">
                  <c:v>25475</c:v>
                </c:pt>
                <c:pt idx="7">
                  <c:v>21594</c:v>
                </c:pt>
              </c:numCache>
            </c:numRef>
          </c:bubbleSize>
          <c:bubble3D val="0"/>
          <c:extLst>
            <c:ext xmlns:c15="http://schemas.microsoft.com/office/drawing/2012/chart" uri="{02D57815-91ED-43cb-92C2-25804820EDAC}">
              <c15:datalabelsRange>
                <c15:f>Sheet1!$E$2:$E$10</c15:f>
                <c15:dlblRangeCache>
                  <c:ptCount val="9"/>
                  <c:pt idx="0">
                    <c:v>Ruinart</c:v>
                  </c:pt>
                  <c:pt idx="1">
                    <c:v>Nicolas</c:v>
                  </c:pt>
                  <c:pt idx="2">
                    <c:v>Malard</c:v>
                  </c:pt>
                  <c:pt idx="3">
                    <c:v>Henriot</c:v>
                  </c:pt>
                  <c:pt idx="4">
                    <c:v>Delamotte</c:v>
                  </c:pt>
                  <c:pt idx="5">
                    <c:v>Besserat De Bellefon</c:v>
                  </c:pt>
                  <c:pt idx="6">
                    <c:v>Taittinger</c:v>
                  </c:pt>
                  <c:pt idx="7">
                    <c:v>Deutz</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29"/>
          <c:min val="2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3.2190000000000003"/>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7A10BC1-2FC6-4163-ADBB-6F240175E81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0246BF1-8206-4497-B924-58164D2629A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3524354-4391-4C5E-81B0-2010645C76B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4FF3A35-E662-4158-A97A-F071BA90FEB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AEDB330-356C-40C3-8DE6-316CBEE0D9F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A95E842-026D-4D67-B8C6-44404493C8F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28937C9-27A9-4A23-A666-A485A1EB9F0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656E5D2F-DDD2-49E0-AAA5-4CB70C2B2D7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96.436099999999996</c:v>
                </c:pt>
                <c:pt idx="1">
                  <c:v>38.432400000000001</c:v>
                </c:pt>
                <c:pt idx="2">
                  <c:v>84.719300000000004</c:v>
                </c:pt>
                <c:pt idx="3">
                  <c:v>35.465499999999999</c:v>
                </c:pt>
                <c:pt idx="4">
                  <c:v>47.244599999999998</c:v>
                </c:pt>
                <c:pt idx="5">
                  <c:v>59.281199999999998</c:v>
                </c:pt>
                <c:pt idx="6">
                  <c:v>52.890099999999997</c:v>
                </c:pt>
                <c:pt idx="7">
                  <c:v>185.72460000000001</c:v>
                </c:pt>
              </c:numCache>
            </c:numRef>
          </c:xVal>
          <c:yVal>
            <c:numRef>
              <c:f>Sheet1!$B$2:$B$9</c:f>
              <c:numCache>
                <c:formatCode>General</c:formatCode>
                <c:ptCount val="8"/>
                <c:pt idx="0">
                  <c:v>1.151</c:v>
                </c:pt>
                <c:pt idx="1">
                  <c:v>0.497</c:v>
                </c:pt>
                <c:pt idx="2">
                  <c:v>0.997</c:v>
                </c:pt>
                <c:pt idx="3">
                  <c:v>0.42599999999999999</c:v>
                </c:pt>
                <c:pt idx="4">
                  <c:v>0.55700000000000005</c:v>
                </c:pt>
                <c:pt idx="5">
                  <c:v>0.76100000000000001</c:v>
                </c:pt>
                <c:pt idx="6">
                  <c:v>0.624</c:v>
                </c:pt>
                <c:pt idx="7">
                  <c:v>2.1640000000000001</c:v>
                </c:pt>
              </c:numCache>
            </c:numRef>
          </c:yVal>
          <c:bubbleSize>
            <c:numRef>
              <c:f>Sheet1!$C$2:$C$9</c:f>
              <c:numCache>
                <c:formatCode>General</c:formatCode>
                <c:ptCount val="8"/>
                <c:pt idx="0">
                  <c:v>745644</c:v>
                </c:pt>
                <c:pt idx="1">
                  <c:v>32706</c:v>
                </c:pt>
                <c:pt idx="2">
                  <c:v>31092</c:v>
                </c:pt>
                <c:pt idx="3">
                  <c:v>28798</c:v>
                </c:pt>
                <c:pt idx="4">
                  <c:v>24142</c:v>
                </c:pt>
                <c:pt idx="5">
                  <c:v>22349</c:v>
                </c:pt>
                <c:pt idx="6">
                  <c:v>14915</c:v>
                </c:pt>
                <c:pt idx="7">
                  <c:v>12815</c:v>
                </c:pt>
              </c:numCache>
            </c:numRef>
          </c:bubbleSize>
          <c:bubble3D val="0"/>
          <c:extLst>
            <c:ext xmlns:c15="http://schemas.microsoft.com/office/drawing/2012/chart" uri="{02D57815-91ED-43cb-92C2-25804820EDAC}">
              <c15:datalabelsRange>
                <c15:f>Sheet1!$E$2:$E$10</c15:f>
                <c15:dlblRangeCache>
                  <c:ptCount val="9"/>
                  <c:pt idx="0">
                    <c:v>Ruinart</c:v>
                  </c:pt>
                  <c:pt idx="1">
                    <c:v>Nicolas</c:v>
                  </c:pt>
                  <c:pt idx="2">
                    <c:v>Perrier Jouet</c:v>
                  </c:pt>
                  <c:pt idx="3">
                    <c:v>Malard</c:v>
                  </c:pt>
                  <c:pt idx="4">
                    <c:v>Henriot</c:v>
                  </c:pt>
                  <c:pt idx="5">
                    <c:v>Besserat De Bellefon</c:v>
                  </c:pt>
                  <c:pt idx="6">
                    <c:v>Delamotte</c:v>
                  </c:pt>
                  <c:pt idx="7">
                    <c:v>Deutz</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23"/>
          <c:min val="2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3640000000000003"/>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BE5EFC4-BBBB-4A26-993B-522EB198F65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0509267-CB95-4E10-8401-CFE852BD222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5401C25-AAAC-4CE3-8044-ED7CEFE76CD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CAA1ED4-AE94-4082-8C47-A161AC157FE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C989FEF-31ED-4935-9224-55113A07763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63700A9-2089-4BF0-9100-52BEE772765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7C0A417B-B870-4306-9827-B49FEBD569A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C020E785-31EB-4B55-A7CA-2C2B0E37C13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92.375500000000002</c:v>
                </c:pt>
                <c:pt idx="1">
                  <c:v>42.073</c:v>
                </c:pt>
                <c:pt idx="2">
                  <c:v>35.363399999999999</c:v>
                </c:pt>
                <c:pt idx="3">
                  <c:v>60.463999999999999</c:v>
                </c:pt>
                <c:pt idx="4">
                  <c:v>78.006</c:v>
                </c:pt>
                <c:pt idx="5">
                  <c:v>183.55930000000001</c:v>
                </c:pt>
                <c:pt idx="6">
                  <c:v>72.110299999999995</c:v>
                </c:pt>
                <c:pt idx="7">
                  <c:v>48.165100000000002</c:v>
                </c:pt>
              </c:numCache>
            </c:numRef>
          </c:xVal>
          <c:yVal>
            <c:numRef>
              <c:f>Sheet1!$B$2:$B$9</c:f>
              <c:numCache>
                <c:formatCode>General</c:formatCode>
                <c:ptCount val="8"/>
                <c:pt idx="0">
                  <c:v>1.23</c:v>
                </c:pt>
                <c:pt idx="1">
                  <c:v>0.52600000000000002</c:v>
                </c:pt>
                <c:pt idx="2">
                  <c:v>0.44400000000000001</c:v>
                </c:pt>
                <c:pt idx="3">
                  <c:v>0.80200000000000005</c:v>
                </c:pt>
                <c:pt idx="4">
                  <c:v>0.94399999999999995</c:v>
                </c:pt>
                <c:pt idx="5">
                  <c:v>2.2999999999999998</c:v>
                </c:pt>
                <c:pt idx="6">
                  <c:v>0.85</c:v>
                </c:pt>
                <c:pt idx="7">
                  <c:v>0.58499999999999996</c:v>
                </c:pt>
              </c:numCache>
            </c:numRef>
          </c:yVal>
          <c:bubbleSize>
            <c:numRef>
              <c:f>Sheet1!$C$2:$C$9</c:f>
              <c:numCache>
                <c:formatCode>General</c:formatCode>
                <c:ptCount val="8"/>
                <c:pt idx="0">
                  <c:v>432687</c:v>
                </c:pt>
                <c:pt idx="1">
                  <c:v>27095</c:v>
                </c:pt>
                <c:pt idx="2">
                  <c:v>25497</c:v>
                </c:pt>
                <c:pt idx="3">
                  <c:v>16809</c:v>
                </c:pt>
                <c:pt idx="4">
                  <c:v>13027</c:v>
                </c:pt>
                <c:pt idx="5">
                  <c:v>10830</c:v>
                </c:pt>
                <c:pt idx="6">
                  <c:v>10456</c:v>
                </c:pt>
                <c:pt idx="7">
                  <c:v>10211</c:v>
                </c:pt>
              </c:numCache>
            </c:numRef>
          </c:bubbleSize>
          <c:bubble3D val="0"/>
          <c:extLst>
            <c:ext xmlns:c15="http://schemas.microsoft.com/office/drawing/2012/chart" uri="{02D57815-91ED-43cb-92C2-25804820EDAC}">
              <c15:datalabelsRange>
                <c15:f>Sheet1!$E$2:$E$10</c15:f>
                <c15:dlblRangeCache>
                  <c:ptCount val="9"/>
                  <c:pt idx="0">
                    <c:v>Ruinart</c:v>
                  </c:pt>
                  <c:pt idx="1">
                    <c:v>Nicolas</c:v>
                  </c:pt>
                  <c:pt idx="2">
                    <c:v>Malard</c:v>
                  </c:pt>
                  <c:pt idx="3">
                    <c:v>Besserat De Bellefon</c:v>
                  </c:pt>
                  <c:pt idx="4">
                    <c:v>Ayala</c:v>
                  </c:pt>
                  <c:pt idx="5">
                    <c:v>Deutz</c:v>
                  </c:pt>
                  <c:pt idx="6">
                    <c:v>De Venoge</c:v>
                  </c:pt>
                  <c:pt idx="7">
                    <c:v>Henriot</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20"/>
          <c:min val="2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5"/>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2A02A1CD-4C58-4AE4-AD2C-BD24228E694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E0755E84-C2F3-4B6D-9861-D7886EFBD0A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2FD6430C-4A9A-4721-B32D-FC068CFBFD7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73B52E8B-63D4-496D-8DEA-C353FFF1F71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10D64CE4-EF87-4978-B1CF-1DBED117AB4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065CEBC0-14A0-4654-9A6D-5984DD3E1FC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12EEFDA0-290E-4739-A8D3-1BB9B871043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909C37D4-E517-4C08-B215-5C3BDD21717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11.425599999999999</c:v>
                </c:pt>
                <c:pt idx="1">
                  <c:v>13.021599999999999</c:v>
                </c:pt>
                <c:pt idx="2">
                  <c:v>17.555099999999999</c:v>
                </c:pt>
                <c:pt idx="3">
                  <c:v>9.1058000000000003</c:v>
                </c:pt>
                <c:pt idx="4">
                  <c:v>11.366099999999999</c:v>
                </c:pt>
                <c:pt idx="5">
                  <c:v>11.7385</c:v>
                </c:pt>
                <c:pt idx="6">
                  <c:v>13.419700000000001</c:v>
                </c:pt>
                <c:pt idx="7">
                  <c:v>11.3514</c:v>
                </c:pt>
              </c:numCache>
            </c:numRef>
          </c:xVal>
          <c:yVal>
            <c:numRef>
              <c:f>Sheet1!$B$2:$B$9</c:f>
              <c:numCache>
                <c:formatCode>General</c:formatCode>
                <c:ptCount val="8"/>
                <c:pt idx="0">
                  <c:v>1.0529999999999999</c:v>
                </c:pt>
                <c:pt idx="1">
                  <c:v>1.2030000000000001</c:v>
                </c:pt>
                <c:pt idx="2">
                  <c:v>1.6679999999999999</c:v>
                </c:pt>
                <c:pt idx="3">
                  <c:v>0.84</c:v>
                </c:pt>
                <c:pt idx="4">
                  <c:v>1.0469999999999999</c:v>
                </c:pt>
                <c:pt idx="5">
                  <c:v>1.036</c:v>
                </c:pt>
                <c:pt idx="6">
                  <c:v>1.238</c:v>
                </c:pt>
                <c:pt idx="7">
                  <c:v>0.89</c:v>
                </c:pt>
              </c:numCache>
            </c:numRef>
          </c:yVal>
          <c:bubbleSize>
            <c:numRef>
              <c:f>Sheet1!$C$2:$C$9</c:f>
              <c:numCache>
                <c:formatCode>General</c:formatCode>
                <c:ptCount val="8"/>
                <c:pt idx="0">
                  <c:v>75203</c:v>
                </c:pt>
                <c:pt idx="1">
                  <c:v>56722</c:v>
                </c:pt>
                <c:pt idx="2">
                  <c:v>51331</c:v>
                </c:pt>
                <c:pt idx="3">
                  <c:v>40348</c:v>
                </c:pt>
                <c:pt idx="4">
                  <c:v>30427</c:v>
                </c:pt>
                <c:pt idx="5">
                  <c:v>22620</c:v>
                </c:pt>
                <c:pt idx="6">
                  <c:v>18895</c:v>
                </c:pt>
                <c:pt idx="7">
                  <c:v>9206</c:v>
                </c:pt>
              </c:numCache>
            </c:numRef>
          </c:bubbleSize>
          <c:bubble3D val="0"/>
          <c:extLst>
            <c:ext xmlns:c15="http://schemas.microsoft.com/office/drawing/2012/chart" uri="{02D57815-91ED-43cb-92C2-25804820EDAC}">
              <c15:datalabelsRange>
                <c15:f>Sheet1!$E$2:$E$10</c15:f>
                <c15:dlblRangeCache>
                  <c:ptCount val="9"/>
                  <c:pt idx="0">
                    <c:v>Bottega</c:v>
                  </c:pt>
                  <c:pt idx="1">
                    <c:v>Patriarche</c:v>
                  </c:pt>
                  <c:pt idx="2">
                    <c:v>Mure</c:v>
                  </c:pt>
                  <c:pt idx="3">
                    <c:v>Savian</c:v>
                  </c:pt>
                  <c:pt idx="4">
                    <c:v>Chateau Moncontour</c:v>
                  </c:pt>
                  <c:pt idx="5">
                    <c:v>Bouvet-Ladubay</c:v>
                  </c:pt>
                  <c:pt idx="6">
                    <c:v>De Chanceny</c:v>
                  </c:pt>
                  <c:pt idx="7">
                    <c:v>Contarini</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
          <c:min val="7"/>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E02E089-B637-468F-A3B7-3C8372BDBC3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C053F43-12D6-47CD-8451-906B8F01292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2CCE070-86B4-4A5C-BEC7-49500F180AD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86BEEB0-EEF1-470B-908A-2E09FC2D26D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F40BF58-23CB-45A2-95BE-476C649AF62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555CD07-9F2D-4567-BC98-E493BEB960B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8FC1D83C-8785-4040-BA02-DCAC6E10952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06549A6C-C30E-40A0-9739-3258B6D311D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97.277500000000003</c:v>
                </c:pt>
                <c:pt idx="1">
                  <c:v>39.03</c:v>
                </c:pt>
                <c:pt idx="2">
                  <c:v>35.237200000000001</c:v>
                </c:pt>
                <c:pt idx="3">
                  <c:v>58.893099999999997</c:v>
                </c:pt>
                <c:pt idx="4">
                  <c:v>46.434600000000003</c:v>
                </c:pt>
                <c:pt idx="5">
                  <c:v>52.797199999999997</c:v>
                </c:pt>
                <c:pt idx="6">
                  <c:v>37.828899999999997</c:v>
                </c:pt>
                <c:pt idx="7">
                  <c:v>75.531400000000005</c:v>
                </c:pt>
              </c:numCache>
            </c:numRef>
          </c:xVal>
          <c:yVal>
            <c:numRef>
              <c:f>Sheet1!$B$2:$B$9</c:f>
              <c:numCache>
                <c:formatCode>General</c:formatCode>
                <c:ptCount val="8"/>
                <c:pt idx="0">
                  <c:v>1.3140000000000001</c:v>
                </c:pt>
                <c:pt idx="1">
                  <c:v>0.54800000000000004</c:v>
                </c:pt>
                <c:pt idx="2">
                  <c:v>0.47499999999999998</c:v>
                </c:pt>
                <c:pt idx="3">
                  <c:v>0.82</c:v>
                </c:pt>
                <c:pt idx="4">
                  <c:v>0.626</c:v>
                </c:pt>
                <c:pt idx="5">
                  <c:v>0.70899999999999996</c:v>
                </c:pt>
                <c:pt idx="6">
                  <c:v>0.51</c:v>
                </c:pt>
                <c:pt idx="7">
                  <c:v>1.016</c:v>
                </c:pt>
              </c:numCache>
            </c:numRef>
          </c:yVal>
          <c:bubbleSize>
            <c:numRef>
              <c:f>Sheet1!$C$2:$C$9</c:f>
              <c:numCache>
                <c:formatCode>General</c:formatCode>
                <c:ptCount val="8"/>
                <c:pt idx="0">
                  <c:v>3647322</c:v>
                </c:pt>
                <c:pt idx="1">
                  <c:v>359310</c:v>
                </c:pt>
                <c:pt idx="2">
                  <c:v>311285</c:v>
                </c:pt>
                <c:pt idx="3">
                  <c:v>215961</c:v>
                </c:pt>
                <c:pt idx="4">
                  <c:v>195397</c:v>
                </c:pt>
                <c:pt idx="5">
                  <c:v>139279</c:v>
                </c:pt>
                <c:pt idx="6">
                  <c:v>115643</c:v>
                </c:pt>
                <c:pt idx="7">
                  <c:v>102194</c:v>
                </c:pt>
              </c:numCache>
            </c:numRef>
          </c:bubbleSize>
          <c:bubble3D val="0"/>
          <c:extLst>
            <c:ext xmlns:c15="http://schemas.microsoft.com/office/drawing/2012/chart" uri="{02D57815-91ED-43cb-92C2-25804820EDAC}">
              <c15:datalabelsRange>
                <c15:f>Sheet1!$E$2:$E$10</c15:f>
                <c15:dlblRangeCache>
                  <c:ptCount val="9"/>
                  <c:pt idx="0">
                    <c:v>Ruinart</c:v>
                  </c:pt>
                  <c:pt idx="1">
                    <c:v>Nicolas</c:v>
                  </c:pt>
                  <c:pt idx="2">
                    <c:v>Malard</c:v>
                  </c:pt>
                  <c:pt idx="3">
                    <c:v>Besserat De Bellefon</c:v>
                  </c:pt>
                  <c:pt idx="4">
                    <c:v>Henriot</c:v>
                  </c:pt>
                  <c:pt idx="5">
                    <c:v>Delamotte</c:v>
                  </c:pt>
                  <c:pt idx="6">
                    <c:v>De Bligny</c:v>
                  </c:pt>
                  <c:pt idx="7">
                    <c:v>Ayala</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17"/>
          <c:min val="2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14"/>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18AEBD8-C7C3-4D57-99E2-F0E6A6BE072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F5010DB-6DA5-49A8-A717-9E12158F6F8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94D46A9-717D-420C-B503-0C98C876C20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D76649B-731C-4736-967B-C938A9CA7E2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00E6B45-C99E-4797-AB14-7249C61FC24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CEE4741-31F0-43B2-BDF0-AA32CD7BDA6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79E1195-00CC-4492-9D78-4B9ABE38DCE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1D5D6D2-7F8E-4FB2-932C-C83EEDDC91C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99.729699999999994</c:v>
                </c:pt>
                <c:pt idx="1">
                  <c:v>39.805500000000002</c:v>
                </c:pt>
                <c:pt idx="2">
                  <c:v>35.273699999999998</c:v>
                </c:pt>
                <c:pt idx="3">
                  <c:v>60.255800000000001</c:v>
                </c:pt>
                <c:pt idx="4">
                  <c:v>38.656100000000002</c:v>
                </c:pt>
                <c:pt idx="5">
                  <c:v>47.862200000000001</c:v>
                </c:pt>
                <c:pt idx="6">
                  <c:v>235.16220000000001</c:v>
                </c:pt>
                <c:pt idx="7">
                  <c:v>54.452500000000001</c:v>
                </c:pt>
              </c:numCache>
            </c:numRef>
          </c:xVal>
          <c:yVal>
            <c:numRef>
              <c:f>Sheet1!$B$2:$B$9</c:f>
              <c:numCache>
                <c:formatCode>General</c:formatCode>
                <c:ptCount val="8"/>
                <c:pt idx="0">
                  <c:v>1.224</c:v>
                </c:pt>
                <c:pt idx="1">
                  <c:v>0.52300000000000002</c:v>
                </c:pt>
                <c:pt idx="2">
                  <c:v>0.443</c:v>
                </c:pt>
                <c:pt idx="3">
                  <c:v>0.77400000000000002</c:v>
                </c:pt>
                <c:pt idx="4">
                  <c:v>0.48399999999999999</c:v>
                </c:pt>
                <c:pt idx="5">
                  <c:v>0.59299999999999997</c:v>
                </c:pt>
                <c:pt idx="6">
                  <c:v>2.629</c:v>
                </c:pt>
                <c:pt idx="7">
                  <c:v>0.66600000000000004</c:v>
                </c:pt>
              </c:numCache>
            </c:numRef>
          </c:yVal>
          <c:bubbleSize>
            <c:numRef>
              <c:f>Sheet1!$C$2:$C$9</c:f>
              <c:numCache>
                <c:formatCode>General</c:formatCode>
                <c:ptCount val="8"/>
                <c:pt idx="0">
                  <c:v>704092</c:v>
                </c:pt>
                <c:pt idx="1">
                  <c:v>60584</c:v>
                </c:pt>
                <c:pt idx="2">
                  <c:v>33122</c:v>
                </c:pt>
                <c:pt idx="3">
                  <c:v>28742</c:v>
                </c:pt>
                <c:pt idx="4">
                  <c:v>18323</c:v>
                </c:pt>
                <c:pt idx="5">
                  <c:v>17709</c:v>
                </c:pt>
                <c:pt idx="6">
                  <c:v>17402</c:v>
                </c:pt>
                <c:pt idx="7">
                  <c:v>17207</c:v>
                </c:pt>
              </c:numCache>
            </c:numRef>
          </c:bubbleSize>
          <c:bubble3D val="0"/>
          <c:extLst>
            <c:ext xmlns:c15="http://schemas.microsoft.com/office/drawing/2012/chart" uri="{02D57815-91ED-43cb-92C2-25804820EDAC}">
              <c15:datalabelsRange>
                <c15:f>Sheet1!$E$2:$E$10</c15:f>
                <c15:dlblRangeCache>
                  <c:ptCount val="9"/>
                  <c:pt idx="0">
                    <c:v>Ruinart</c:v>
                  </c:pt>
                  <c:pt idx="1">
                    <c:v>Nicolas</c:v>
                  </c:pt>
                  <c:pt idx="2">
                    <c:v>Malard</c:v>
                  </c:pt>
                  <c:pt idx="3">
                    <c:v>Besserat De Bellefon</c:v>
                  </c:pt>
                  <c:pt idx="4">
                    <c:v>De Bligny</c:v>
                  </c:pt>
                  <c:pt idx="5">
                    <c:v>Henriot</c:v>
                  </c:pt>
                  <c:pt idx="6">
                    <c:v>Taittinger</c:v>
                  </c:pt>
                  <c:pt idx="7">
                    <c:v>Delamott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82"/>
          <c:min val="2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8290000000000002"/>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9AAC4ED-7455-41E0-9864-4D5E041BF96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ACBBB84-268F-422B-948D-4818E6AE534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C10C0F4-3939-4CA2-8BD2-09BDA022364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DAFCA5F-B2F3-4D34-9DB2-108EA77F6AB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06D5AB6-76C2-40E2-89C7-E8730143436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A725A37-D012-48A5-AD03-9799AAD8206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27C3787E-86A1-4E72-ABB5-DA251ED135F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AE0819BD-258C-4DC4-B301-2F3CEEE4354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101.1712</c:v>
                </c:pt>
                <c:pt idx="1">
                  <c:v>35.475900000000003</c:v>
                </c:pt>
                <c:pt idx="2">
                  <c:v>43.171999999999997</c:v>
                </c:pt>
                <c:pt idx="3">
                  <c:v>57.229799999999997</c:v>
                </c:pt>
                <c:pt idx="4">
                  <c:v>47.451099999999997</c:v>
                </c:pt>
                <c:pt idx="5">
                  <c:v>77.934200000000004</c:v>
                </c:pt>
                <c:pt idx="6">
                  <c:v>38.840800000000002</c:v>
                </c:pt>
                <c:pt idx="7">
                  <c:v>55.2742</c:v>
                </c:pt>
              </c:numCache>
            </c:numRef>
          </c:xVal>
          <c:yVal>
            <c:numRef>
              <c:f>Sheet1!$B$2:$B$9</c:f>
              <c:numCache>
                <c:formatCode>General</c:formatCode>
                <c:ptCount val="8"/>
                <c:pt idx="0">
                  <c:v>1.341</c:v>
                </c:pt>
                <c:pt idx="1">
                  <c:v>0.47599999999999998</c:v>
                </c:pt>
                <c:pt idx="2">
                  <c:v>0.58799999999999997</c:v>
                </c:pt>
                <c:pt idx="3">
                  <c:v>0.86</c:v>
                </c:pt>
                <c:pt idx="4">
                  <c:v>0.626</c:v>
                </c:pt>
                <c:pt idx="5">
                  <c:v>0.99099999999999999</c:v>
                </c:pt>
                <c:pt idx="6">
                  <c:v>0.50700000000000001</c:v>
                </c:pt>
                <c:pt idx="7">
                  <c:v>0.69799999999999995</c:v>
                </c:pt>
              </c:numCache>
            </c:numRef>
          </c:yVal>
          <c:bubbleSize>
            <c:numRef>
              <c:f>Sheet1!$C$2:$C$9</c:f>
              <c:numCache>
                <c:formatCode>General</c:formatCode>
                <c:ptCount val="8"/>
                <c:pt idx="0">
                  <c:v>286011</c:v>
                </c:pt>
                <c:pt idx="1">
                  <c:v>30119</c:v>
                </c:pt>
                <c:pt idx="2">
                  <c:v>27112</c:v>
                </c:pt>
                <c:pt idx="3">
                  <c:v>17684</c:v>
                </c:pt>
                <c:pt idx="4">
                  <c:v>12622</c:v>
                </c:pt>
                <c:pt idx="5">
                  <c:v>11846</c:v>
                </c:pt>
                <c:pt idx="6">
                  <c:v>11225</c:v>
                </c:pt>
                <c:pt idx="7">
                  <c:v>10281</c:v>
                </c:pt>
              </c:numCache>
            </c:numRef>
          </c:bubbleSize>
          <c:bubble3D val="0"/>
          <c:extLst>
            <c:ext xmlns:c15="http://schemas.microsoft.com/office/drawing/2012/chart" uri="{02D57815-91ED-43cb-92C2-25804820EDAC}">
              <c15:datalabelsRange>
                <c15:f>Sheet1!$E$2:$E$10</c15:f>
                <c15:dlblRangeCache>
                  <c:ptCount val="9"/>
                  <c:pt idx="0">
                    <c:v>Ruinart</c:v>
                  </c:pt>
                  <c:pt idx="1">
                    <c:v>Malard</c:v>
                  </c:pt>
                  <c:pt idx="2">
                    <c:v>Nicolas</c:v>
                  </c:pt>
                  <c:pt idx="3">
                    <c:v>Besserat De Bellefon</c:v>
                  </c:pt>
                  <c:pt idx="4">
                    <c:v>Henriot</c:v>
                  </c:pt>
                  <c:pt idx="5">
                    <c:v>Ayala</c:v>
                  </c:pt>
                  <c:pt idx="6">
                    <c:v>De Bligny</c:v>
                  </c:pt>
                  <c:pt idx="7">
                    <c:v>Delamott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21"/>
          <c:min val="2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40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FB51630-AA8E-4380-86E8-7D8067A36AE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0A9B9D2-7E41-4E3D-9388-1516C005202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6253469-3601-4A2D-88B0-703CB215EB7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E5F248A-8BC8-411A-B41E-F1E36855D8A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D85ADB5-D8B3-49BB-973B-6FB4E886ADA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A1F94AF-3276-4D54-80D1-D94B148F63E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3F34EC8-569F-449E-93E8-1291CA6A069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62CB38CB-3404-4BDD-86E0-3F56DB62241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99.508700000000005</c:v>
                </c:pt>
                <c:pt idx="1">
                  <c:v>60.156500000000001</c:v>
                </c:pt>
                <c:pt idx="2">
                  <c:v>35.562199999999997</c:v>
                </c:pt>
                <c:pt idx="3">
                  <c:v>41.855200000000004</c:v>
                </c:pt>
                <c:pt idx="4">
                  <c:v>48.439599999999999</c:v>
                </c:pt>
                <c:pt idx="5">
                  <c:v>55.195900000000002</c:v>
                </c:pt>
                <c:pt idx="6">
                  <c:v>82.162800000000004</c:v>
                </c:pt>
                <c:pt idx="7">
                  <c:v>37.318800000000003</c:v>
                </c:pt>
              </c:numCache>
            </c:numRef>
          </c:xVal>
          <c:yVal>
            <c:numRef>
              <c:f>Sheet1!$B$2:$B$9</c:f>
              <c:numCache>
                <c:formatCode>General</c:formatCode>
                <c:ptCount val="8"/>
                <c:pt idx="0">
                  <c:v>1.413</c:v>
                </c:pt>
                <c:pt idx="1">
                  <c:v>0.91100000000000003</c:v>
                </c:pt>
                <c:pt idx="2">
                  <c:v>0.50600000000000001</c:v>
                </c:pt>
                <c:pt idx="3">
                  <c:v>0.59899999999999998</c:v>
                </c:pt>
                <c:pt idx="4">
                  <c:v>0.66100000000000003</c:v>
                </c:pt>
                <c:pt idx="5">
                  <c:v>0.77400000000000002</c:v>
                </c:pt>
                <c:pt idx="6">
                  <c:v>1.0449999999999999</c:v>
                </c:pt>
                <c:pt idx="7">
                  <c:v>0.50800000000000001</c:v>
                </c:pt>
              </c:numCache>
            </c:numRef>
          </c:yVal>
          <c:bubbleSize>
            <c:numRef>
              <c:f>Sheet1!$C$2:$C$9</c:f>
              <c:numCache>
                <c:formatCode>General</c:formatCode>
                <c:ptCount val="8"/>
                <c:pt idx="0">
                  <c:v>113838</c:v>
                </c:pt>
                <c:pt idx="1">
                  <c:v>13836</c:v>
                </c:pt>
                <c:pt idx="2">
                  <c:v>13727</c:v>
                </c:pt>
                <c:pt idx="3">
                  <c:v>12431</c:v>
                </c:pt>
                <c:pt idx="4">
                  <c:v>8816</c:v>
                </c:pt>
                <c:pt idx="5">
                  <c:v>8169</c:v>
                </c:pt>
                <c:pt idx="6">
                  <c:v>7066</c:v>
                </c:pt>
                <c:pt idx="7">
                  <c:v>5971</c:v>
                </c:pt>
              </c:numCache>
            </c:numRef>
          </c:bubbleSize>
          <c:bubble3D val="0"/>
          <c:extLst>
            <c:ext xmlns:c15="http://schemas.microsoft.com/office/drawing/2012/chart" uri="{02D57815-91ED-43cb-92C2-25804820EDAC}">
              <c15:datalabelsRange>
                <c15:f>Sheet1!$E$2:$E$10</c15:f>
                <c15:dlblRangeCache>
                  <c:ptCount val="9"/>
                  <c:pt idx="0">
                    <c:v>Ruinart</c:v>
                  </c:pt>
                  <c:pt idx="1">
                    <c:v>Besserat De Bellefon</c:v>
                  </c:pt>
                  <c:pt idx="2">
                    <c:v>Malard</c:v>
                  </c:pt>
                  <c:pt idx="3">
                    <c:v>Nicolas</c:v>
                  </c:pt>
                  <c:pt idx="4">
                    <c:v>Henriot</c:v>
                  </c:pt>
                  <c:pt idx="5">
                    <c:v>Delamotte</c:v>
                  </c:pt>
                  <c:pt idx="6">
                    <c:v>Ayala</c:v>
                  </c:pt>
                  <c:pt idx="7">
                    <c:v>De Blign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19"/>
          <c:min val="2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613"/>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0102F7F-E063-46A3-A230-A83138D2A1C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AA70EDF-0712-492E-9555-6B83295EDFD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C1CB979-9995-4460-B059-1127BCBD48C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4E1733F-8B80-407A-8E1A-09A79662824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54AAE49-E125-413A-AE65-BA215FA412D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B4452DE-F03A-4BA1-B22B-1282823066F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04976F6-8B19-4512-AA0E-51BE0834342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5D29138A-6732-4EBF-81E2-EDAF5F27E1E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102.6083</c:v>
                </c:pt>
                <c:pt idx="1">
                  <c:v>40.554200000000002</c:v>
                </c:pt>
                <c:pt idx="2">
                  <c:v>35.214300000000001</c:v>
                </c:pt>
                <c:pt idx="3">
                  <c:v>77.7453</c:v>
                </c:pt>
                <c:pt idx="4">
                  <c:v>56.062899999999999</c:v>
                </c:pt>
                <c:pt idx="5">
                  <c:v>48.319699999999997</c:v>
                </c:pt>
                <c:pt idx="6">
                  <c:v>40.115099999999998</c:v>
                </c:pt>
                <c:pt idx="7">
                  <c:v>72.929599999999994</c:v>
                </c:pt>
              </c:numCache>
            </c:numRef>
          </c:xVal>
          <c:yVal>
            <c:numRef>
              <c:f>Sheet1!$B$2:$B$9</c:f>
              <c:numCache>
                <c:formatCode>General</c:formatCode>
                <c:ptCount val="8"/>
                <c:pt idx="0">
                  <c:v>2.0590000000000002</c:v>
                </c:pt>
                <c:pt idx="1">
                  <c:v>0.89200000000000002</c:v>
                </c:pt>
                <c:pt idx="2">
                  <c:v>0.74399999999999999</c:v>
                </c:pt>
                <c:pt idx="3">
                  <c:v>1.4770000000000001</c:v>
                </c:pt>
                <c:pt idx="4">
                  <c:v>1.0329999999999999</c:v>
                </c:pt>
                <c:pt idx="5">
                  <c:v>0.90100000000000002</c:v>
                </c:pt>
                <c:pt idx="6">
                  <c:v>0.78300000000000003</c:v>
                </c:pt>
                <c:pt idx="7">
                  <c:v>1.3240000000000001</c:v>
                </c:pt>
              </c:numCache>
            </c:numRef>
          </c:yVal>
          <c:bubbleSize>
            <c:numRef>
              <c:f>Sheet1!$C$2:$C$9</c:f>
              <c:numCache>
                <c:formatCode>General</c:formatCode>
                <c:ptCount val="8"/>
                <c:pt idx="0">
                  <c:v>81984</c:v>
                </c:pt>
                <c:pt idx="1">
                  <c:v>13099</c:v>
                </c:pt>
                <c:pt idx="2">
                  <c:v>8874</c:v>
                </c:pt>
                <c:pt idx="3">
                  <c:v>8241</c:v>
                </c:pt>
                <c:pt idx="4">
                  <c:v>8017</c:v>
                </c:pt>
                <c:pt idx="5">
                  <c:v>5895</c:v>
                </c:pt>
                <c:pt idx="6">
                  <c:v>5576</c:v>
                </c:pt>
                <c:pt idx="7">
                  <c:v>5178</c:v>
                </c:pt>
              </c:numCache>
            </c:numRef>
          </c:bubbleSize>
          <c:bubble3D val="0"/>
          <c:extLst>
            <c:ext xmlns:c15="http://schemas.microsoft.com/office/drawing/2012/chart" uri="{02D57815-91ED-43cb-92C2-25804820EDAC}">
              <c15:datalabelsRange>
                <c15:f>Sheet1!$E$2:$E$10</c15:f>
                <c15:dlblRangeCache>
                  <c:ptCount val="9"/>
                  <c:pt idx="0">
                    <c:v>Ruinart</c:v>
                  </c:pt>
                  <c:pt idx="1">
                    <c:v>Nicolas</c:v>
                  </c:pt>
                  <c:pt idx="2">
                    <c:v>Malard</c:v>
                  </c:pt>
                  <c:pt idx="3">
                    <c:v>Ayala</c:v>
                  </c:pt>
                  <c:pt idx="4">
                    <c:v>Delamotte</c:v>
                  </c:pt>
                  <c:pt idx="5">
                    <c:v>Henriot</c:v>
                  </c:pt>
                  <c:pt idx="6">
                    <c:v>De Bligny</c:v>
                  </c:pt>
                  <c:pt idx="7">
                    <c:v>De Venog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23"/>
          <c:min val="2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2590000000000003"/>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592EA97-5262-421E-873A-0CD143CB4FD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995FABC-4F7E-4C4D-9BAD-07E454C34FE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AA06C6D-5D58-422F-828B-A0871373477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CF720F6-A099-4ACE-99A1-0F226BE1F1A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512D7955-79E0-4D69-BF95-616C94753C9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35C77F8-9C00-4137-92B3-25DFE9B1399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E9525CA-C7FC-4C3C-A557-DBF58DD2E5D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55B67F3E-3DDF-4151-B427-B3C762A6B6B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96.792599999999993</c:v>
                </c:pt>
                <c:pt idx="1">
                  <c:v>39.543100000000003</c:v>
                </c:pt>
                <c:pt idx="2">
                  <c:v>35.273200000000003</c:v>
                </c:pt>
                <c:pt idx="3">
                  <c:v>59.5274</c:v>
                </c:pt>
                <c:pt idx="4">
                  <c:v>84.996300000000005</c:v>
                </c:pt>
                <c:pt idx="5">
                  <c:v>46.717700000000001</c:v>
                </c:pt>
                <c:pt idx="6">
                  <c:v>53.284199999999998</c:v>
                </c:pt>
                <c:pt idx="7">
                  <c:v>203.2747</c:v>
                </c:pt>
              </c:numCache>
            </c:numRef>
          </c:xVal>
          <c:yVal>
            <c:numRef>
              <c:f>Sheet1!$B$2:$B$9</c:f>
              <c:numCache>
                <c:formatCode>General</c:formatCode>
                <c:ptCount val="8"/>
                <c:pt idx="0">
                  <c:v>1.272</c:v>
                </c:pt>
                <c:pt idx="1">
                  <c:v>0.52700000000000002</c:v>
                </c:pt>
                <c:pt idx="2">
                  <c:v>0.45400000000000001</c:v>
                </c:pt>
                <c:pt idx="3">
                  <c:v>0.79</c:v>
                </c:pt>
                <c:pt idx="4">
                  <c:v>1.091</c:v>
                </c:pt>
                <c:pt idx="5">
                  <c:v>0.60199999999999998</c:v>
                </c:pt>
                <c:pt idx="6">
                  <c:v>0.68</c:v>
                </c:pt>
                <c:pt idx="7">
                  <c:v>2.66</c:v>
                </c:pt>
              </c:numCache>
            </c:numRef>
          </c:yVal>
          <c:bubbleSize>
            <c:numRef>
              <c:f>Sheet1!$C$2:$C$9</c:f>
              <c:numCache>
                <c:formatCode>General</c:formatCode>
                <c:ptCount val="8"/>
                <c:pt idx="0">
                  <c:v>1886198</c:v>
                </c:pt>
                <c:pt idx="1">
                  <c:v>146191</c:v>
                </c:pt>
                <c:pt idx="2">
                  <c:v>116472</c:v>
                </c:pt>
                <c:pt idx="3">
                  <c:v>76076</c:v>
                </c:pt>
                <c:pt idx="4">
                  <c:v>67997</c:v>
                </c:pt>
                <c:pt idx="5">
                  <c:v>66853</c:v>
                </c:pt>
                <c:pt idx="6">
                  <c:v>61490</c:v>
                </c:pt>
                <c:pt idx="7">
                  <c:v>47363</c:v>
                </c:pt>
              </c:numCache>
            </c:numRef>
          </c:bubbleSize>
          <c:bubble3D val="0"/>
          <c:extLst>
            <c:ext xmlns:c15="http://schemas.microsoft.com/office/drawing/2012/chart" uri="{02D57815-91ED-43cb-92C2-25804820EDAC}">
              <c15:datalabelsRange>
                <c15:f>Sheet1!$E$2:$E$10</c15:f>
                <c15:dlblRangeCache>
                  <c:ptCount val="9"/>
                  <c:pt idx="0">
                    <c:v>Ruinart</c:v>
                  </c:pt>
                  <c:pt idx="1">
                    <c:v>Nicolas</c:v>
                  </c:pt>
                  <c:pt idx="2">
                    <c:v>Malard</c:v>
                  </c:pt>
                  <c:pt idx="3">
                    <c:v>Besserat De Bellefon</c:v>
                  </c:pt>
                  <c:pt idx="4">
                    <c:v>Perrier Jouet</c:v>
                  </c:pt>
                  <c:pt idx="5">
                    <c:v>Henriot</c:v>
                  </c:pt>
                  <c:pt idx="6">
                    <c:v>Delamotte</c:v>
                  </c:pt>
                  <c:pt idx="7">
                    <c:v>Deutz</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44"/>
          <c:min val="2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8600000000000003"/>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7C2F9FF-73B4-4D69-A7E3-21061EC255F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51A2F46-031D-4D4E-B376-55151809A21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0EB98FC-3E70-4FF3-A094-186886310E0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8EB8596-1477-4A8E-B30A-045131CFE1E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1275C295-C144-4510-904D-5DDBFD65E67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56E02D8-98FF-4940-A7DB-3D00CC8F3E8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2954A57A-CCF6-4142-B3AC-B02A0E58E63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0444E87F-83FB-4E3F-B944-780BF4F95C6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98.354299999999995</c:v>
                </c:pt>
                <c:pt idx="1">
                  <c:v>40.190100000000001</c:v>
                </c:pt>
                <c:pt idx="2">
                  <c:v>35.284500000000001</c:v>
                </c:pt>
                <c:pt idx="3">
                  <c:v>58.968699999999998</c:v>
                </c:pt>
                <c:pt idx="4">
                  <c:v>46.8782</c:v>
                </c:pt>
                <c:pt idx="5">
                  <c:v>53.136400000000002</c:v>
                </c:pt>
                <c:pt idx="6">
                  <c:v>37.7256</c:v>
                </c:pt>
                <c:pt idx="7">
                  <c:v>76.505700000000004</c:v>
                </c:pt>
              </c:numCache>
            </c:numRef>
          </c:xVal>
          <c:yVal>
            <c:numRef>
              <c:f>Sheet1!$B$2:$B$9</c:f>
              <c:numCache>
                <c:formatCode>General</c:formatCode>
                <c:ptCount val="8"/>
                <c:pt idx="0">
                  <c:v>1.347</c:v>
                </c:pt>
                <c:pt idx="1">
                  <c:v>0.56200000000000006</c:v>
                </c:pt>
                <c:pt idx="2">
                  <c:v>0.48899999999999999</c:v>
                </c:pt>
                <c:pt idx="3">
                  <c:v>0.85199999999999998</c:v>
                </c:pt>
                <c:pt idx="4">
                  <c:v>0.64400000000000002</c:v>
                </c:pt>
                <c:pt idx="5">
                  <c:v>0.72799999999999998</c:v>
                </c:pt>
                <c:pt idx="6">
                  <c:v>0.52500000000000002</c:v>
                </c:pt>
                <c:pt idx="7">
                  <c:v>1.0209999999999999</c:v>
                </c:pt>
              </c:numCache>
            </c:numRef>
          </c:yVal>
          <c:bubbleSize>
            <c:numRef>
              <c:f>Sheet1!$C$2:$C$9</c:f>
              <c:numCache>
                <c:formatCode>General</c:formatCode>
                <c:ptCount val="8"/>
                <c:pt idx="0">
                  <c:v>638221</c:v>
                </c:pt>
                <c:pt idx="1">
                  <c:v>73588</c:v>
                </c:pt>
                <c:pt idx="2">
                  <c:v>60513</c:v>
                </c:pt>
                <c:pt idx="3">
                  <c:v>45170</c:v>
                </c:pt>
                <c:pt idx="4">
                  <c:v>36940</c:v>
                </c:pt>
                <c:pt idx="5">
                  <c:v>32732</c:v>
                </c:pt>
                <c:pt idx="6">
                  <c:v>20485</c:v>
                </c:pt>
                <c:pt idx="7">
                  <c:v>20274</c:v>
                </c:pt>
              </c:numCache>
            </c:numRef>
          </c:bubbleSize>
          <c:bubble3D val="0"/>
          <c:extLst>
            <c:ext xmlns:c15="http://schemas.microsoft.com/office/drawing/2012/chart" uri="{02D57815-91ED-43cb-92C2-25804820EDAC}">
              <c15:datalabelsRange>
                <c15:f>Sheet1!$E$2:$E$10</c15:f>
                <c15:dlblRangeCache>
                  <c:ptCount val="9"/>
                  <c:pt idx="0">
                    <c:v>Ruinart</c:v>
                  </c:pt>
                  <c:pt idx="1">
                    <c:v>Nicolas</c:v>
                  </c:pt>
                  <c:pt idx="2">
                    <c:v>Malard</c:v>
                  </c:pt>
                  <c:pt idx="3">
                    <c:v>Besserat De Bellefon</c:v>
                  </c:pt>
                  <c:pt idx="4">
                    <c:v>Henriot</c:v>
                  </c:pt>
                  <c:pt idx="5">
                    <c:v>Delamotte</c:v>
                  </c:pt>
                  <c:pt idx="6">
                    <c:v>De Bligny</c:v>
                  </c:pt>
                  <c:pt idx="7">
                    <c:v>Ayala</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18"/>
          <c:min val="2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46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AAAF4DD-5402-479A-B4E5-52AE49D22C4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D554AEC-BB2C-4495-9945-BDB8FE7B490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EB62920-F6F4-42CC-B96E-2C355D627CF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4CB5752-3E5F-4854-B759-BF94C4FC097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5C7A9DFF-8F2B-43EC-99ED-864A67C339A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F2A89B8-44AB-41C7-85C8-BFB7ED60FA0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72FA32CF-8D82-4F48-9F9E-59E3E31209D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84CEDB04-2AC6-429F-B587-C41E6E0CEDD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98.499899999999997</c:v>
                </c:pt>
                <c:pt idx="1">
                  <c:v>39.097499999999997</c:v>
                </c:pt>
                <c:pt idx="2">
                  <c:v>35.116300000000003</c:v>
                </c:pt>
                <c:pt idx="3">
                  <c:v>59.410200000000003</c:v>
                </c:pt>
                <c:pt idx="4">
                  <c:v>46.718200000000003</c:v>
                </c:pt>
                <c:pt idx="5">
                  <c:v>37.393700000000003</c:v>
                </c:pt>
                <c:pt idx="6">
                  <c:v>53.1616</c:v>
                </c:pt>
                <c:pt idx="7">
                  <c:v>75.871099999999998</c:v>
                </c:pt>
              </c:numCache>
            </c:numRef>
          </c:xVal>
          <c:yVal>
            <c:numRef>
              <c:f>Sheet1!$B$2:$B$9</c:f>
              <c:numCache>
                <c:formatCode>General</c:formatCode>
                <c:ptCount val="8"/>
                <c:pt idx="0">
                  <c:v>1.365</c:v>
                </c:pt>
                <c:pt idx="1">
                  <c:v>0.58299999999999996</c:v>
                </c:pt>
                <c:pt idx="2">
                  <c:v>0.49399999999999999</c:v>
                </c:pt>
                <c:pt idx="3">
                  <c:v>0.86299999999999999</c:v>
                </c:pt>
                <c:pt idx="4">
                  <c:v>0.65500000000000003</c:v>
                </c:pt>
                <c:pt idx="5">
                  <c:v>0.52600000000000002</c:v>
                </c:pt>
                <c:pt idx="6">
                  <c:v>0.73699999999999999</c:v>
                </c:pt>
                <c:pt idx="7">
                  <c:v>1.0549999999999999</c:v>
                </c:pt>
              </c:numCache>
            </c:numRef>
          </c:yVal>
          <c:bubbleSize>
            <c:numRef>
              <c:f>Sheet1!$C$2:$C$9</c:f>
              <c:numCache>
                <c:formatCode>General</c:formatCode>
                <c:ptCount val="8"/>
                <c:pt idx="0">
                  <c:v>1109404</c:v>
                </c:pt>
                <c:pt idx="1">
                  <c:v>118739</c:v>
                </c:pt>
                <c:pt idx="2">
                  <c:v>108439</c:v>
                </c:pt>
                <c:pt idx="3">
                  <c:v>72421</c:v>
                </c:pt>
                <c:pt idx="4">
                  <c:v>62509</c:v>
                </c:pt>
                <c:pt idx="5">
                  <c:v>38179</c:v>
                </c:pt>
                <c:pt idx="6">
                  <c:v>38170</c:v>
                </c:pt>
                <c:pt idx="7">
                  <c:v>36494</c:v>
                </c:pt>
              </c:numCache>
            </c:numRef>
          </c:bubbleSize>
          <c:bubble3D val="0"/>
          <c:extLst>
            <c:ext xmlns:c15="http://schemas.microsoft.com/office/drawing/2012/chart" uri="{02D57815-91ED-43cb-92C2-25804820EDAC}">
              <c15:datalabelsRange>
                <c15:f>Sheet1!$E$2:$E$10</c15:f>
                <c15:dlblRangeCache>
                  <c:ptCount val="9"/>
                  <c:pt idx="0">
                    <c:v>Ruinart</c:v>
                  </c:pt>
                  <c:pt idx="1">
                    <c:v>Nicolas</c:v>
                  </c:pt>
                  <c:pt idx="2">
                    <c:v>Malard</c:v>
                  </c:pt>
                  <c:pt idx="3">
                    <c:v>Besserat De Bellefon</c:v>
                  </c:pt>
                  <c:pt idx="4">
                    <c:v>Henriot</c:v>
                  </c:pt>
                  <c:pt idx="5">
                    <c:v>De Bligny</c:v>
                  </c:pt>
                  <c:pt idx="6">
                    <c:v>Delamotte</c:v>
                  </c:pt>
                  <c:pt idx="7">
                    <c:v>Ayala</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18"/>
          <c:min val="2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64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F955BB3-4CB0-4225-952F-7AFEBB6CF89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79F7FED-DE1A-49C4-A3F6-F3006E5384A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5EA4B96-93F3-4DD8-B730-1C1E6BE1D2E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C1E1CAB-DEA1-4C87-886A-2A1811463CB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B97F854-CD1D-4447-8AAB-E3C012D2020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39EB406-6D5F-4D6B-9879-86CEE312B0F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02780E6-1F5C-450B-99B5-D4656873470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C0936408-03D4-4123-A54C-B3F7CE660B3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99.423199999999994</c:v>
                </c:pt>
                <c:pt idx="1">
                  <c:v>39.362900000000003</c:v>
                </c:pt>
                <c:pt idx="2">
                  <c:v>35.230899999999998</c:v>
                </c:pt>
                <c:pt idx="3">
                  <c:v>58.4313</c:v>
                </c:pt>
                <c:pt idx="4">
                  <c:v>46.652500000000003</c:v>
                </c:pt>
                <c:pt idx="5">
                  <c:v>37.884399999999999</c:v>
                </c:pt>
                <c:pt idx="6">
                  <c:v>52.983499999999999</c:v>
                </c:pt>
                <c:pt idx="7">
                  <c:v>76.6631</c:v>
                </c:pt>
              </c:numCache>
            </c:numRef>
          </c:xVal>
          <c:yVal>
            <c:numRef>
              <c:f>Sheet1!$B$2:$B$9</c:f>
              <c:numCache>
                <c:formatCode>General</c:formatCode>
                <c:ptCount val="8"/>
                <c:pt idx="0">
                  <c:v>1.347</c:v>
                </c:pt>
                <c:pt idx="1">
                  <c:v>0.56899999999999995</c:v>
                </c:pt>
                <c:pt idx="2">
                  <c:v>0.49</c:v>
                </c:pt>
                <c:pt idx="3">
                  <c:v>0.85399999999999998</c:v>
                </c:pt>
                <c:pt idx="4">
                  <c:v>0.64200000000000002</c:v>
                </c:pt>
                <c:pt idx="5">
                  <c:v>0.52600000000000002</c:v>
                </c:pt>
                <c:pt idx="6">
                  <c:v>0.72799999999999998</c:v>
                </c:pt>
                <c:pt idx="7">
                  <c:v>1.0449999999999999</c:v>
                </c:pt>
              </c:numCache>
            </c:numRef>
          </c:yVal>
          <c:bubbleSize>
            <c:numRef>
              <c:f>Sheet1!$C$2:$C$9</c:f>
              <c:numCache>
                <c:formatCode>General</c:formatCode>
                <c:ptCount val="8"/>
                <c:pt idx="0">
                  <c:v>910915</c:v>
                </c:pt>
                <c:pt idx="1">
                  <c:v>87307</c:v>
                </c:pt>
                <c:pt idx="2">
                  <c:v>80714</c:v>
                </c:pt>
                <c:pt idx="3">
                  <c:v>60827</c:v>
                </c:pt>
                <c:pt idx="4">
                  <c:v>55050</c:v>
                </c:pt>
                <c:pt idx="5">
                  <c:v>38983</c:v>
                </c:pt>
                <c:pt idx="6">
                  <c:v>35234</c:v>
                </c:pt>
                <c:pt idx="7">
                  <c:v>28672</c:v>
                </c:pt>
              </c:numCache>
            </c:numRef>
          </c:bubbleSize>
          <c:bubble3D val="0"/>
          <c:extLst>
            <c:ext xmlns:c15="http://schemas.microsoft.com/office/drawing/2012/chart" uri="{02D57815-91ED-43cb-92C2-25804820EDAC}">
              <c15:datalabelsRange>
                <c15:f>Sheet1!$E$2:$E$10</c15:f>
                <c15:dlblRangeCache>
                  <c:ptCount val="9"/>
                  <c:pt idx="0">
                    <c:v>Ruinart</c:v>
                  </c:pt>
                  <c:pt idx="1">
                    <c:v>Nicolas</c:v>
                  </c:pt>
                  <c:pt idx="2">
                    <c:v>Malard</c:v>
                  </c:pt>
                  <c:pt idx="3">
                    <c:v>Besserat De Bellefon</c:v>
                  </c:pt>
                  <c:pt idx="4">
                    <c:v>Henriot</c:v>
                  </c:pt>
                  <c:pt idx="5">
                    <c:v>De Bligny</c:v>
                  </c:pt>
                  <c:pt idx="6">
                    <c:v>Delamotte</c:v>
                  </c:pt>
                  <c:pt idx="7">
                    <c:v>Ayala</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19"/>
          <c:min val="2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46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51F06F4-2A98-425E-BCB1-0B4F02397EC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FFA5BDF-95B9-4C9C-A070-D7DF3F5D94D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09B5A28-9E2A-4380-918E-FC8C39180D8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FF35CBD-91C4-4A8D-B587-4C124D3BBF2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10074F93-991E-4935-9CCB-86CA08A871C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E5CD04D-C695-4254-9A35-220AB3A3302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3E74A26-90D8-40D8-93FC-3753C121BD4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20762A50-CD2B-4FCB-B2C9-8E9E00CAD75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99.013999999999996</c:v>
                </c:pt>
                <c:pt idx="1">
                  <c:v>40.125500000000002</c:v>
                </c:pt>
                <c:pt idx="2">
                  <c:v>35.324399999999997</c:v>
                </c:pt>
                <c:pt idx="3">
                  <c:v>58.5242</c:v>
                </c:pt>
                <c:pt idx="4">
                  <c:v>37.983400000000003</c:v>
                </c:pt>
                <c:pt idx="5">
                  <c:v>47.084000000000003</c:v>
                </c:pt>
                <c:pt idx="6">
                  <c:v>53.462699999999998</c:v>
                </c:pt>
                <c:pt idx="7">
                  <c:v>75.419600000000003</c:v>
                </c:pt>
              </c:numCache>
            </c:numRef>
          </c:xVal>
          <c:yVal>
            <c:numRef>
              <c:f>Sheet1!$B$2:$B$9</c:f>
              <c:numCache>
                <c:formatCode>General</c:formatCode>
                <c:ptCount val="8"/>
                <c:pt idx="0">
                  <c:v>1.411</c:v>
                </c:pt>
                <c:pt idx="1">
                  <c:v>0.59699999999999998</c:v>
                </c:pt>
                <c:pt idx="2">
                  <c:v>0.51300000000000001</c:v>
                </c:pt>
                <c:pt idx="3">
                  <c:v>0.90300000000000002</c:v>
                </c:pt>
                <c:pt idx="4">
                  <c:v>0.55300000000000005</c:v>
                </c:pt>
                <c:pt idx="5">
                  <c:v>0.68100000000000005</c:v>
                </c:pt>
                <c:pt idx="6">
                  <c:v>0.76900000000000002</c:v>
                </c:pt>
                <c:pt idx="7">
                  <c:v>1.0760000000000001</c:v>
                </c:pt>
              </c:numCache>
            </c:numRef>
          </c:yVal>
          <c:bubbleSize>
            <c:numRef>
              <c:f>Sheet1!$C$2:$C$9</c:f>
              <c:numCache>
                <c:formatCode>General</c:formatCode>
                <c:ptCount val="8"/>
                <c:pt idx="0">
                  <c:v>763497</c:v>
                </c:pt>
                <c:pt idx="1">
                  <c:v>108419</c:v>
                </c:pt>
                <c:pt idx="2">
                  <c:v>84390</c:v>
                </c:pt>
                <c:pt idx="3">
                  <c:v>56944</c:v>
                </c:pt>
                <c:pt idx="4">
                  <c:v>47935</c:v>
                </c:pt>
                <c:pt idx="5">
                  <c:v>45954</c:v>
                </c:pt>
                <c:pt idx="6">
                  <c:v>30848</c:v>
                </c:pt>
                <c:pt idx="7">
                  <c:v>30017</c:v>
                </c:pt>
              </c:numCache>
            </c:numRef>
          </c:bubbleSize>
          <c:bubble3D val="0"/>
          <c:extLst>
            <c:ext xmlns:c15="http://schemas.microsoft.com/office/drawing/2012/chart" uri="{02D57815-91ED-43cb-92C2-25804820EDAC}">
              <c15:datalabelsRange>
                <c15:f>Sheet1!$E$2:$E$10</c15:f>
                <c15:dlblRangeCache>
                  <c:ptCount val="9"/>
                  <c:pt idx="0">
                    <c:v>Ruinart</c:v>
                  </c:pt>
                  <c:pt idx="1">
                    <c:v>Nicolas</c:v>
                  </c:pt>
                  <c:pt idx="2">
                    <c:v>Malard</c:v>
                  </c:pt>
                  <c:pt idx="3">
                    <c:v>Besserat De Bellefon</c:v>
                  </c:pt>
                  <c:pt idx="4">
                    <c:v>De Bligny</c:v>
                  </c:pt>
                  <c:pt idx="5">
                    <c:v>Henriot</c:v>
                  </c:pt>
                  <c:pt idx="6">
                    <c:v>Delamotte</c:v>
                  </c:pt>
                  <c:pt idx="7">
                    <c:v>Ayala</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19"/>
          <c:min val="2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611"/>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109AE08E-341A-44B7-840F-A07206F7F1E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C05AF407-5FFC-42D9-9189-A4EAA0BD3C5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D871-46D6-BBFE-7C00E0D51738}"/>
                </c:ext>
              </c:extLst>
            </c:dLbl>
            <c:dLbl>
              <c:idx val="3"/>
              <c:tx>
                <c:rich>
                  <a:bodyPr/>
                  <a:lstStyle/>
                  <a:p>
                    <a:fld id="{DF4AE137-7DAE-4036-B1B4-9CD36C4D13E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D871-46D6-BBFE-7C00E0D51738}"/>
                </c:ext>
              </c:extLst>
            </c:dLbl>
            <c:dLbl>
              <c:idx val="4"/>
              <c:tx>
                <c:rich>
                  <a:bodyPr/>
                  <a:lstStyle/>
                  <a:p>
                    <a:fld id="{35CB21BC-037A-443B-9989-692C832FBAB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D871-46D6-BBFE-7C00E0D51738}"/>
                </c:ext>
              </c:extLst>
            </c:dLbl>
            <c:dLbl>
              <c:idx val="5"/>
              <c:tx>
                <c:rich>
                  <a:bodyPr/>
                  <a:lstStyle/>
                  <a:p>
                    <a:fld id="{6A338F7F-378C-4D71-9316-2FC91C262D7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71-46D6-BBFE-7C00E0D51738}"/>
                </c:ext>
              </c:extLst>
            </c:dLbl>
            <c:dLbl>
              <c:idx val="6"/>
              <c:tx>
                <c:rich>
                  <a:bodyPr/>
                  <a:lstStyle/>
                  <a:p>
                    <a:fld id="{DDD8E06D-2065-49C5-81BB-CF626FE9481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71-46D6-BBFE-7C00E0D51738}"/>
                </c:ext>
              </c:extLst>
            </c:dLbl>
            <c:dLbl>
              <c:idx val="7"/>
              <c:tx>
                <c:rich>
                  <a:bodyPr/>
                  <a:lstStyle/>
                  <a:p>
                    <a:fld id="{9644C0A7-1A4A-4A26-9F63-9CA6881BD36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71-46D6-BBFE-7C00E0D51738}"/>
                </c:ext>
              </c:extLst>
            </c:dLbl>
            <c:dLbl>
              <c:idx val="8"/>
              <c:tx>
                <c:rich>
                  <a:bodyPr/>
                  <a:lstStyle/>
                  <a:p>
                    <a:fld id="{CBF5ABFC-70DE-4DC8-8567-7D3D347D534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29.1313</c:v>
                </c:pt>
                <c:pt idx="1">
                  <c:v>11.426500000000001</c:v>
                </c:pt>
              </c:numCache>
            </c:numRef>
          </c:xVal>
          <c:yVal>
            <c:numRef>
              <c:f>Sheet1!$B$2:$B$3</c:f>
              <c:numCache>
                <c:formatCode>General</c:formatCode>
                <c:ptCount val="2"/>
                <c:pt idx="0">
                  <c:v>1.613</c:v>
                </c:pt>
                <c:pt idx="1">
                  <c:v>0.63400000000000001</c:v>
                </c:pt>
              </c:numCache>
            </c:numRef>
          </c:yVal>
          <c:bubbleSize>
            <c:numRef>
              <c:f>Sheet1!$C$2:$C$3</c:f>
              <c:numCache>
                <c:formatCode>General</c:formatCode>
                <c:ptCount val="2"/>
                <c:pt idx="0">
                  <c:v>33268</c:v>
                </c:pt>
                <c:pt idx="1">
                  <c:v>19288</c:v>
                </c:pt>
              </c:numCache>
            </c:numRef>
          </c:bubbleSize>
          <c:bubble3D val="0"/>
          <c:extLst>
            <c:ext xmlns:c15="http://schemas.microsoft.com/office/drawing/2012/chart" uri="{02D57815-91ED-43cb-92C2-25804820EDAC}">
              <c15:datalabelsRange>
                <c15:f>Sheet1!$E$2:$E$10</c15:f>
                <c15:dlblRangeCache>
                  <c:ptCount val="9"/>
                  <c:pt idx="0">
                    <c:v>De Chanceny</c:v>
                  </c:pt>
                  <c:pt idx="1">
                    <c:v>Lyre's</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5"/>
          <c:min val="9"/>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C39B96C-9D3E-4C86-BAE8-6855B9F5C0E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87D11CC-86F9-42AC-93E3-1FCA4A931F3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102344A-71AE-4C0A-B61C-C457293CAE2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9F18097-48A1-438E-A2C1-B1D7838F838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794F4E5-09E7-4392-A3CE-6CBAAEC17EF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F2BC71A-389E-4162-8E7C-C0BE0891884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A01BB79-22C1-4846-91B1-6DD93759F45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55F0CA45-024A-4B01-8D8C-F4DEEB56BBB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4.785499999999999</c:v>
                </c:pt>
                <c:pt idx="1">
                  <c:v>30.786100000000001</c:v>
                </c:pt>
                <c:pt idx="2">
                  <c:v>18.6905</c:v>
                </c:pt>
                <c:pt idx="3">
                  <c:v>25.835599999999999</c:v>
                </c:pt>
                <c:pt idx="4">
                  <c:v>24.3565</c:v>
                </c:pt>
                <c:pt idx="5">
                  <c:v>40.955100000000002</c:v>
                </c:pt>
                <c:pt idx="6">
                  <c:v>58.941899999999997</c:v>
                </c:pt>
                <c:pt idx="7">
                  <c:v>22.180499999999999</c:v>
                </c:pt>
              </c:numCache>
            </c:numRef>
          </c:xVal>
          <c:yVal>
            <c:numRef>
              <c:f>Sheet1!$B$2:$B$9</c:f>
              <c:numCache>
                <c:formatCode>General</c:formatCode>
                <c:ptCount val="8"/>
                <c:pt idx="0">
                  <c:v>1.042</c:v>
                </c:pt>
                <c:pt idx="1">
                  <c:v>1.4850000000000001</c:v>
                </c:pt>
                <c:pt idx="2">
                  <c:v>0.30399999999999999</c:v>
                </c:pt>
                <c:pt idx="3">
                  <c:v>1.222</c:v>
                </c:pt>
                <c:pt idx="4">
                  <c:v>1.109</c:v>
                </c:pt>
                <c:pt idx="5">
                  <c:v>1.952</c:v>
                </c:pt>
                <c:pt idx="6">
                  <c:v>2.8620000000000001</c:v>
                </c:pt>
                <c:pt idx="7">
                  <c:v>1.1200000000000001</c:v>
                </c:pt>
              </c:numCache>
            </c:numRef>
          </c:yVal>
          <c:bubbleSize>
            <c:numRef>
              <c:f>Sheet1!$C$2:$C$9</c:f>
              <c:numCache>
                <c:formatCode>General</c:formatCode>
                <c:ptCount val="8"/>
                <c:pt idx="0">
                  <c:v>63941275</c:v>
                </c:pt>
                <c:pt idx="1">
                  <c:v>37787787</c:v>
                </c:pt>
                <c:pt idx="2">
                  <c:v>26748672</c:v>
                </c:pt>
                <c:pt idx="3">
                  <c:v>24364022</c:v>
                </c:pt>
                <c:pt idx="4">
                  <c:v>23515927</c:v>
                </c:pt>
                <c:pt idx="5">
                  <c:v>20957933</c:v>
                </c:pt>
                <c:pt idx="6">
                  <c:v>15468822</c:v>
                </c:pt>
                <c:pt idx="7">
                  <c:v>4641984</c:v>
                </c:pt>
              </c:numCache>
            </c:numRef>
          </c:bubbleSize>
          <c:bubble3D val="0"/>
          <c:extLst>
            <c:ext xmlns:c15="http://schemas.microsoft.com/office/drawing/2012/chart" uri="{02D57815-91ED-43cb-92C2-25804820EDAC}">
              <c15:datalabelsRange>
                <c15:f>Sheet1!$E$2:$E$10</c15:f>
                <c15:dlblRangeCache>
                  <c:ptCount val="9"/>
                  <c:pt idx="0">
                    <c:v>Nicolas Feuillatte</c:v>
                  </c:pt>
                  <c:pt idx="1">
                    <c:v>Mumm</c:v>
                  </c:pt>
                  <c:pt idx="2">
                    <c:v>Charles Lafitte</c:v>
                  </c:pt>
                  <c:pt idx="3">
                    <c:v>Canard Duchêne</c:v>
                  </c:pt>
                  <c:pt idx="4">
                    <c:v>Alfred De Rothschild</c:v>
                  </c:pt>
                  <c:pt idx="5">
                    <c:v>Moët &amp; Chandon</c:v>
                  </c:pt>
                  <c:pt idx="6">
                    <c:v>Ruinart</c:v>
                  </c:pt>
                  <c:pt idx="7">
                    <c:v>Nicola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1"/>
          <c:min val="1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3.0620000000000003"/>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49A930D-E9A3-4C19-8FD7-954AFED675B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618E2A1-1810-423F-81FF-39C12C61DF7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7F4DEC6-8A0D-4D23-A1DD-62CEFAA2807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840E4DB-7947-4537-BF80-295AC8C86DC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361379A-E08A-4285-A177-50AD97094A6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0704808-EE80-4DEC-B0D1-EF899571655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EBD04E4-40A8-479C-A6E6-7EE05E1E47A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5A36771B-61B0-440F-90A5-29C486AA711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57.5593</c:v>
                </c:pt>
                <c:pt idx="1">
                  <c:v>22.207599999999999</c:v>
                </c:pt>
                <c:pt idx="2">
                  <c:v>48.483199999999997</c:v>
                </c:pt>
                <c:pt idx="3">
                  <c:v>49.057299999999998</c:v>
                </c:pt>
                <c:pt idx="4">
                  <c:v>29.282399999999999</c:v>
                </c:pt>
                <c:pt idx="5">
                  <c:v>37.173099999999998</c:v>
                </c:pt>
                <c:pt idx="6">
                  <c:v>30.305599999999998</c:v>
                </c:pt>
                <c:pt idx="7">
                  <c:v>52.314700000000002</c:v>
                </c:pt>
              </c:numCache>
            </c:numRef>
          </c:xVal>
          <c:yVal>
            <c:numRef>
              <c:f>Sheet1!$B$2:$B$9</c:f>
              <c:numCache>
                <c:formatCode>General</c:formatCode>
                <c:ptCount val="8"/>
                <c:pt idx="0">
                  <c:v>1.4390000000000001</c:v>
                </c:pt>
                <c:pt idx="1">
                  <c:v>0.56299999999999994</c:v>
                </c:pt>
                <c:pt idx="2">
                  <c:v>1.1859999999999999</c:v>
                </c:pt>
                <c:pt idx="3">
                  <c:v>1.0980000000000001</c:v>
                </c:pt>
                <c:pt idx="4">
                  <c:v>0.74399999999999999</c:v>
                </c:pt>
                <c:pt idx="5">
                  <c:v>0.94499999999999995</c:v>
                </c:pt>
                <c:pt idx="6">
                  <c:v>0.79200000000000004</c:v>
                </c:pt>
                <c:pt idx="7">
                  <c:v>1.1599999999999999</c:v>
                </c:pt>
              </c:numCache>
            </c:numRef>
          </c:yVal>
          <c:bubbleSize>
            <c:numRef>
              <c:f>Sheet1!$C$2:$C$9</c:f>
              <c:numCache>
                <c:formatCode>General</c:formatCode>
                <c:ptCount val="8"/>
                <c:pt idx="0">
                  <c:v>8876227</c:v>
                </c:pt>
                <c:pt idx="1">
                  <c:v>4648693</c:v>
                </c:pt>
                <c:pt idx="2">
                  <c:v>4269285</c:v>
                </c:pt>
                <c:pt idx="3">
                  <c:v>2622261</c:v>
                </c:pt>
                <c:pt idx="4">
                  <c:v>2092464</c:v>
                </c:pt>
                <c:pt idx="5">
                  <c:v>1761075</c:v>
                </c:pt>
                <c:pt idx="6">
                  <c:v>1729845</c:v>
                </c:pt>
                <c:pt idx="7">
                  <c:v>1639753</c:v>
                </c:pt>
              </c:numCache>
            </c:numRef>
          </c:bubbleSize>
          <c:bubble3D val="0"/>
          <c:extLst>
            <c:ext xmlns:c15="http://schemas.microsoft.com/office/drawing/2012/chart" uri="{02D57815-91ED-43cb-92C2-25804820EDAC}">
              <c15:datalabelsRange>
                <c15:f>Sheet1!$E$2:$E$10</c15:f>
                <c15:dlblRangeCache>
                  <c:ptCount val="9"/>
                  <c:pt idx="0">
                    <c:v>Ruinart</c:v>
                  </c:pt>
                  <c:pt idx="1">
                    <c:v>Nicolas</c:v>
                  </c:pt>
                  <c:pt idx="2">
                    <c:v>Deutz</c:v>
                  </c:pt>
                  <c:pt idx="3">
                    <c:v>Laurent Perrier</c:v>
                  </c:pt>
                  <c:pt idx="4">
                    <c:v>Heidsieck &amp; Co Monopole</c:v>
                  </c:pt>
                  <c:pt idx="5">
                    <c:v>Ayala</c:v>
                  </c:pt>
                  <c:pt idx="6">
                    <c:v>Canard Duchêne</c:v>
                  </c:pt>
                  <c:pt idx="7">
                    <c:v>Taittinger</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9"/>
          <c:min val="1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63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74F5C87-828B-45AA-A89C-DACB0E0F4E5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89238D3-A193-4BFF-9EC1-1CAB693AAB9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97E826E-0E59-4F5F-B63A-FABFC8235EF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887AF5F-9A58-4ED2-9E3A-01446A91C5A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8FC3ADA-2244-446F-BCE7-643FEA81693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F358822E-DC64-440A-9D6D-24B4DB00303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203441C0-C6AF-499D-A20E-81DF97E2F74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CA778130-DA82-481C-817F-313B71B82EC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4.740400000000001</c:v>
                </c:pt>
                <c:pt idx="1">
                  <c:v>30.786100000000001</c:v>
                </c:pt>
                <c:pt idx="2">
                  <c:v>18.6905</c:v>
                </c:pt>
                <c:pt idx="3">
                  <c:v>24.3565</c:v>
                </c:pt>
                <c:pt idx="4">
                  <c:v>25.5548</c:v>
                </c:pt>
                <c:pt idx="5">
                  <c:v>40.8125</c:v>
                </c:pt>
                <c:pt idx="6">
                  <c:v>28.447700000000001</c:v>
                </c:pt>
                <c:pt idx="7">
                  <c:v>28.562000000000001</c:v>
                </c:pt>
              </c:numCache>
            </c:numRef>
          </c:xVal>
          <c:yVal>
            <c:numRef>
              <c:f>Sheet1!$B$2:$B$9</c:f>
              <c:numCache>
                <c:formatCode>General</c:formatCode>
                <c:ptCount val="8"/>
                <c:pt idx="0">
                  <c:v>1.0900000000000001</c:v>
                </c:pt>
                <c:pt idx="1">
                  <c:v>1.5569999999999999</c:v>
                </c:pt>
                <c:pt idx="2">
                  <c:v>0.318</c:v>
                </c:pt>
                <c:pt idx="3">
                  <c:v>1.163</c:v>
                </c:pt>
                <c:pt idx="4">
                  <c:v>1.2589999999999999</c:v>
                </c:pt>
                <c:pt idx="5">
                  <c:v>2.036</c:v>
                </c:pt>
                <c:pt idx="6">
                  <c:v>1.4910000000000001</c:v>
                </c:pt>
                <c:pt idx="7">
                  <c:v>1.4219999999999999</c:v>
                </c:pt>
              </c:numCache>
            </c:numRef>
          </c:yVal>
          <c:bubbleSize>
            <c:numRef>
              <c:f>Sheet1!$C$2:$C$9</c:f>
              <c:numCache>
                <c:formatCode>General</c:formatCode>
                <c:ptCount val="8"/>
                <c:pt idx="0">
                  <c:v>63676794</c:v>
                </c:pt>
                <c:pt idx="1">
                  <c:v>37787787</c:v>
                </c:pt>
                <c:pt idx="2">
                  <c:v>26748672</c:v>
                </c:pt>
                <c:pt idx="3">
                  <c:v>23515927</c:v>
                </c:pt>
                <c:pt idx="4">
                  <c:v>22638139</c:v>
                </c:pt>
                <c:pt idx="5">
                  <c:v>20372762</c:v>
                </c:pt>
                <c:pt idx="6">
                  <c:v>14686683</c:v>
                </c:pt>
                <c:pt idx="7">
                  <c:v>13593084</c:v>
                </c:pt>
              </c:numCache>
            </c:numRef>
          </c:bubbleSize>
          <c:bubble3D val="0"/>
          <c:extLst>
            <c:ext xmlns:c15="http://schemas.microsoft.com/office/drawing/2012/chart" uri="{02D57815-91ED-43cb-92C2-25804820EDAC}">
              <c15:datalabelsRange>
                <c15:f>Sheet1!$E$2:$E$10</c15:f>
                <c15:dlblRangeCache>
                  <c:ptCount val="9"/>
                  <c:pt idx="0">
                    <c:v>Nicolas Feuillatte</c:v>
                  </c:pt>
                  <c:pt idx="1">
                    <c:v>Mumm</c:v>
                  </c:pt>
                  <c:pt idx="2">
                    <c:v>Charles Lafitte</c:v>
                  </c:pt>
                  <c:pt idx="3">
                    <c:v>Alfred De Rothschild</c:v>
                  </c:pt>
                  <c:pt idx="4">
                    <c:v>Canard Duchêne</c:v>
                  </c:pt>
                  <c:pt idx="5">
                    <c:v>Moët &amp; Chandon</c:v>
                  </c:pt>
                  <c:pt idx="6">
                    <c:v>Tsarine</c:v>
                  </c:pt>
                  <c:pt idx="7">
                    <c:v>Demoisell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9"/>
          <c:min val="1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2360000000000002"/>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FE7CC79-07BD-4595-B9CC-335E5467EA5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155A324-6850-4DCB-82E5-835C77F656F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05019B9-BF2A-471F-96D8-9D2453D1D65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0265A32-531E-4C18-B189-E66465B6CF8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3DE49CD-9DB0-4835-BE3D-A8FD8C89207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22A4040-7AE0-4ADB-B718-C94243910B0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A8EB845-B7CD-40E4-8AEE-0E15B1064DB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73E91068-AA1F-4F62-8F91-BF7BD3EB939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56.943199999999997</c:v>
                </c:pt>
                <c:pt idx="1">
                  <c:v>22.2364</c:v>
                </c:pt>
                <c:pt idx="2">
                  <c:v>47.675199999999997</c:v>
                </c:pt>
                <c:pt idx="3">
                  <c:v>48.289099999999998</c:v>
                </c:pt>
                <c:pt idx="4">
                  <c:v>29.328600000000002</c:v>
                </c:pt>
                <c:pt idx="5">
                  <c:v>37.176900000000003</c:v>
                </c:pt>
                <c:pt idx="6">
                  <c:v>29.502600000000001</c:v>
                </c:pt>
                <c:pt idx="7">
                  <c:v>51.646000000000001</c:v>
                </c:pt>
              </c:numCache>
            </c:numRef>
          </c:xVal>
          <c:yVal>
            <c:numRef>
              <c:f>Sheet1!$B$2:$B$9</c:f>
              <c:numCache>
                <c:formatCode>General</c:formatCode>
                <c:ptCount val="8"/>
                <c:pt idx="0">
                  <c:v>1.4419999999999999</c:v>
                </c:pt>
                <c:pt idx="1">
                  <c:v>0.56899999999999995</c:v>
                </c:pt>
                <c:pt idx="2">
                  <c:v>1.1950000000000001</c:v>
                </c:pt>
                <c:pt idx="3">
                  <c:v>1.101</c:v>
                </c:pt>
                <c:pt idx="4">
                  <c:v>0.751</c:v>
                </c:pt>
                <c:pt idx="5">
                  <c:v>0.95199999999999996</c:v>
                </c:pt>
                <c:pt idx="6">
                  <c:v>0.79200000000000004</c:v>
                </c:pt>
                <c:pt idx="7">
                  <c:v>1.1659999999999999</c:v>
                </c:pt>
              </c:numCache>
            </c:numRef>
          </c:yVal>
          <c:bubbleSize>
            <c:numRef>
              <c:f>Sheet1!$C$2:$C$9</c:f>
              <c:numCache>
                <c:formatCode>General</c:formatCode>
                <c:ptCount val="8"/>
                <c:pt idx="0">
                  <c:v>3709394</c:v>
                </c:pt>
                <c:pt idx="1">
                  <c:v>2057383</c:v>
                </c:pt>
                <c:pt idx="2">
                  <c:v>1951631</c:v>
                </c:pt>
                <c:pt idx="3">
                  <c:v>1194382</c:v>
                </c:pt>
                <c:pt idx="4">
                  <c:v>1029785</c:v>
                </c:pt>
                <c:pt idx="5">
                  <c:v>867115</c:v>
                </c:pt>
                <c:pt idx="6">
                  <c:v>771759</c:v>
                </c:pt>
                <c:pt idx="7">
                  <c:v>726195</c:v>
                </c:pt>
              </c:numCache>
            </c:numRef>
          </c:bubbleSize>
          <c:bubble3D val="0"/>
          <c:extLst>
            <c:ext xmlns:c15="http://schemas.microsoft.com/office/drawing/2012/chart" uri="{02D57815-91ED-43cb-92C2-25804820EDAC}">
              <c15:datalabelsRange>
                <c15:f>Sheet1!$E$2:$E$10</c15:f>
                <c15:dlblRangeCache>
                  <c:ptCount val="9"/>
                  <c:pt idx="0">
                    <c:v>Ruinart</c:v>
                  </c:pt>
                  <c:pt idx="1">
                    <c:v>Nicolas</c:v>
                  </c:pt>
                  <c:pt idx="2">
                    <c:v>Deutz</c:v>
                  </c:pt>
                  <c:pt idx="3">
                    <c:v>Laurent Perrier</c:v>
                  </c:pt>
                  <c:pt idx="4">
                    <c:v>Heidsieck &amp; Co Monopole</c:v>
                  </c:pt>
                  <c:pt idx="5">
                    <c:v>Ayala</c:v>
                  </c:pt>
                  <c:pt idx="6">
                    <c:v>Canard Duchêne</c:v>
                  </c:pt>
                  <c:pt idx="7">
                    <c:v>Taittinger</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8"/>
          <c:min val="1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641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4E9386B-B6B3-4102-A2B1-20074340133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08B688B-C6E9-4669-B6E5-B8DAE31FB74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D5E9100-B3D3-4FB5-8B2D-EF301646C3F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2A79CA2-7AFE-40EB-B207-C8A51465F83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6F41B576-790A-4198-8A7E-E2EBE174A45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E999872-AD73-47E3-ABE7-89AED0A5C63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8976ADC4-185D-48B8-B4B4-1103E7B69D6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4D2DAFAC-D84D-4B29-A906-5D9BB87B5BF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57.2087</c:v>
                </c:pt>
                <c:pt idx="1">
                  <c:v>22.116199999999999</c:v>
                </c:pt>
                <c:pt idx="2">
                  <c:v>49.142000000000003</c:v>
                </c:pt>
                <c:pt idx="3">
                  <c:v>30.440999999999999</c:v>
                </c:pt>
                <c:pt idx="4">
                  <c:v>49.253999999999998</c:v>
                </c:pt>
                <c:pt idx="5">
                  <c:v>29.9451</c:v>
                </c:pt>
                <c:pt idx="6">
                  <c:v>29.143899999999999</c:v>
                </c:pt>
                <c:pt idx="7">
                  <c:v>36.717700000000001</c:v>
                </c:pt>
              </c:numCache>
            </c:numRef>
          </c:xVal>
          <c:yVal>
            <c:numRef>
              <c:f>Sheet1!$B$2:$B$9</c:f>
              <c:numCache>
                <c:formatCode>General</c:formatCode>
                <c:ptCount val="8"/>
                <c:pt idx="0">
                  <c:v>1.476</c:v>
                </c:pt>
                <c:pt idx="1">
                  <c:v>0.57899999999999996</c:v>
                </c:pt>
                <c:pt idx="2">
                  <c:v>1.218</c:v>
                </c:pt>
                <c:pt idx="3">
                  <c:v>0.81299999999999994</c:v>
                </c:pt>
                <c:pt idx="4">
                  <c:v>1.1200000000000001</c:v>
                </c:pt>
                <c:pt idx="5">
                  <c:v>0.78600000000000003</c:v>
                </c:pt>
                <c:pt idx="6">
                  <c:v>0.76500000000000001</c:v>
                </c:pt>
                <c:pt idx="7">
                  <c:v>0.96299999999999997</c:v>
                </c:pt>
              </c:numCache>
            </c:numRef>
          </c:yVal>
          <c:bubbleSize>
            <c:numRef>
              <c:f>Sheet1!$C$2:$C$9</c:f>
              <c:numCache>
                <c:formatCode>General</c:formatCode>
                <c:ptCount val="8"/>
                <c:pt idx="0">
                  <c:v>1769295</c:v>
                </c:pt>
                <c:pt idx="1">
                  <c:v>999807</c:v>
                </c:pt>
                <c:pt idx="2">
                  <c:v>720274</c:v>
                </c:pt>
                <c:pt idx="3">
                  <c:v>406966</c:v>
                </c:pt>
                <c:pt idx="4">
                  <c:v>402750</c:v>
                </c:pt>
                <c:pt idx="5">
                  <c:v>375092</c:v>
                </c:pt>
                <c:pt idx="6">
                  <c:v>369078</c:v>
                </c:pt>
                <c:pt idx="7">
                  <c:v>323336</c:v>
                </c:pt>
              </c:numCache>
            </c:numRef>
          </c:bubbleSize>
          <c:bubble3D val="0"/>
          <c:extLst>
            <c:ext xmlns:c15="http://schemas.microsoft.com/office/drawing/2012/chart" uri="{02D57815-91ED-43cb-92C2-25804820EDAC}">
              <c15:datalabelsRange>
                <c15:f>Sheet1!$E$2:$E$10</c15:f>
                <c15:dlblRangeCache>
                  <c:ptCount val="9"/>
                  <c:pt idx="0">
                    <c:v>Ruinart</c:v>
                  </c:pt>
                  <c:pt idx="1">
                    <c:v>Nicolas</c:v>
                  </c:pt>
                  <c:pt idx="2">
                    <c:v>Deutz</c:v>
                  </c:pt>
                  <c:pt idx="3">
                    <c:v>Canard Duchêne</c:v>
                  </c:pt>
                  <c:pt idx="4">
                    <c:v>Laurent Perrier</c:v>
                  </c:pt>
                  <c:pt idx="5">
                    <c:v>De Bligny</c:v>
                  </c:pt>
                  <c:pt idx="6">
                    <c:v>Heidsieck &amp; Co Monopole</c:v>
                  </c:pt>
                  <c:pt idx="7">
                    <c:v>Ayala</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9"/>
          <c:min val="1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675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BFA6989-83AF-490D-8A72-20766C5C85A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A3D60AF-73F7-4082-BEC4-D265519E38E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D0993E8-030A-46F1-80E0-9BA66C6B44E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CE3D5F4-0A33-40DE-8BB4-2F3D1EE18C1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60F383E9-4B12-499B-81F1-D059C2CEF07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A4872E1-D331-4332-BE1D-04AC1FA48D6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5ECCA3D6-1751-4FB8-AA6F-DDEA7D7C591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4DCCA050-A41B-4062-80D8-A18E9CDE6BA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57.624000000000002</c:v>
                </c:pt>
                <c:pt idx="1">
                  <c:v>22.2852</c:v>
                </c:pt>
                <c:pt idx="2">
                  <c:v>48.426400000000001</c:v>
                </c:pt>
                <c:pt idx="3">
                  <c:v>48.895400000000002</c:v>
                </c:pt>
                <c:pt idx="4">
                  <c:v>51.158700000000003</c:v>
                </c:pt>
                <c:pt idx="5">
                  <c:v>65.263099999999994</c:v>
                </c:pt>
                <c:pt idx="6">
                  <c:v>37.579000000000001</c:v>
                </c:pt>
                <c:pt idx="7">
                  <c:v>29.287099999999999</c:v>
                </c:pt>
              </c:numCache>
            </c:numRef>
          </c:xVal>
          <c:yVal>
            <c:numRef>
              <c:f>Sheet1!$B$2:$B$9</c:f>
              <c:numCache>
                <c:formatCode>General</c:formatCode>
                <c:ptCount val="8"/>
                <c:pt idx="0">
                  <c:v>1.4039999999999999</c:v>
                </c:pt>
                <c:pt idx="1">
                  <c:v>0.54900000000000004</c:v>
                </c:pt>
                <c:pt idx="2">
                  <c:v>1.1619999999999999</c:v>
                </c:pt>
                <c:pt idx="3">
                  <c:v>1.075</c:v>
                </c:pt>
                <c:pt idx="4">
                  <c:v>1.135</c:v>
                </c:pt>
                <c:pt idx="5">
                  <c:v>1.486</c:v>
                </c:pt>
                <c:pt idx="6">
                  <c:v>0.92600000000000005</c:v>
                </c:pt>
                <c:pt idx="7">
                  <c:v>0.72099999999999997</c:v>
                </c:pt>
              </c:numCache>
            </c:numRef>
          </c:yVal>
          <c:bubbleSize>
            <c:numRef>
              <c:f>Sheet1!$C$2:$C$9</c:f>
              <c:numCache>
                <c:formatCode>General</c:formatCode>
                <c:ptCount val="8"/>
                <c:pt idx="0">
                  <c:v>1009342</c:v>
                </c:pt>
                <c:pt idx="1">
                  <c:v>510510</c:v>
                </c:pt>
                <c:pt idx="2">
                  <c:v>492690</c:v>
                </c:pt>
                <c:pt idx="3">
                  <c:v>389207</c:v>
                </c:pt>
                <c:pt idx="4">
                  <c:v>213690</c:v>
                </c:pt>
                <c:pt idx="5">
                  <c:v>205122</c:v>
                </c:pt>
                <c:pt idx="6">
                  <c:v>198718</c:v>
                </c:pt>
                <c:pt idx="7">
                  <c:v>194847</c:v>
                </c:pt>
              </c:numCache>
            </c:numRef>
          </c:bubbleSize>
          <c:bubble3D val="0"/>
          <c:extLst>
            <c:ext xmlns:c15="http://schemas.microsoft.com/office/drawing/2012/chart" uri="{02D57815-91ED-43cb-92C2-25804820EDAC}">
              <c15:datalabelsRange>
                <c15:f>Sheet1!$E$2:$E$10</c15:f>
                <c15:dlblRangeCache>
                  <c:ptCount val="9"/>
                  <c:pt idx="0">
                    <c:v>Ruinart</c:v>
                  </c:pt>
                  <c:pt idx="1">
                    <c:v>Nicolas</c:v>
                  </c:pt>
                  <c:pt idx="2">
                    <c:v>Deutz</c:v>
                  </c:pt>
                  <c:pt idx="3">
                    <c:v>Laurent Perrier</c:v>
                  </c:pt>
                  <c:pt idx="4">
                    <c:v>Taittinger</c:v>
                  </c:pt>
                  <c:pt idx="5">
                    <c:v>Bollinger</c:v>
                  </c:pt>
                  <c:pt idx="6">
                    <c:v>Ayala</c:v>
                  </c:pt>
                  <c:pt idx="7">
                    <c:v>Heidsieck &amp; Co Monopol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8"/>
          <c:min val="1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685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6821093-9C7C-438A-85D3-35D117EE9D1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E729DA7-9744-44D7-8AE1-7D9E6BD1634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21FF3BB-4C6E-4FAB-A51C-5A422F24FA1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CA85B63-F025-40FB-B1EC-9D180DED74A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07FCD41-3409-4540-8833-4AB723B4601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F24F6B0B-E2AE-429F-8680-C9A6D62D06B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EB7A3EA-9AA6-46A8-B727-B150DF8E4AD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7137E881-6BB1-464A-899A-02A0527EAB2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58.607399999999998</c:v>
                </c:pt>
                <c:pt idx="1">
                  <c:v>48.682899999999997</c:v>
                </c:pt>
                <c:pt idx="2">
                  <c:v>49.257599999999996</c:v>
                </c:pt>
                <c:pt idx="3">
                  <c:v>22.162800000000001</c:v>
                </c:pt>
                <c:pt idx="4">
                  <c:v>52.6676</c:v>
                </c:pt>
                <c:pt idx="5">
                  <c:v>37.256599999999999</c:v>
                </c:pt>
                <c:pt idx="6">
                  <c:v>29.456499999999998</c:v>
                </c:pt>
                <c:pt idx="7">
                  <c:v>52.234499999999997</c:v>
                </c:pt>
              </c:numCache>
            </c:numRef>
          </c:xVal>
          <c:yVal>
            <c:numRef>
              <c:f>Sheet1!$B$2:$B$9</c:f>
              <c:numCache>
                <c:formatCode>General</c:formatCode>
                <c:ptCount val="8"/>
                <c:pt idx="0">
                  <c:v>1.3660000000000001</c:v>
                </c:pt>
                <c:pt idx="1">
                  <c:v>1.1140000000000001</c:v>
                </c:pt>
                <c:pt idx="2">
                  <c:v>1.042</c:v>
                </c:pt>
                <c:pt idx="3">
                  <c:v>0.52800000000000002</c:v>
                </c:pt>
                <c:pt idx="4">
                  <c:v>1.2549999999999999</c:v>
                </c:pt>
                <c:pt idx="5">
                  <c:v>0.88700000000000001</c:v>
                </c:pt>
                <c:pt idx="6">
                  <c:v>0.70199999999999996</c:v>
                </c:pt>
                <c:pt idx="7">
                  <c:v>1.089</c:v>
                </c:pt>
              </c:numCache>
            </c:numRef>
          </c:yVal>
          <c:bubbleSize>
            <c:numRef>
              <c:f>Sheet1!$C$2:$C$9</c:f>
              <c:numCache>
                <c:formatCode>General</c:formatCode>
                <c:ptCount val="8"/>
                <c:pt idx="0">
                  <c:v>711670</c:v>
                </c:pt>
                <c:pt idx="1">
                  <c:v>373933</c:v>
                </c:pt>
                <c:pt idx="2">
                  <c:v>288354</c:v>
                </c:pt>
                <c:pt idx="3">
                  <c:v>275838</c:v>
                </c:pt>
                <c:pt idx="4">
                  <c:v>157792</c:v>
                </c:pt>
                <c:pt idx="5">
                  <c:v>136061</c:v>
                </c:pt>
                <c:pt idx="6">
                  <c:v>133821</c:v>
                </c:pt>
                <c:pt idx="7">
                  <c:v>133198</c:v>
                </c:pt>
              </c:numCache>
            </c:numRef>
          </c:bubbleSize>
          <c:bubble3D val="0"/>
          <c:extLst>
            <c:ext xmlns:c15="http://schemas.microsoft.com/office/drawing/2012/chart" uri="{02D57815-91ED-43cb-92C2-25804820EDAC}">
              <c15:datalabelsRange>
                <c15:f>Sheet1!$E$2:$E$10</c15:f>
                <c15:dlblRangeCache>
                  <c:ptCount val="9"/>
                  <c:pt idx="0">
                    <c:v>Ruinart</c:v>
                  </c:pt>
                  <c:pt idx="1">
                    <c:v>Deutz</c:v>
                  </c:pt>
                  <c:pt idx="2">
                    <c:v>Laurent Perrier</c:v>
                  </c:pt>
                  <c:pt idx="3">
                    <c:v>Nicolas</c:v>
                  </c:pt>
                  <c:pt idx="4">
                    <c:v>Veuve Clicquot</c:v>
                  </c:pt>
                  <c:pt idx="5">
                    <c:v>Ayala</c:v>
                  </c:pt>
                  <c:pt idx="6">
                    <c:v>Heidsieck &amp; Co Monopole</c:v>
                  </c:pt>
                  <c:pt idx="7">
                    <c:v>Taittinger</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0"/>
          <c:min val="1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660000000000001"/>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66E6094-F31B-4B09-9DA0-57D46431031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A9DA075-2E3A-4C71-B8B1-ACCF401075D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F19361B-375F-4D39-9366-F884AF5E414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8223970-FBE8-4E68-9FEE-F6DF76C16A2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E8DDE27-5F61-4A42-AC2B-13F3D0B6D1B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0995801-611F-481B-9F96-120CF6E7C6D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7676F599-6025-477E-B143-47ABCF0B3FF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811BA6CB-2B1E-4029-A528-B16A86D3637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59.397500000000001</c:v>
                </c:pt>
                <c:pt idx="1">
                  <c:v>22.198699999999999</c:v>
                </c:pt>
                <c:pt idx="2">
                  <c:v>50.509</c:v>
                </c:pt>
                <c:pt idx="3">
                  <c:v>51.907299999999999</c:v>
                </c:pt>
                <c:pt idx="4">
                  <c:v>55.335500000000003</c:v>
                </c:pt>
                <c:pt idx="5">
                  <c:v>33.5107</c:v>
                </c:pt>
                <c:pt idx="6">
                  <c:v>29.222100000000001</c:v>
                </c:pt>
                <c:pt idx="7">
                  <c:v>29.836300000000001</c:v>
                </c:pt>
              </c:numCache>
            </c:numRef>
          </c:xVal>
          <c:yVal>
            <c:numRef>
              <c:f>Sheet1!$B$2:$B$9</c:f>
              <c:numCache>
                <c:formatCode>General</c:formatCode>
                <c:ptCount val="8"/>
                <c:pt idx="0">
                  <c:v>1.4079999999999999</c:v>
                </c:pt>
                <c:pt idx="1">
                  <c:v>0.53800000000000003</c:v>
                </c:pt>
                <c:pt idx="2">
                  <c:v>1.1399999999999999</c:v>
                </c:pt>
                <c:pt idx="3">
                  <c:v>1.056</c:v>
                </c:pt>
                <c:pt idx="4">
                  <c:v>1.1160000000000001</c:v>
                </c:pt>
                <c:pt idx="5">
                  <c:v>0.78300000000000003</c:v>
                </c:pt>
                <c:pt idx="6">
                  <c:v>0.71599999999999997</c:v>
                </c:pt>
                <c:pt idx="7">
                  <c:v>0.73</c:v>
                </c:pt>
              </c:numCache>
            </c:numRef>
          </c:yVal>
          <c:bubbleSize>
            <c:numRef>
              <c:f>Sheet1!$C$2:$C$9</c:f>
              <c:numCache>
                <c:formatCode>General</c:formatCode>
                <c:ptCount val="8"/>
                <c:pt idx="0">
                  <c:v>556970</c:v>
                </c:pt>
                <c:pt idx="1">
                  <c:v>195127</c:v>
                </c:pt>
                <c:pt idx="2">
                  <c:v>188853</c:v>
                </c:pt>
                <c:pt idx="3">
                  <c:v>95146</c:v>
                </c:pt>
                <c:pt idx="4">
                  <c:v>92687</c:v>
                </c:pt>
                <c:pt idx="5">
                  <c:v>91015</c:v>
                </c:pt>
                <c:pt idx="6">
                  <c:v>83429</c:v>
                </c:pt>
                <c:pt idx="7">
                  <c:v>74531</c:v>
                </c:pt>
              </c:numCache>
            </c:numRef>
          </c:bubbleSize>
          <c:bubble3D val="0"/>
          <c:extLst>
            <c:ext xmlns:c15="http://schemas.microsoft.com/office/drawing/2012/chart" uri="{02D57815-91ED-43cb-92C2-25804820EDAC}">
              <c15:datalabelsRange>
                <c15:f>Sheet1!$E$2:$E$10</c15:f>
                <c15:dlblRangeCache>
                  <c:ptCount val="9"/>
                  <c:pt idx="0">
                    <c:v>Ruinart</c:v>
                  </c:pt>
                  <c:pt idx="1">
                    <c:v>Nicolas</c:v>
                  </c:pt>
                  <c:pt idx="2">
                    <c:v>Deutz</c:v>
                  </c:pt>
                  <c:pt idx="3">
                    <c:v>Laurent Perrier</c:v>
                  </c:pt>
                  <c:pt idx="4">
                    <c:v>Taittinger</c:v>
                  </c:pt>
                  <c:pt idx="5">
                    <c:v>Canard Duchêne</c:v>
                  </c:pt>
                  <c:pt idx="6">
                    <c:v>Heidsieck &amp; Co Monopole</c:v>
                  </c:pt>
                  <c:pt idx="7">
                    <c:v>De Blign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1"/>
          <c:min val="1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607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713EE64-44EC-4E6B-A4A9-E8D1EB3FE86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D24F878-41CE-43B6-9062-059C357ED10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5934246-3A77-4EB8-A9E4-B9D3353B86E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7AEC6EB-0DBC-47D0-944B-8FD40F7FE34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6E82B01E-B195-4FDC-86CD-BCF1D3B893B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A7B0282-27C0-433F-8331-7CA9D0CE4B1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C310A991-4B9A-4C34-8620-B5D2268E814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D95C021B-C01D-43B2-8240-FD38DD0BEBA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57.156300000000002</c:v>
                </c:pt>
                <c:pt idx="1">
                  <c:v>22.1584</c:v>
                </c:pt>
                <c:pt idx="2">
                  <c:v>47.828200000000002</c:v>
                </c:pt>
                <c:pt idx="3">
                  <c:v>48.481099999999998</c:v>
                </c:pt>
                <c:pt idx="4">
                  <c:v>29.301100000000002</c:v>
                </c:pt>
                <c:pt idx="5">
                  <c:v>37.0914</c:v>
                </c:pt>
                <c:pt idx="6">
                  <c:v>51.601100000000002</c:v>
                </c:pt>
                <c:pt idx="7">
                  <c:v>29.787600000000001</c:v>
                </c:pt>
              </c:numCache>
            </c:numRef>
          </c:xVal>
          <c:yVal>
            <c:numRef>
              <c:f>Sheet1!$B$2:$B$9</c:f>
              <c:numCache>
                <c:formatCode>General</c:formatCode>
                <c:ptCount val="8"/>
                <c:pt idx="0">
                  <c:v>1.4279999999999999</c:v>
                </c:pt>
                <c:pt idx="1">
                  <c:v>0.56100000000000005</c:v>
                </c:pt>
                <c:pt idx="2">
                  <c:v>1.179</c:v>
                </c:pt>
                <c:pt idx="3">
                  <c:v>1.0920000000000001</c:v>
                </c:pt>
                <c:pt idx="4">
                  <c:v>0.74</c:v>
                </c:pt>
                <c:pt idx="5">
                  <c:v>0.93700000000000006</c:v>
                </c:pt>
                <c:pt idx="6">
                  <c:v>1.151</c:v>
                </c:pt>
                <c:pt idx="7">
                  <c:v>0.78400000000000003</c:v>
                </c:pt>
              </c:numCache>
            </c:numRef>
          </c:yVal>
          <c:bubbleSize>
            <c:numRef>
              <c:f>Sheet1!$C$2:$C$9</c:f>
              <c:numCache>
                <c:formatCode>General</c:formatCode>
                <c:ptCount val="8"/>
                <c:pt idx="0">
                  <c:v>6106691</c:v>
                </c:pt>
                <c:pt idx="1">
                  <c:v>3088765</c:v>
                </c:pt>
                <c:pt idx="2">
                  <c:v>2973050</c:v>
                </c:pt>
                <c:pt idx="3">
                  <c:v>1954226</c:v>
                </c:pt>
                <c:pt idx="4">
                  <c:v>1391478</c:v>
                </c:pt>
                <c:pt idx="5">
                  <c:v>1230508</c:v>
                </c:pt>
                <c:pt idx="6">
                  <c:v>1142706</c:v>
                </c:pt>
                <c:pt idx="7">
                  <c:v>1141224</c:v>
                </c:pt>
              </c:numCache>
            </c:numRef>
          </c:bubbleSize>
          <c:bubble3D val="0"/>
          <c:extLst>
            <c:ext xmlns:c15="http://schemas.microsoft.com/office/drawing/2012/chart" uri="{02D57815-91ED-43cb-92C2-25804820EDAC}">
              <c15:datalabelsRange>
                <c15:f>Sheet1!$E$2:$E$10</c15:f>
                <c15:dlblRangeCache>
                  <c:ptCount val="9"/>
                  <c:pt idx="0">
                    <c:v>Ruinart</c:v>
                  </c:pt>
                  <c:pt idx="1">
                    <c:v>Nicolas</c:v>
                  </c:pt>
                  <c:pt idx="2">
                    <c:v>Deutz</c:v>
                  </c:pt>
                  <c:pt idx="3">
                    <c:v>Laurent Perrier</c:v>
                  </c:pt>
                  <c:pt idx="4">
                    <c:v>Heidsieck &amp; Co Monopole</c:v>
                  </c:pt>
                  <c:pt idx="5">
                    <c:v>Ayala</c:v>
                  </c:pt>
                  <c:pt idx="6">
                    <c:v>Taittinger</c:v>
                  </c:pt>
                  <c:pt idx="7">
                    <c:v>Canard Duchên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9"/>
          <c:min val="1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627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C6B8AF2-5B49-4FBF-9ABA-6D992A97C00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440313D-E9CE-4427-859E-8C72C275D09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183BF93-B774-4286-B919-29E02B93110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7437D79-4BDE-477D-9180-216BC852DB9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772D6EA-4A1E-4F8D-B678-8E06609D826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B866D125-7BB7-4366-AAD2-C56035369A4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329B3A6-3BB5-4AC8-B87F-8B104CD3B38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78E5A1E0-5C70-468B-A8E9-5424A18064A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59.297699999999999</c:v>
                </c:pt>
                <c:pt idx="1">
                  <c:v>22.195399999999999</c:v>
                </c:pt>
                <c:pt idx="2">
                  <c:v>49.484299999999998</c:v>
                </c:pt>
                <c:pt idx="3">
                  <c:v>49.416499999999999</c:v>
                </c:pt>
                <c:pt idx="4">
                  <c:v>29.332599999999999</c:v>
                </c:pt>
                <c:pt idx="5">
                  <c:v>53.543199999999999</c:v>
                </c:pt>
                <c:pt idx="6">
                  <c:v>64.374799999999993</c:v>
                </c:pt>
                <c:pt idx="7">
                  <c:v>30.589300000000001</c:v>
                </c:pt>
              </c:numCache>
            </c:numRef>
          </c:xVal>
          <c:yVal>
            <c:numRef>
              <c:f>Sheet1!$B$2:$B$9</c:f>
              <c:numCache>
                <c:formatCode>General</c:formatCode>
                <c:ptCount val="8"/>
                <c:pt idx="0">
                  <c:v>1.4419999999999999</c:v>
                </c:pt>
                <c:pt idx="1">
                  <c:v>0.55400000000000005</c:v>
                </c:pt>
                <c:pt idx="2">
                  <c:v>1.1679999999999999</c:v>
                </c:pt>
                <c:pt idx="3">
                  <c:v>1.0960000000000001</c:v>
                </c:pt>
                <c:pt idx="4">
                  <c:v>0.73799999999999999</c:v>
                </c:pt>
                <c:pt idx="5">
                  <c:v>1.151</c:v>
                </c:pt>
                <c:pt idx="6">
                  <c:v>1.504</c:v>
                </c:pt>
                <c:pt idx="7">
                  <c:v>0.79700000000000004</c:v>
                </c:pt>
              </c:numCache>
            </c:numRef>
          </c:yVal>
          <c:bubbleSize>
            <c:numRef>
              <c:f>Sheet1!$C$2:$C$9</c:f>
              <c:numCache>
                <c:formatCode>General</c:formatCode>
                <c:ptCount val="8"/>
                <c:pt idx="0">
                  <c:v>1010136</c:v>
                </c:pt>
                <c:pt idx="1">
                  <c:v>516597</c:v>
                </c:pt>
                <c:pt idx="2">
                  <c:v>416905</c:v>
                </c:pt>
                <c:pt idx="3">
                  <c:v>259140</c:v>
                </c:pt>
                <c:pt idx="4">
                  <c:v>217736</c:v>
                </c:pt>
                <c:pt idx="5">
                  <c:v>163039</c:v>
                </c:pt>
                <c:pt idx="6">
                  <c:v>152697</c:v>
                </c:pt>
                <c:pt idx="7">
                  <c:v>141139</c:v>
                </c:pt>
              </c:numCache>
            </c:numRef>
          </c:bubbleSize>
          <c:bubble3D val="0"/>
          <c:extLst>
            <c:ext xmlns:c15="http://schemas.microsoft.com/office/drawing/2012/chart" uri="{02D57815-91ED-43cb-92C2-25804820EDAC}">
              <c15:datalabelsRange>
                <c15:f>Sheet1!$E$2:$E$10</c15:f>
                <c15:dlblRangeCache>
                  <c:ptCount val="9"/>
                  <c:pt idx="0">
                    <c:v>Ruinart</c:v>
                  </c:pt>
                  <c:pt idx="1">
                    <c:v>Nicolas</c:v>
                  </c:pt>
                  <c:pt idx="2">
                    <c:v>Deutz</c:v>
                  </c:pt>
                  <c:pt idx="3">
                    <c:v>Laurent Perrier</c:v>
                  </c:pt>
                  <c:pt idx="4">
                    <c:v>Heidsieck &amp; Co Monopole</c:v>
                  </c:pt>
                  <c:pt idx="5">
                    <c:v>Taittinger</c:v>
                  </c:pt>
                  <c:pt idx="6">
                    <c:v>Roederer</c:v>
                  </c:pt>
                  <c:pt idx="7">
                    <c:v>Canard Duchên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7"/>
          <c:min val="1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rPr lang="de-DE"/>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704"/>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73605EE-CA15-4306-A01D-CAAE64C9741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D94AFDF-6B52-444F-9E48-3FF29CA4EE4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3EA7CB2-85E1-4B2C-9F67-5A82C96A928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55C7A16-8F1A-4931-8446-06AC816BF07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166D09C8-8857-4BA2-A82B-8D172E75F74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500C8FC-80D7-4602-B927-39B98D05B70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FA616C3-6687-4BDF-9FCA-5057FD550A1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6C7F8C6F-5D9C-42AD-8436-58F9F4D4117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74.606999999999999</c:v>
                </c:pt>
                <c:pt idx="1">
                  <c:v>50.238399999999999</c:v>
                </c:pt>
                <c:pt idx="2">
                  <c:v>52.996000000000002</c:v>
                </c:pt>
                <c:pt idx="3">
                  <c:v>23.661899999999999</c:v>
                </c:pt>
                <c:pt idx="4">
                  <c:v>95.832400000000007</c:v>
                </c:pt>
                <c:pt idx="5">
                  <c:v>31.808399999999999</c:v>
                </c:pt>
                <c:pt idx="6">
                  <c:v>32.778799999999997</c:v>
                </c:pt>
                <c:pt idx="7">
                  <c:v>287.9796</c:v>
                </c:pt>
              </c:numCache>
            </c:numRef>
          </c:xVal>
          <c:yVal>
            <c:numRef>
              <c:f>Sheet1!$B$2:$B$9</c:f>
              <c:numCache>
                <c:formatCode>General</c:formatCode>
                <c:ptCount val="8"/>
                <c:pt idx="0">
                  <c:v>1.5149999999999999</c:v>
                </c:pt>
                <c:pt idx="1">
                  <c:v>1.006</c:v>
                </c:pt>
                <c:pt idx="2">
                  <c:v>0.98</c:v>
                </c:pt>
                <c:pt idx="3">
                  <c:v>0.48899999999999999</c:v>
                </c:pt>
                <c:pt idx="4">
                  <c:v>1.9430000000000001</c:v>
                </c:pt>
                <c:pt idx="5">
                  <c:v>0.65300000000000002</c:v>
                </c:pt>
                <c:pt idx="6">
                  <c:v>0.65900000000000003</c:v>
                </c:pt>
                <c:pt idx="7">
                  <c:v>5.758</c:v>
                </c:pt>
              </c:numCache>
            </c:numRef>
          </c:yVal>
          <c:bubbleSize>
            <c:numRef>
              <c:f>Sheet1!$C$2:$C$9</c:f>
              <c:numCache>
                <c:formatCode>General</c:formatCode>
                <c:ptCount val="8"/>
                <c:pt idx="0">
                  <c:v>1590547</c:v>
                </c:pt>
                <c:pt idx="1">
                  <c:v>430995</c:v>
                </c:pt>
                <c:pt idx="2">
                  <c:v>366626</c:v>
                </c:pt>
                <c:pt idx="3">
                  <c:v>343168</c:v>
                </c:pt>
                <c:pt idx="4">
                  <c:v>228081</c:v>
                </c:pt>
                <c:pt idx="5">
                  <c:v>210031</c:v>
                </c:pt>
                <c:pt idx="6">
                  <c:v>199000</c:v>
                </c:pt>
                <c:pt idx="7">
                  <c:v>183155</c:v>
                </c:pt>
              </c:numCache>
            </c:numRef>
          </c:bubbleSize>
          <c:bubble3D val="0"/>
          <c:extLst>
            <c:ext xmlns:c15="http://schemas.microsoft.com/office/drawing/2012/chart" uri="{02D57815-91ED-43cb-92C2-25804820EDAC}">
              <c15:datalabelsRange>
                <c15:f>Sheet1!$E$2:$E$10</c15:f>
                <c15:dlblRangeCache>
                  <c:ptCount val="9"/>
                  <c:pt idx="0">
                    <c:v>Ruinart</c:v>
                  </c:pt>
                  <c:pt idx="1">
                    <c:v>Deutz</c:v>
                  </c:pt>
                  <c:pt idx="2">
                    <c:v>Laurent Perrier</c:v>
                  </c:pt>
                  <c:pt idx="3">
                    <c:v>Nicolas</c:v>
                  </c:pt>
                  <c:pt idx="4">
                    <c:v>Roederer</c:v>
                  </c:pt>
                  <c:pt idx="5">
                    <c:v>Malard</c:v>
                  </c:pt>
                  <c:pt idx="6">
                    <c:v>Nicolas Feuillatte</c:v>
                  </c:pt>
                  <c:pt idx="7">
                    <c:v>Dom Perigno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46"/>
          <c:min val="19"/>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3EFE8F4-28F8-4885-A390-1C98CF47FA9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FE0CF7B-095B-4423-9964-7B86D3C4A51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8CA0096-9091-4508-BC51-045021C04DA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799AD05-7A92-473C-984D-4972A68B4A1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530FDEB0-AECB-4C26-87A4-1FF0272C93F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4345FB3-8AE1-471B-8057-8B0808AE613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4CFD69A-CB30-4FDF-B935-B51AF99DB61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EAEA8D4D-A6ED-4E02-A4BD-EA5F291596E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57.992800000000003</c:v>
                </c:pt>
                <c:pt idx="1">
                  <c:v>50.215800000000002</c:v>
                </c:pt>
                <c:pt idx="2">
                  <c:v>22.9695</c:v>
                </c:pt>
                <c:pt idx="3">
                  <c:v>29.235499999999998</c:v>
                </c:pt>
                <c:pt idx="4">
                  <c:v>51.685499999999998</c:v>
                </c:pt>
                <c:pt idx="5">
                  <c:v>55.038899999999998</c:v>
                </c:pt>
                <c:pt idx="6">
                  <c:v>31.77</c:v>
                </c:pt>
                <c:pt idx="7">
                  <c:v>37.607300000000002</c:v>
                </c:pt>
              </c:numCache>
            </c:numRef>
          </c:xVal>
          <c:yVal>
            <c:numRef>
              <c:f>Sheet1!$B$2:$B$9</c:f>
              <c:numCache>
                <c:formatCode>General</c:formatCode>
                <c:ptCount val="8"/>
                <c:pt idx="0">
                  <c:v>1.411</c:v>
                </c:pt>
                <c:pt idx="1">
                  <c:v>1.163</c:v>
                </c:pt>
                <c:pt idx="2">
                  <c:v>0.56299999999999994</c:v>
                </c:pt>
                <c:pt idx="3">
                  <c:v>0.72599999999999998</c:v>
                </c:pt>
                <c:pt idx="4">
                  <c:v>1.0629999999999999</c:v>
                </c:pt>
                <c:pt idx="5">
                  <c:v>1.145</c:v>
                </c:pt>
                <c:pt idx="6">
                  <c:v>0.78400000000000003</c:v>
                </c:pt>
                <c:pt idx="7">
                  <c:v>0.93400000000000005</c:v>
                </c:pt>
              </c:numCache>
            </c:numRef>
          </c:yVal>
          <c:bubbleSize>
            <c:numRef>
              <c:f>Sheet1!$C$2:$C$9</c:f>
              <c:numCache>
                <c:formatCode>General</c:formatCode>
                <c:ptCount val="8"/>
                <c:pt idx="0">
                  <c:v>496882</c:v>
                </c:pt>
                <c:pt idx="1">
                  <c:v>276940</c:v>
                </c:pt>
                <c:pt idx="2">
                  <c:v>218187</c:v>
                </c:pt>
                <c:pt idx="3">
                  <c:v>125888</c:v>
                </c:pt>
                <c:pt idx="4">
                  <c:v>121616</c:v>
                </c:pt>
                <c:pt idx="5">
                  <c:v>118719</c:v>
                </c:pt>
                <c:pt idx="6">
                  <c:v>117962</c:v>
                </c:pt>
                <c:pt idx="7">
                  <c:v>105639</c:v>
                </c:pt>
              </c:numCache>
            </c:numRef>
          </c:bubbleSize>
          <c:bubble3D val="0"/>
          <c:extLst>
            <c:ext xmlns:c15="http://schemas.microsoft.com/office/drawing/2012/chart" uri="{02D57815-91ED-43cb-92C2-25804820EDAC}">
              <c15:datalabelsRange>
                <c15:f>Sheet1!$E$2:$E$10</c15:f>
                <c15:dlblRangeCache>
                  <c:ptCount val="9"/>
                  <c:pt idx="0">
                    <c:v>Ruinart</c:v>
                  </c:pt>
                  <c:pt idx="1">
                    <c:v>Deutz</c:v>
                  </c:pt>
                  <c:pt idx="2">
                    <c:v>Nicolas</c:v>
                  </c:pt>
                  <c:pt idx="3">
                    <c:v>Heidsieck &amp; Co Monopole</c:v>
                  </c:pt>
                  <c:pt idx="4">
                    <c:v>Laurent Perrier</c:v>
                  </c:pt>
                  <c:pt idx="5">
                    <c:v>Taittinger</c:v>
                  </c:pt>
                  <c:pt idx="6">
                    <c:v>Canard Duchêne</c:v>
                  </c:pt>
                  <c:pt idx="7">
                    <c:v>Ayala</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0"/>
          <c:min val="1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611"/>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2AE7E7F-0CEE-4304-AAD2-127A96B1CC3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DB07A6D-4780-41CD-91AA-4B3FA6C3DEC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4BE9949-ED09-4753-BAF0-1F95268B266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3D33FF3-B5F5-4C9B-99D3-FF5BA0D665A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86EEAC0-39F4-47B3-81A6-9965422BED0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9F2B085-5CCB-486B-AEA6-09B0110658A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87FFD3D2-7C81-4589-B069-1708C939484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C7545B1A-9736-41FF-A972-88FDB3EAF4E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58.182699999999997</c:v>
                </c:pt>
                <c:pt idx="1">
                  <c:v>22.021899999999999</c:v>
                </c:pt>
                <c:pt idx="2">
                  <c:v>49.603200000000001</c:v>
                </c:pt>
                <c:pt idx="3">
                  <c:v>29.059000000000001</c:v>
                </c:pt>
                <c:pt idx="4">
                  <c:v>37.816699999999997</c:v>
                </c:pt>
                <c:pt idx="5">
                  <c:v>30.0596</c:v>
                </c:pt>
                <c:pt idx="6">
                  <c:v>31.234200000000001</c:v>
                </c:pt>
                <c:pt idx="7">
                  <c:v>53.264400000000002</c:v>
                </c:pt>
              </c:numCache>
            </c:numRef>
          </c:xVal>
          <c:yVal>
            <c:numRef>
              <c:f>Sheet1!$B$2:$B$9</c:f>
              <c:numCache>
                <c:formatCode>General</c:formatCode>
                <c:ptCount val="8"/>
                <c:pt idx="0">
                  <c:v>1.5169999999999999</c:v>
                </c:pt>
                <c:pt idx="1">
                  <c:v>0.58699999999999997</c:v>
                </c:pt>
                <c:pt idx="2">
                  <c:v>1.2549999999999999</c:v>
                </c:pt>
                <c:pt idx="3">
                  <c:v>0.78</c:v>
                </c:pt>
                <c:pt idx="4">
                  <c:v>1.012</c:v>
                </c:pt>
                <c:pt idx="5">
                  <c:v>0.80500000000000005</c:v>
                </c:pt>
                <c:pt idx="6">
                  <c:v>0.82099999999999995</c:v>
                </c:pt>
                <c:pt idx="7">
                  <c:v>1.173</c:v>
                </c:pt>
              </c:numCache>
            </c:numRef>
          </c:yVal>
          <c:bubbleSize>
            <c:numRef>
              <c:f>Sheet1!$C$2:$C$9</c:f>
              <c:numCache>
                <c:formatCode>General</c:formatCode>
                <c:ptCount val="8"/>
                <c:pt idx="0">
                  <c:v>235698</c:v>
                </c:pt>
                <c:pt idx="1">
                  <c:v>185733</c:v>
                </c:pt>
                <c:pt idx="2">
                  <c:v>144147</c:v>
                </c:pt>
                <c:pt idx="3">
                  <c:v>91042</c:v>
                </c:pt>
                <c:pt idx="4">
                  <c:v>66217</c:v>
                </c:pt>
                <c:pt idx="5">
                  <c:v>65109</c:v>
                </c:pt>
                <c:pt idx="6">
                  <c:v>54691</c:v>
                </c:pt>
                <c:pt idx="7">
                  <c:v>50974</c:v>
                </c:pt>
              </c:numCache>
            </c:numRef>
          </c:bubbleSize>
          <c:bubble3D val="0"/>
          <c:extLst>
            <c:ext xmlns:c15="http://schemas.microsoft.com/office/drawing/2012/chart" uri="{02D57815-91ED-43cb-92C2-25804820EDAC}">
              <c15:datalabelsRange>
                <c15:f>Sheet1!$E$2:$E$10</c15:f>
                <c15:dlblRangeCache>
                  <c:ptCount val="9"/>
                  <c:pt idx="0">
                    <c:v>Ruinart</c:v>
                  </c:pt>
                  <c:pt idx="1">
                    <c:v>Nicolas</c:v>
                  </c:pt>
                  <c:pt idx="2">
                    <c:v>Deutz</c:v>
                  </c:pt>
                  <c:pt idx="3">
                    <c:v>Heidsieck &amp; Co Monopole</c:v>
                  </c:pt>
                  <c:pt idx="4">
                    <c:v>Ayala</c:v>
                  </c:pt>
                  <c:pt idx="5">
                    <c:v>De Bligny</c:v>
                  </c:pt>
                  <c:pt idx="6">
                    <c:v>Canard Duchêne</c:v>
                  </c:pt>
                  <c:pt idx="7">
                    <c:v>Laurent Perrier</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0"/>
          <c:min val="1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716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54234FC-5D02-4D46-B93C-EC35CF6D233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214CD73-FFD2-4DA5-B122-EC5829FAE3F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BDF0845-E4F3-47AD-9DE2-3EDB6150E4F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29379BE-FAE5-4908-A862-193BA0EF2D0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CE60DE8-6C52-474B-A874-3843517C0E7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F2ABE61-F770-4BA9-A311-2569CCEDF5E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7DF22996-AD2E-4A84-85CD-C017CD2B613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067618FE-C516-478C-9D94-6DAEA334C52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58.734200000000001</c:v>
                </c:pt>
                <c:pt idx="1">
                  <c:v>21.622299999999999</c:v>
                </c:pt>
                <c:pt idx="2">
                  <c:v>48.889699999999998</c:v>
                </c:pt>
                <c:pt idx="3">
                  <c:v>51.144300000000001</c:v>
                </c:pt>
                <c:pt idx="4">
                  <c:v>33.765999999999998</c:v>
                </c:pt>
                <c:pt idx="5">
                  <c:v>63.582700000000003</c:v>
                </c:pt>
                <c:pt idx="6">
                  <c:v>37.339100000000002</c:v>
                </c:pt>
                <c:pt idx="7">
                  <c:v>54.231400000000001</c:v>
                </c:pt>
              </c:numCache>
            </c:numRef>
          </c:xVal>
          <c:yVal>
            <c:numRef>
              <c:f>Sheet1!$B$2:$B$9</c:f>
              <c:numCache>
                <c:formatCode>General</c:formatCode>
                <c:ptCount val="8"/>
                <c:pt idx="0">
                  <c:v>1.528</c:v>
                </c:pt>
                <c:pt idx="1">
                  <c:v>0.57299999999999995</c:v>
                </c:pt>
                <c:pt idx="2">
                  <c:v>1.2290000000000001</c:v>
                </c:pt>
                <c:pt idx="3">
                  <c:v>1.153</c:v>
                </c:pt>
                <c:pt idx="4">
                  <c:v>0.90600000000000003</c:v>
                </c:pt>
                <c:pt idx="5">
                  <c:v>1.5640000000000001</c:v>
                </c:pt>
                <c:pt idx="6">
                  <c:v>0.997</c:v>
                </c:pt>
                <c:pt idx="7">
                  <c:v>1.2030000000000001</c:v>
                </c:pt>
              </c:numCache>
            </c:numRef>
          </c:yVal>
          <c:bubbleSize>
            <c:numRef>
              <c:f>Sheet1!$C$2:$C$9</c:f>
              <c:numCache>
                <c:formatCode>General</c:formatCode>
                <c:ptCount val="8"/>
                <c:pt idx="0">
                  <c:v>184954</c:v>
                </c:pt>
                <c:pt idx="1">
                  <c:v>116501</c:v>
                </c:pt>
                <c:pt idx="2">
                  <c:v>77588</c:v>
                </c:pt>
                <c:pt idx="3">
                  <c:v>49252</c:v>
                </c:pt>
                <c:pt idx="4">
                  <c:v>47610</c:v>
                </c:pt>
                <c:pt idx="5">
                  <c:v>41901</c:v>
                </c:pt>
                <c:pt idx="6">
                  <c:v>41185</c:v>
                </c:pt>
                <c:pt idx="7">
                  <c:v>34220</c:v>
                </c:pt>
              </c:numCache>
            </c:numRef>
          </c:bubbleSize>
          <c:bubble3D val="0"/>
          <c:extLst>
            <c:ext xmlns:c15="http://schemas.microsoft.com/office/drawing/2012/chart" uri="{02D57815-91ED-43cb-92C2-25804820EDAC}">
              <c15:datalabelsRange>
                <c15:f>Sheet1!$E$2:$E$10</c15:f>
                <c15:dlblRangeCache>
                  <c:ptCount val="9"/>
                  <c:pt idx="0">
                    <c:v>Ruinart</c:v>
                  </c:pt>
                  <c:pt idx="1">
                    <c:v>Nicolas</c:v>
                  </c:pt>
                  <c:pt idx="2">
                    <c:v>Deutz</c:v>
                  </c:pt>
                  <c:pt idx="3">
                    <c:v>Laurent Perrier</c:v>
                  </c:pt>
                  <c:pt idx="4">
                    <c:v>Canard Duchêne</c:v>
                  </c:pt>
                  <c:pt idx="5">
                    <c:v>Bollinger</c:v>
                  </c:pt>
                  <c:pt idx="6">
                    <c:v>Ayala</c:v>
                  </c:pt>
                  <c:pt idx="7">
                    <c:v>Taittinger</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6"/>
          <c:min val="17"/>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764"/>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B102868-689A-4540-9BA5-957F50B3368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933D5EE-ECA7-4C7A-BEFA-345ECB3E708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5278D95-7770-490E-8E03-A7443D7A23D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E266D66-9808-41C8-86D9-F8AF2E59107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862DF35-C43A-41ED-B941-C33C6CDDF3A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FE8A164-794F-4AC4-B8C0-086731B318A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ADB59B0-39EF-41C6-9ECB-7E7F6C8F6D5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AAD6607F-D66C-449E-B065-8B783662F30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58.299700000000001</c:v>
                </c:pt>
                <c:pt idx="1">
                  <c:v>22.172899999999998</c:v>
                </c:pt>
                <c:pt idx="2">
                  <c:v>48.503</c:v>
                </c:pt>
                <c:pt idx="3">
                  <c:v>49.451500000000003</c:v>
                </c:pt>
                <c:pt idx="4">
                  <c:v>29.2928</c:v>
                </c:pt>
                <c:pt idx="5">
                  <c:v>52.2971</c:v>
                </c:pt>
                <c:pt idx="6">
                  <c:v>36.934699999999999</c:v>
                </c:pt>
                <c:pt idx="7">
                  <c:v>63.779800000000002</c:v>
                </c:pt>
              </c:numCache>
            </c:numRef>
          </c:xVal>
          <c:yVal>
            <c:numRef>
              <c:f>Sheet1!$B$2:$B$9</c:f>
              <c:numCache>
                <c:formatCode>General</c:formatCode>
                <c:ptCount val="8"/>
                <c:pt idx="0">
                  <c:v>1.4139999999999999</c:v>
                </c:pt>
                <c:pt idx="1">
                  <c:v>0.54800000000000004</c:v>
                </c:pt>
                <c:pt idx="2">
                  <c:v>1.1579999999999999</c:v>
                </c:pt>
                <c:pt idx="3">
                  <c:v>1.0820000000000001</c:v>
                </c:pt>
                <c:pt idx="4">
                  <c:v>0.72599999999999998</c:v>
                </c:pt>
                <c:pt idx="5">
                  <c:v>1.1299999999999999</c:v>
                </c:pt>
                <c:pt idx="6">
                  <c:v>0.91600000000000004</c:v>
                </c:pt>
                <c:pt idx="7">
                  <c:v>1.468</c:v>
                </c:pt>
              </c:numCache>
            </c:numRef>
          </c:yVal>
          <c:bubbleSize>
            <c:numRef>
              <c:f>Sheet1!$C$2:$C$9</c:f>
              <c:numCache>
                <c:formatCode>General</c:formatCode>
                <c:ptCount val="8"/>
                <c:pt idx="0">
                  <c:v>2563614</c:v>
                </c:pt>
                <c:pt idx="1">
                  <c:v>1187314</c:v>
                </c:pt>
                <c:pt idx="2">
                  <c:v>1173967</c:v>
                </c:pt>
                <c:pt idx="3">
                  <c:v>855759</c:v>
                </c:pt>
                <c:pt idx="4">
                  <c:v>546545</c:v>
                </c:pt>
                <c:pt idx="5">
                  <c:v>490285</c:v>
                </c:pt>
                <c:pt idx="6">
                  <c:v>464971</c:v>
                </c:pt>
                <c:pt idx="7">
                  <c:v>434404</c:v>
                </c:pt>
              </c:numCache>
            </c:numRef>
          </c:bubbleSize>
          <c:bubble3D val="0"/>
          <c:extLst>
            <c:ext xmlns:c15="http://schemas.microsoft.com/office/drawing/2012/chart" uri="{02D57815-91ED-43cb-92C2-25804820EDAC}">
              <c15:datalabelsRange>
                <c15:f>Sheet1!$E$2:$E$10</c15:f>
                <c15:dlblRangeCache>
                  <c:ptCount val="9"/>
                  <c:pt idx="0">
                    <c:v>Ruinart</c:v>
                  </c:pt>
                  <c:pt idx="1">
                    <c:v>Nicolas</c:v>
                  </c:pt>
                  <c:pt idx="2">
                    <c:v>Deutz</c:v>
                  </c:pt>
                  <c:pt idx="3">
                    <c:v>Laurent Perrier</c:v>
                  </c:pt>
                  <c:pt idx="4">
                    <c:v>Heidsieck &amp; Co Monopole</c:v>
                  </c:pt>
                  <c:pt idx="5">
                    <c:v>Taittinger</c:v>
                  </c:pt>
                  <c:pt idx="6">
                    <c:v>Ayala</c:v>
                  </c:pt>
                  <c:pt idx="7">
                    <c:v>Bollinger</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7"/>
          <c:min val="1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667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E84968E-879C-48B7-A34E-4E582C331FC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E3C2652-27F6-4122-8D26-40DA65EA4DC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6DF00A1-35A6-4789-A7A9-4F187A48679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D0F2BF5-DAAA-4617-93B6-5FD130ED1DF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D200A9E-537E-49DF-AA13-608877DCEEE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0A1CD01-5F01-4214-8391-FD9C9BFE92A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E65BA8C1-1118-4DC3-845D-D006755E898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DD32108D-13DD-48B8-A216-1F60D8A3027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57.3232</c:v>
                </c:pt>
                <c:pt idx="1">
                  <c:v>22.019500000000001</c:v>
                </c:pt>
                <c:pt idx="2">
                  <c:v>47.583399999999997</c:v>
                </c:pt>
                <c:pt idx="3">
                  <c:v>47.922400000000003</c:v>
                </c:pt>
                <c:pt idx="4">
                  <c:v>29.2836</c:v>
                </c:pt>
                <c:pt idx="5">
                  <c:v>29.9375</c:v>
                </c:pt>
                <c:pt idx="6">
                  <c:v>36.992400000000004</c:v>
                </c:pt>
                <c:pt idx="7">
                  <c:v>52.214700000000001</c:v>
                </c:pt>
              </c:numCache>
            </c:numRef>
          </c:xVal>
          <c:yVal>
            <c:numRef>
              <c:f>Sheet1!$B$2:$B$9</c:f>
              <c:numCache>
                <c:formatCode>General</c:formatCode>
                <c:ptCount val="8"/>
                <c:pt idx="0">
                  <c:v>1.4430000000000001</c:v>
                </c:pt>
                <c:pt idx="1">
                  <c:v>0.56299999999999994</c:v>
                </c:pt>
                <c:pt idx="2">
                  <c:v>1.181</c:v>
                </c:pt>
                <c:pt idx="3">
                  <c:v>1.0880000000000001</c:v>
                </c:pt>
                <c:pt idx="4">
                  <c:v>0.747</c:v>
                </c:pt>
                <c:pt idx="5">
                  <c:v>0.79200000000000004</c:v>
                </c:pt>
                <c:pt idx="6">
                  <c:v>0.94399999999999995</c:v>
                </c:pt>
                <c:pt idx="7">
                  <c:v>1.167</c:v>
                </c:pt>
              </c:numCache>
            </c:numRef>
          </c:yVal>
          <c:bubbleSize>
            <c:numRef>
              <c:f>Sheet1!$C$2:$C$9</c:f>
              <c:numCache>
                <c:formatCode>General</c:formatCode>
                <c:ptCount val="8"/>
                <c:pt idx="0">
                  <c:v>1311612</c:v>
                </c:pt>
                <c:pt idx="1">
                  <c:v>702400</c:v>
                </c:pt>
                <c:pt idx="2">
                  <c:v>658792</c:v>
                </c:pt>
                <c:pt idx="3">
                  <c:v>424928</c:v>
                </c:pt>
                <c:pt idx="4">
                  <c:v>304491</c:v>
                </c:pt>
                <c:pt idx="5">
                  <c:v>254439</c:v>
                </c:pt>
                <c:pt idx="6">
                  <c:v>251881</c:v>
                </c:pt>
                <c:pt idx="7">
                  <c:v>222748</c:v>
                </c:pt>
              </c:numCache>
            </c:numRef>
          </c:bubbleSize>
          <c:bubble3D val="0"/>
          <c:extLst>
            <c:ext xmlns:c15="http://schemas.microsoft.com/office/drawing/2012/chart" uri="{02D57815-91ED-43cb-92C2-25804820EDAC}">
              <c15:datalabelsRange>
                <c15:f>Sheet1!$E$2:$E$10</c15:f>
                <c15:dlblRangeCache>
                  <c:ptCount val="9"/>
                  <c:pt idx="0">
                    <c:v>Ruinart</c:v>
                  </c:pt>
                  <c:pt idx="1">
                    <c:v>Nicolas</c:v>
                  </c:pt>
                  <c:pt idx="2">
                    <c:v>Deutz</c:v>
                  </c:pt>
                  <c:pt idx="3">
                    <c:v>Laurent Perrier</c:v>
                  </c:pt>
                  <c:pt idx="4">
                    <c:v>Heidsieck &amp; Co Monopole</c:v>
                  </c:pt>
                  <c:pt idx="5">
                    <c:v>Canard Duchêne</c:v>
                  </c:pt>
                  <c:pt idx="6">
                    <c:v>Ayala</c:v>
                  </c:pt>
                  <c:pt idx="7">
                    <c:v>Taittinger</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9"/>
          <c:min val="1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643"/>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551C63D-644B-4DFB-9C67-FD97199D735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C040870-90E1-44BD-9AB0-FDE2AFA15BA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560E1CD-8B80-4375-89DD-15AB94A6A5F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028BF25-CF17-4FA8-8E8F-6D90A63DF03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0105FB8-9032-45A2-BCF9-E94599E5FF8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F4AE115-3085-4E68-98B2-603D23D2002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86977B49-9D00-499D-9155-F11AB24E783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0FCFD4DF-A926-42C7-8753-0C1A1403DD7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57.5045</c:v>
                </c:pt>
                <c:pt idx="1">
                  <c:v>22.205500000000001</c:v>
                </c:pt>
                <c:pt idx="2">
                  <c:v>48.715699999999998</c:v>
                </c:pt>
                <c:pt idx="3">
                  <c:v>48.909500000000001</c:v>
                </c:pt>
                <c:pt idx="4">
                  <c:v>29.253399999999999</c:v>
                </c:pt>
                <c:pt idx="5">
                  <c:v>37.168799999999997</c:v>
                </c:pt>
                <c:pt idx="6">
                  <c:v>30.1663</c:v>
                </c:pt>
                <c:pt idx="7">
                  <c:v>30.159199999999998</c:v>
                </c:pt>
              </c:numCache>
            </c:numRef>
          </c:xVal>
          <c:yVal>
            <c:numRef>
              <c:f>Sheet1!$B$2:$B$9</c:f>
              <c:numCache>
                <c:formatCode>General</c:formatCode>
                <c:ptCount val="8"/>
                <c:pt idx="0">
                  <c:v>1.452</c:v>
                </c:pt>
                <c:pt idx="1">
                  <c:v>0.56899999999999995</c:v>
                </c:pt>
                <c:pt idx="2">
                  <c:v>1.202</c:v>
                </c:pt>
                <c:pt idx="3">
                  <c:v>1.1060000000000001</c:v>
                </c:pt>
                <c:pt idx="4">
                  <c:v>0.751</c:v>
                </c:pt>
                <c:pt idx="5">
                  <c:v>0.95499999999999996</c:v>
                </c:pt>
                <c:pt idx="6">
                  <c:v>0.79700000000000004</c:v>
                </c:pt>
                <c:pt idx="7">
                  <c:v>0.77400000000000002</c:v>
                </c:pt>
              </c:numCache>
            </c:numRef>
          </c:yVal>
          <c:bubbleSize>
            <c:numRef>
              <c:f>Sheet1!$C$2:$C$9</c:f>
              <c:numCache>
                <c:formatCode>General</c:formatCode>
                <c:ptCount val="8"/>
                <c:pt idx="0">
                  <c:v>2006389</c:v>
                </c:pt>
                <c:pt idx="1">
                  <c:v>1080677</c:v>
                </c:pt>
                <c:pt idx="2">
                  <c:v>937826</c:v>
                </c:pt>
                <c:pt idx="3">
                  <c:v>550525</c:v>
                </c:pt>
                <c:pt idx="4">
                  <c:v>468611</c:v>
                </c:pt>
                <c:pt idx="5">
                  <c:v>431232</c:v>
                </c:pt>
                <c:pt idx="6">
                  <c:v>414756</c:v>
                </c:pt>
                <c:pt idx="7">
                  <c:v>402293</c:v>
                </c:pt>
              </c:numCache>
            </c:numRef>
          </c:bubbleSize>
          <c:bubble3D val="0"/>
          <c:extLst>
            <c:ext xmlns:c15="http://schemas.microsoft.com/office/drawing/2012/chart" uri="{02D57815-91ED-43cb-92C2-25804820EDAC}">
              <c15:datalabelsRange>
                <c15:f>Sheet1!$E$2:$E$10</c15:f>
                <c15:dlblRangeCache>
                  <c:ptCount val="9"/>
                  <c:pt idx="0">
                    <c:v>Ruinart</c:v>
                  </c:pt>
                  <c:pt idx="1">
                    <c:v>Nicolas</c:v>
                  </c:pt>
                  <c:pt idx="2">
                    <c:v>Deutz</c:v>
                  </c:pt>
                  <c:pt idx="3">
                    <c:v>Laurent Perrier</c:v>
                  </c:pt>
                  <c:pt idx="4">
                    <c:v>Heidsieck &amp; Co Monopole</c:v>
                  </c:pt>
                  <c:pt idx="5">
                    <c:v>Ayala</c:v>
                  </c:pt>
                  <c:pt idx="6">
                    <c:v>Canard Duchêne</c:v>
                  </c:pt>
                  <c:pt idx="7">
                    <c:v>De Blign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9"/>
          <c:min val="1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651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23A2870-DADF-4A71-9BB4-1433B0D8B39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2591B97-2094-49AC-AC9F-079E577B683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CC18429-6487-4603-A1B0-2453231EC1E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BE50ACC-9F87-452A-B998-398F968478B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C7E36DA-195A-4257-A3DE-F5D1A0FC9F4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DF07D12-EE6B-4627-B136-7DFB0DA9241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EA6D2243-0F5B-4CEB-8F68-7FE64C24906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6C83E343-5D15-41C0-B4AE-592B75C0C57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57.110700000000001</c:v>
                </c:pt>
                <c:pt idx="1">
                  <c:v>22.341100000000001</c:v>
                </c:pt>
                <c:pt idx="2">
                  <c:v>48.279400000000003</c:v>
                </c:pt>
                <c:pt idx="3">
                  <c:v>49.332900000000002</c:v>
                </c:pt>
                <c:pt idx="4">
                  <c:v>29.312200000000001</c:v>
                </c:pt>
                <c:pt idx="5">
                  <c:v>30.2136</c:v>
                </c:pt>
                <c:pt idx="6">
                  <c:v>30.749199999999998</c:v>
                </c:pt>
                <c:pt idx="7">
                  <c:v>37.334899999999998</c:v>
                </c:pt>
              </c:numCache>
            </c:numRef>
          </c:xVal>
          <c:yVal>
            <c:numRef>
              <c:f>Sheet1!$B$2:$B$9</c:f>
              <c:numCache>
                <c:formatCode>General</c:formatCode>
                <c:ptCount val="8"/>
                <c:pt idx="0">
                  <c:v>1.4410000000000001</c:v>
                </c:pt>
                <c:pt idx="1">
                  <c:v>0.57099999999999995</c:v>
                </c:pt>
                <c:pt idx="2">
                  <c:v>1.1919999999999999</c:v>
                </c:pt>
                <c:pt idx="3">
                  <c:v>1.099</c:v>
                </c:pt>
                <c:pt idx="4">
                  <c:v>0.75</c:v>
                </c:pt>
                <c:pt idx="5">
                  <c:v>0.77400000000000002</c:v>
                </c:pt>
                <c:pt idx="6">
                  <c:v>0.81</c:v>
                </c:pt>
                <c:pt idx="7">
                  <c:v>0.95499999999999996</c:v>
                </c:pt>
              </c:numCache>
            </c:numRef>
          </c:yVal>
          <c:bubbleSize>
            <c:numRef>
              <c:f>Sheet1!$C$2:$C$9</c:f>
              <c:numCache>
                <c:formatCode>General</c:formatCode>
                <c:ptCount val="8"/>
                <c:pt idx="0">
                  <c:v>1553868</c:v>
                </c:pt>
                <c:pt idx="1">
                  <c:v>834864</c:v>
                </c:pt>
                <c:pt idx="2">
                  <c:v>799265</c:v>
                </c:pt>
                <c:pt idx="3">
                  <c:v>423079</c:v>
                </c:pt>
                <c:pt idx="4">
                  <c:v>405270</c:v>
                </c:pt>
                <c:pt idx="5">
                  <c:v>333890</c:v>
                </c:pt>
                <c:pt idx="6">
                  <c:v>316901</c:v>
                </c:pt>
                <c:pt idx="7">
                  <c:v>305997</c:v>
                </c:pt>
              </c:numCache>
            </c:numRef>
          </c:bubbleSize>
          <c:bubble3D val="0"/>
          <c:extLst>
            <c:ext xmlns:c15="http://schemas.microsoft.com/office/drawing/2012/chart" uri="{02D57815-91ED-43cb-92C2-25804820EDAC}">
              <c15:datalabelsRange>
                <c15:f>Sheet1!$E$2:$E$10</c15:f>
                <c15:dlblRangeCache>
                  <c:ptCount val="9"/>
                  <c:pt idx="0">
                    <c:v>Ruinart</c:v>
                  </c:pt>
                  <c:pt idx="1">
                    <c:v>Nicolas</c:v>
                  </c:pt>
                  <c:pt idx="2">
                    <c:v>Deutz</c:v>
                  </c:pt>
                  <c:pt idx="3">
                    <c:v>Laurent Perrier</c:v>
                  </c:pt>
                  <c:pt idx="4">
                    <c:v>Heidsieck &amp; Co Monopole</c:v>
                  </c:pt>
                  <c:pt idx="5">
                    <c:v>De Bligny</c:v>
                  </c:pt>
                  <c:pt idx="6">
                    <c:v>Canard Duchêne</c:v>
                  </c:pt>
                  <c:pt idx="7">
                    <c:v>Ayala</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9"/>
          <c:min val="1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641"/>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0007639-06E7-41F8-833C-5CCE51A99A7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05E9E88-4AC0-46C4-AC9C-2D5F896DBEE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30EEB92-D971-4355-A779-82E6A520354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093A1E1-9E93-4B49-B34B-94EEDF7BF51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412A08F-7332-4373-BD9E-1BBFAE12A7B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45B7F58-AD7D-43B9-9D97-D01E78E8CA9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6DB6156-08B4-4FC0-B94E-48AD3F0400F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12FE9C74-1FA2-4F14-A7F0-7F1E7197DD9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56.8733</c:v>
                </c:pt>
                <c:pt idx="1">
                  <c:v>22.2439</c:v>
                </c:pt>
                <c:pt idx="2">
                  <c:v>49.049300000000002</c:v>
                </c:pt>
                <c:pt idx="3">
                  <c:v>49.148099999999999</c:v>
                </c:pt>
                <c:pt idx="4">
                  <c:v>29.232500000000002</c:v>
                </c:pt>
                <c:pt idx="5">
                  <c:v>30.978899999999999</c:v>
                </c:pt>
                <c:pt idx="6">
                  <c:v>37.4146</c:v>
                </c:pt>
                <c:pt idx="7">
                  <c:v>30.294499999999999</c:v>
                </c:pt>
              </c:numCache>
            </c:numRef>
          </c:xVal>
          <c:yVal>
            <c:numRef>
              <c:f>Sheet1!$B$2:$B$9</c:f>
              <c:numCache>
                <c:formatCode>General</c:formatCode>
                <c:ptCount val="8"/>
                <c:pt idx="0">
                  <c:v>1.4530000000000001</c:v>
                </c:pt>
                <c:pt idx="1">
                  <c:v>0.57399999999999995</c:v>
                </c:pt>
                <c:pt idx="2">
                  <c:v>1.208</c:v>
                </c:pt>
                <c:pt idx="3">
                  <c:v>1.115</c:v>
                </c:pt>
                <c:pt idx="4">
                  <c:v>0.75600000000000001</c:v>
                </c:pt>
                <c:pt idx="5">
                  <c:v>0.82499999999999996</c:v>
                </c:pt>
                <c:pt idx="6">
                  <c:v>0.96799999999999997</c:v>
                </c:pt>
                <c:pt idx="7">
                  <c:v>0.78300000000000003</c:v>
                </c:pt>
              </c:numCache>
            </c:numRef>
          </c:yVal>
          <c:bubbleSize>
            <c:numRef>
              <c:f>Sheet1!$C$2:$C$9</c:f>
              <c:numCache>
                <c:formatCode>General</c:formatCode>
                <c:ptCount val="8"/>
                <c:pt idx="0">
                  <c:v>1440828</c:v>
                </c:pt>
                <c:pt idx="1">
                  <c:v>843512</c:v>
                </c:pt>
                <c:pt idx="2">
                  <c:v>699492</c:v>
                </c:pt>
                <c:pt idx="3">
                  <c:v>368021</c:v>
                </c:pt>
                <c:pt idx="4">
                  <c:v>367569</c:v>
                </c:pt>
                <c:pt idx="5">
                  <c:v>320291</c:v>
                </c:pt>
                <c:pt idx="6">
                  <c:v>307024</c:v>
                </c:pt>
                <c:pt idx="7">
                  <c:v>302794</c:v>
                </c:pt>
              </c:numCache>
            </c:numRef>
          </c:bubbleSize>
          <c:bubble3D val="0"/>
          <c:extLst>
            <c:ext xmlns:c15="http://schemas.microsoft.com/office/drawing/2012/chart" uri="{02D57815-91ED-43cb-92C2-25804820EDAC}">
              <c15:datalabelsRange>
                <c15:f>Sheet1!$E$2:$E$10</c15:f>
                <c15:dlblRangeCache>
                  <c:ptCount val="9"/>
                  <c:pt idx="0">
                    <c:v>Ruinart</c:v>
                  </c:pt>
                  <c:pt idx="1">
                    <c:v>Nicolas</c:v>
                  </c:pt>
                  <c:pt idx="2">
                    <c:v>Deutz</c:v>
                  </c:pt>
                  <c:pt idx="3">
                    <c:v>Laurent Perrier</c:v>
                  </c:pt>
                  <c:pt idx="4">
                    <c:v>Heidsieck &amp; Co Monopole</c:v>
                  </c:pt>
                  <c:pt idx="5">
                    <c:v>Canard Duchêne</c:v>
                  </c:pt>
                  <c:pt idx="6">
                    <c:v>Ayala</c:v>
                  </c:pt>
                  <c:pt idx="7">
                    <c:v>De Blign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8"/>
          <c:min val="1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653"/>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9EA8E3C-8550-440D-B617-C76D401DB0E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9A24768-7137-4465-9670-B302A408DFE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E36D3A4-C137-4247-8471-F5E4D9C06B6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3AF490A-4925-4595-8FCD-A4E407BDB89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EFFA4A6A-5DC4-4750-8B01-2A760235FBA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A6826707-7AC9-44B5-8874-B1A8E77AEC4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ACE71886-B1CE-4DCB-9F87-CA559640340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78A63950-7BA5-4B6E-B008-56CE913BB1F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29.5609</c:v>
                </c:pt>
                <c:pt idx="1">
                  <c:v>30.4114</c:v>
                </c:pt>
                <c:pt idx="2">
                  <c:v>31.256699999999999</c:v>
                </c:pt>
                <c:pt idx="3">
                  <c:v>34.277999999999999</c:v>
                </c:pt>
              </c:numCache>
            </c:numRef>
          </c:xVal>
          <c:yVal>
            <c:numRef>
              <c:f>Sheet1!$B$2:$B$5</c:f>
              <c:numCache>
                <c:formatCode>General</c:formatCode>
                <c:ptCount val="4"/>
                <c:pt idx="0">
                  <c:v>0.98699999999999999</c:v>
                </c:pt>
                <c:pt idx="1">
                  <c:v>1.016</c:v>
                </c:pt>
                <c:pt idx="2">
                  <c:v>1.0429999999999999</c:v>
                </c:pt>
                <c:pt idx="3">
                  <c:v>1.0940000000000001</c:v>
                </c:pt>
              </c:numCache>
            </c:numRef>
          </c:yVal>
          <c:bubbleSize>
            <c:numRef>
              <c:f>Sheet1!$C$2:$C$5</c:f>
              <c:numCache>
                <c:formatCode>General</c:formatCode>
                <c:ptCount val="4"/>
                <c:pt idx="0">
                  <c:v>2004646</c:v>
                </c:pt>
                <c:pt idx="1">
                  <c:v>529675</c:v>
                </c:pt>
                <c:pt idx="2">
                  <c:v>278560</c:v>
                </c:pt>
                <c:pt idx="3">
                  <c:v>67699</c:v>
                </c:pt>
              </c:numCache>
            </c:numRef>
          </c:bubbleSize>
          <c:bubble3D val="0"/>
          <c:extLst>
            <c:ext xmlns:c15="http://schemas.microsoft.com/office/drawing/2012/chart" uri="{02D57815-91ED-43cb-92C2-25804820EDAC}">
              <c15:datalabelsRange>
                <c15:f>Sheet1!$E$2:$E$10</c15:f>
                <c15:dlblRangeCache>
                  <c:ptCount val="9"/>
                  <c:pt idx="0">
                    <c:v>Malard</c:v>
                  </c:pt>
                  <c:pt idx="1">
                    <c:v>Vesselle</c:v>
                  </c:pt>
                  <c:pt idx="2">
                    <c:v>Louis Martin</c:v>
                  </c:pt>
                  <c:pt idx="3">
                    <c:v>Nicola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1"/>
          <c:min val="2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94"/>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FF296AE-BA10-4958-A564-29C7F1922E6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A93FF3E-F507-4857-80EF-D68868B279F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D854D3B-B137-4970-B2C4-F62F6388289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8886628-C088-49D6-8B4C-23E54B49D9F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1E2D9731-B774-4A95-B42E-AAEB9145B36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C90C7F05-78E0-4E05-A090-BA58DD5103E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131927E7-8EF8-4674-BEEE-735A382E49E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E13DEE3D-2C4A-4A01-BA81-E3C657E3473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29.6005</c:v>
                </c:pt>
                <c:pt idx="1">
                  <c:v>30.4802</c:v>
                </c:pt>
                <c:pt idx="2">
                  <c:v>31.5137</c:v>
                </c:pt>
                <c:pt idx="3">
                  <c:v>35.524299999999997</c:v>
                </c:pt>
              </c:numCache>
            </c:numRef>
          </c:xVal>
          <c:yVal>
            <c:numRef>
              <c:f>Sheet1!$B$2:$B$5</c:f>
              <c:numCache>
                <c:formatCode>General</c:formatCode>
                <c:ptCount val="4"/>
                <c:pt idx="0">
                  <c:v>0.98699999999999999</c:v>
                </c:pt>
                <c:pt idx="1">
                  <c:v>1.0149999999999999</c:v>
                </c:pt>
                <c:pt idx="2">
                  <c:v>1.0469999999999999</c:v>
                </c:pt>
                <c:pt idx="3">
                  <c:v>1.077</c:v>
                </c:pt>
              </c:numCache>
            </c:numRef>
          </c:yVal>
          <c:bubbleSize>
            <c:numRef>
              <c:f>Sheet1!$C$2:$C$5</c:f>
              <c:numCache>
                <c:formatCode>General</c:formatCode>
                <c:ptCount val="4"/>
                <c:pt idx="0">
                  <c:v>2007386</c:v>
                </c:pt>
                <c:pt idx="1">
                  <c:v>530203</c:v>
                </c:pt>
                <c:pt idx="2">
                  <c:v>279022</c:v>
                </c:pt>
                <c:pt idx="3">
                  <c:v>70054</c:v>
                </c:pt>
              </c:numCache>
            </c:numRef>
          </c:bubbleSize>
          <c:bubble3D val="0"/>
          <c:extLst>
            <c:ext xmlns:c15="http://schemas.microsoft.com/office/drawing/2012/chart" uri="{02D57815-91ED-43cb-92C2-25804820EDAC}">
              <c15:datalabelsRange>
                <c15:f>Sheet1!$E$2:$E$10</c15:f>
                <c15:dlblRangeCache>
                  <c:ptCount val="9"/>
                  <c:pt idx="0">
                    <c:v>Malard</c:v>
                  </c:pt>
                  <c:pt idx="1">
                    <c:v>Vesselle</c:v>
                  </c:pt>
                  <c:pt idx="2">
                    <c:v>Louis Martin</c:v>
                  </c:pt>
                  <c:pt idx="3">
                    <c:v>Nicola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3"/>
          <c:min val="2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76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3D523FB8-3BDF-43BF-A2B4-113172149A9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44F06385-05F0-45A3-AE56-9595194A262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88BDFF30-D57D-4A1A-AF2B-A5DF2059421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B95D820F-26A9-4C60-981C-8A6066409ED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12E4114B-DB13-427F-9B2A-56BBDE456D4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62283DEE-B471-45B8-9DDF-6B1DBC24380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A2041569-367D-4C9D-B7E5-9644CD11DA5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C58E0F2A-7601-4845-A5CE-9FAAEFFD196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11.524699999999999</c:v>
                </c:pt>
                <c:pt idx="1">
                  <c:v>12.857200000000001</c:v>
                </c:pt>
                <c:pt idx="2">
                  <c:v>11.817299999999999</c:v>
                </c:pt>
                <c:pt idx="3">
                  <c:v>9.1434999999999995</c:v>
                </c:pt>
                <c:pt idx="4">
                  <c:v>17.4514</c:v>
                </c:pt>
                <c:pt idx="5">
                  <c:v>11.5405</c:v>
                </c:pt>
                <c:pt idx="6">
                  <c:v>13.3918</c:v>
                </c:pt>
                <c:pt idx="7">
                  <c:v>11.5547</c:v>
                </c:pt>
              </c:numCache>
            </c:numRef>
          </c:xVal>
          <c:yVal>
            <c:numRef>
              <c:f>Sheet1!$B$2:$B$9</c:f>
              <c:numCache>
                <c:formatCode>General</c:formatCode>
                <c:ptCount val="8"/>
                <c:pt idx="0">
                  <c:v>1.0760000000000001</c:v>
                </c:pt>
                <c:pt idx="1">
                  <c:v>1.206</c:v>
                </c:pt>
                <c:pt idx="2">
                  <c:v>1.0589999999999999</c:v>
                </c:pt>
                <c:pt idx="3">
                  <c:v>0.85699999999999998</c:v>
                </c:pt>
                <c:pt idx="4">
                  <c:v>1.63</c:v>
                </c:pt>
                <c:pt idx="5">
                  <c:v>1.0820000000000001</c:v>
                </c:pt>
                <c:pt idx="6">
                  <c:v>1.2450000000000001</c:v>
                </c:pt>
                <c:pt idx="7">
                  <c:v>0.90700000000000003</c:v>
                </c:pt>
              </c:numCache>
            </c:numRef>
          </c:yVal>
          <c:bubbleSize>
            <c:numRef>
              <c:f>Sheet1!$C$2:$C$9</c:f>
              <c:numCache>
                <c:formatCode>General</c:formatCode>
                <c:ptCount val="8"/>
                <c:pt idx="0">
                  <c:v>34574</c:v>
                </c:pt>
                <c:pt idx="1">
                  <c:v>24043</c:v>
                </c:pt>
                <c:pt idx="2">
                  <c:v>20314</c:v>
                </c:pt>
                <c:pt idx="3">
                  <c:v>19558</c:v>
                </c:pt>
                <c:pt idx="4">
                  <c:v>16893</c:v>
                </c:pt>
                <c:pt idx="5">
                  <c:v>16376</c:v>
                </c:pt>
                <c:pt idx="6">
                  <c:v>5571</c:v>
                </c:pt>
                <c:pt idx="7">
                  <c:v>4437</c:v>
                </c:pt>
              </c:numCache>
            </c:numRef>
          </c:bubbleSize>
          <c:bubble3D val="0"/>
          <c:extLst>
            <c:ext xmlns:c15="http://schemas.microsoft.com/office/drawing/2012/chart" uri="{02D57815-91ED-43cb-92C2-25804820EDAC}">
              <c15:datalabelsRange>
                <c15:f>Sheet1!$E$2:$E$10</c15:f>
                <c15:dlblRangeCache>
                  <c:ptCount val="9"/>
                  <c:pt idx="0">
                    <c:v>Bottega</c:v>
                  </c:pt>
                  <c:pt idx="1">
                    <c:v>Patriarche</c:v>
                  </c:pt>
                  <c:pt idx="2">
                    <c:v>Bouvet-Ladubay</c:v>
                  </c:pt>
                  <c:pt idx="3">
                    <c:v>Savian</c:v>
                  </c:pt>
                  <c:pt idx="4">
                    <c:v>Mure</c:v>
                  </c:pt>
                  <c:pt idx="5">
                    <c:v>Chateau Moncontour</c:v>
                  </c:pt>
                  <c:pt idx="6">
                    <c:v>De Chanceny</c:v>
                  </c:pt>
                  <c:pt idx="7">
                    <c:v>Contarini</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
          <c:min val="7"/>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8B36B1F-3F79-454E-98BF-8143B9663A7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FD2522C-FEC4-457C-9CA6-72D2E093671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3A4B218-BE21-4D52-9830-09FDEF2D759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DAFD3A9-4ACD-4E99-8610-511C5BB74A5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9990FC33-2F92-4612-8961-46EEDD5E89D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1041858B-84D9-4021-9B9C-A95BA4008B2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DF6C9C14-057D-42BE-81CF-3F28C6F6E0E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422C24A2-3D2C-45AF-8B8B-07BDDDAF2ED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29.6553</c:v>
                </c:pt>
                <c:pt idx="1">
                  <c:v>30.398399999999999</c:v>
                </c:pt>
                <c:pt idx="2">
                  <c:v>31.399699999999999</c:v>
                </c:pt>
                <c:pt idx="3">
                  <c:v>35.377000000000002</c:v>
                </c:pt>
              </c:numCache>
            </c:numRef>
          </c:xVal>
          <c:yVal>
            <c:numRef>
              <c:f>Sheet1!$B$2:$B$5</c:f>
              <c:numCache>
                <c:formatCode>General</c:formatCode>
                <c:ptCount val="4"/>
                <c:pt idx="0">
                  <c:v>0.98799999999999999</c:v>
                </c:pt>
                <c:pt idx="1">
                  <c:v>1.012</c:v>
                </c:pt>
                <c:pt idx="2">
                  <c:v>1.0469999999999999</c:v>
                </c:pt>
                <c:pt idx="3">
                  <c:v>1.0880000000000001</c:v>
                </c:pt>
              </c:numCache>
            </c:numRef>
          </c:yVal>
          <c:bubbleSize>
            <c:numRef>
              <c:f>Sheet1!$C$2:$C$5</c:f>
              <c:numCache>
                <c:formatCode>General</c:formatCode>
                <c:ptCount val="4"/>
                <c:pt idx="0">
                  <c:v>1002232</c:v>
                </c:pt>
                <c:pt idx="1">
                  <c:v>253340</c:v>
                </c:pt>
                <c:pt idx="2">
                  <c:v>140074</c:v>
                </c:pt>
                <c:pt idx="3">
                  <c:v>28903</c:v>
                </c:pt>
              </c:numCache>
            </c:numRef>
          </c:bubbleSize>
          <c:bubble3D val="0"/>
          <c:extLst>
            <c:ext xmlns:c15="http://schemas.microsoft.com/office/drawing/2012/chart" uri="{02D57815-91ED-43cb-92C2-25804820EDAC}">
              <c15:datalabelsRange>
                <c15:f>Sheet1!$E$2:$E$10</c15:f>
                <c15:dlblRangeCache>
                  <c:ptCount val="9"/>
                  <c:pt idx="0">
                    <c:v>Malard</c:v>
                  </c:pt>
                  <c:pt idx="1">
                    <c:v>Vesselle</c:v>
                  </c:pt>
                  <c:pt idx="2">
                    <c:v>Louis Martin</c:v>
                  </c:pt>
                  <c:pt idx="3">
                    <c:v>Nicola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2"/>
          <c:min val="2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88"/>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F01427E-60FF-41A8-A12E-784B221F4C0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8BA8921-CEED-4C32-BAD8-BA6087E26A7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F880C9D-C66C-4EA6-83F5-9BB78BF1CF1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7190F3F-9A5A-4D71-80CE-79E00797C88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1F73A57F-9688-42AA-AC4A-A7CCE25F2C5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5A8C5443-8521-4EF5-924A-B5BE7870F14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982679A9-FA78-4A1E-BECB-F09BB08CE83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0481EC30-5676-487F-A3B8-32C54479828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29.4084</c:v>
                </c:pt>
                <c:pt idx="1">
                  <c:v>30.382000000000001</c:v>
                </c:pt>
                <c:pt idx="2">
                  <c:v>31.254200000000001</c:v>
                </c:pt>
                <c:pt idx="3">
                  <c:v>34.145899999999997</c:v>
                </c:pt>
              </c:numCache>
            </c:numRef>
          </c:xVal>
          <c:yVal>
            <c:numRef>
              <c:f>Sheet1!$B$2:$B$5</c:f>
              <c:numCache>
                <c:formatCode>General</c:formatCode>
                <c:ptCount val="4"/>
                <c:pt idx="0">
                  <c:v>0.98699999999999999</c:v>
                </c:pt>
                <c:pt idx="1">
                  <c:v>1.02</c:v>
                </c:pt>
                <c:pt idx="2">
                  <c:v>1.044</c:v>
                </c:pt>
                <c:pt idx="3">
                  <c:v>1.0760000000000001</c:v>
                </c:pt>
              </c:numCache>
            </c:numRef>
          </c:yVal>
          <c:bubbleSize>
            <c:numRef>
              <c:f>Sheet1!$C$2:$C$5</c:f>
              <c:numCache>
                <c:formatCode>General</c:formatCode>
                <c:ptCount val="4"/>
                <c:pt idx="0">
                  <c:v>383838</c:v>
                </c:pt>
                <c:pt idx="1">
                  <c:v>108160</c:v>
                </c:pt>
                <c:pt idx="2">
                  <c:v>42412</c:v>
                </c:pt>
                <c:pt idx="3">
                  <c:v>17790</c:v>
                </c:pt>
              </c:numCache>
            </c:numRef>
          </c:bubbleSize>
          <c:bubble3D val="0"/>
          <c:extLst>
            <c:ext xmlns:c15="http://schemas.microsoft.com/office/drawing/2012/chart" uri="{02D57815-91ED-43cb-92C2-25804820EDAC}">
              <c15:datalabelsRange>
                <c15:f>Sheet1!$E$2:$E$10</c15:f>
                <c15:dlblRangeCache>
                  <c:ptCount val="9"/>
                  <c:pt idx="0">
                    <c:v>Malard</c:v>
                  </c:pt>
                  <c:pt idx="1">
                    <c:v>Vesselle</c:v>
                  </c:pt>
                  <c:pt idx="2">
                    <c:v>Louis Martin</c:v>
                  </c:pt>
                  <c:pt idx="3">
                    <c:v>Nicola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1"/>
          <c:min val="2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76"/>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A61369B-69CF-48D3-89F0-EC1023A55DD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55E7739-3E83-4E1E-8338-5A0944BC3DB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9E416B3-6618-4690-8039-586566D51EE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3BCE40D-7F9A-4C81-9EF5-A82CD10EB39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9BB54ADD-1490-45A7-8876-8993F7EC4D2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2E696CB1-B5E1-4A51-AE81-2C17DFC46B2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16906F92-A570-4114-A347-B79E8E9D4C1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21E5EE62-413A-425D-890D-56ECB597E92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29.729199999999999</c:v>
                </c:pt>
                <c:pt idx="1">
                  <c:v>30.648199999999999</c:v>
                </c:pt>
                <c:pt idx="2">
                  <c:v>31.512</c:v>
                </c:pt>
                <c:pt idx="3">
                  <c:v>35.926099999999998</c:v>
                </c:pt>
              </c:numCache>
            </c:numRef>
          </c:xVal>
          <c:yVal>
            <c:numRef>
              <c:f>Sheet1!$B$2:$B$5</c:f>
              <c:numCache>
                <c:formatCode>General</c:formatCode>
                <c:ptCount val="4"/>
                <c:pt idx="0">
                  <c:v>0.98499999999999999</c:v>
                </c:pt>
                <c:pt idx="1">
                  <c:v>1.0129999999999999</c:v>
                </c:pt>
                <c:pt idx="2">
                  <c:v>1.044</c:v>
                </c:pt>
                <c:pt idx="3">
                  <c:v>1.0720000000000001</c:v>
                </c:pt>
              </c:numCache>
            </c:numRef>
          </c:yVal>
          <c:bubbleSize>
            <c:numRef>
              <c:f>Sheet1!$C$2:$C$5</c:f>
              <c:numCache>
                <c:formatCode>General</c:formatCode>
                <c:ptCount val="4"/>
                <c:pt idx="0">
                  <c:v>224277</c:v>
                </c:pt>
                <c:pt idx="1">
                  <c:v>77540</c:v>
                </c:pt>
                <c:pt idx="2">
                  <c:v>41974</c:v>
                </c:pt>
                <c:pt idx="3">
                  <c:v>7293</c:v>
                </c:pt>
              </c:numCache>
            </c:numRef>
          </c:bubbleSize>
          <c:bubble3D val="0"/>
          <c:extLst>
            <c:ext xmlns:c15="http://schemas.microsoft.com/office/drawing/2012/chart" uri="{02D57815-91ED-43cb-92C2-25804820EDAC}">
              <c15:datalabelsRange>
                <c15:f>Sheet1!$E$2:$E$10</c15:f>
                <c15:dlblRangeCache>
                  <c:ptCount val="9"/>
                  <c:pt idx="0">
                    <c:v>Malard</c:v>
                  </c:pt>
                  <c:pt idx="1">
                    <c:v>Vesselle</c:v>
                  </c:pt>
                  <c:pt idx="2">
                    <c:v>Louis Martin</c:v>
                  </c:pt>
                  <c:pt idx="3">
                    <c:v>Nicola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3"/>
          <c:min val="2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72"/>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3894D96-33A4-4D01-A2E6-5E30B0670EB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1124BC2-9507-4D3A-92DB-D3A0C8635D1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552F21A-EB04-4921-89C5-96FAC596F0F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DA733A5-1195-48D2-A00D-883896B5B77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BDA58583-30E8-499A-B6BD-96276003EF2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8295DC93-1447-44C0-9775-2D148DBFAF3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5FA02BBC-CF1A-4481-ADE2-327C6DDC5E1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310CF1FB-DF34-4D35-ADDE-5F227A7F4DA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29.914100000000001</c:v>
                </c:pt>
                <c:pt idx="1">
                  <c:v>30.693300000000001</c:v>
                </c:pt>
                <c:pt idx="2">
                  <c:v>31.7714</c:v>
                </c:pt>
                <c:pt idx="3">
                  <c:v>36.119399999999999</c:v>
                </c:pt>
              </c:numCache>
            </c:numRef>
          </c:xVal>
          <c:yVal>
            <c:numRef>
              <c:f>Sheet1!$B$2:$B$5</c:f>
              <c:numCache>
                <c:formatCode>General</c:formatCode>
                <c:ptCount val="4"/>
                <c:pt idx="0">
                  <c:v>0.99</c:v>
                </c:pt>
                <c:pt idx="1">
                  <c:v>1.012</c:v>
                </c:pt>
                <c:pt idx="2">
                  <c:v>1.048</c:v>
                </c:pt>
                <c:pt idx="3">
                  <c:v>1.0640000000000001</c:v>
                </c:pt>
              </c:numCache>
            </c:numRef>
          </c:yVal>
          <c:bubbleSize>
            <c:numRef>
              <c:f>Sheet1!$C$2:$C$5</c:f>
              <c:numCache>
                <c:formatCode>General</c:formatCode>
                <c:ptCount val="4"/>
                <c:pt idx="0">
                  <c:v>133357</c:v>
                </c:pt>
                <c:pt idx="1">
                  <c:v>22314</c:v>
                </c:pt>
                <c:pt idx="2">
                  <c:v>15981</c:v>
                </c:pt>
                <c:pt idx="3">
                  <c:v>4840</c:v>
                </c:pt>
              </c:numCache>
            </c:numRef>
          </c:bubbleSize>
          <c:bubble3D val="0"/>
          <c:extLst>
            <c:ext xmlns:c15="http://schemas.microsoft.com/office/drawing/2012/chart" uri="{02D57815-91ED-43cb-92C2-25804820EDAC}">
              <c15:datalabelsRange>
                <c15:f>Sheet1!$E$2:$E$10</c15:f>
                <c15:dlblRangeCache>
                  <c:ptCount val="9"/>
                  <c:pt idx="0">
                    <c:v>Malard</c:v>
                  </c:pt>
                  <c:pt idx="1">
                    <c:v>Vesselle</c:v>
                  </c:pt>
                  <c:pt idx="2">
                    <c:v>Louis Martin</c:v>
                  </c:pt>
                  <c:pt idx="3">
                    <c:v>Nicola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3"/>
          <c:min val="2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64"/>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45059A7-55E0-4F94-9929-05616F3D898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EF98F43-2164-472D-B7C2-263BFC464D5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A4CC69F-7BBB-4AA1-A0A2-83A7445CF23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48D4B96-F2CF-45C5-9497-3D0F79CC6B9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16909029-5EF9-4FB6-9A4E-6322854BA70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53DB0C5F-233A-4491-ADA1-C98F2DA02A8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3E09C307-28E4-4439-AEEA-1271C9802CC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53340713-C133-4BA6-AFA4-39F6C0344EE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29.4651</c:v>
                </c:pt>
                <c:pt idx="1">
                  <c:v>30.619399999999999</c:v>
                </c:pt>
                <c:pt idx="2">
                  <c:v>32.537999999999997</c:v>
                </c:pt>
                <c:pt idx="3">
                  <c:v>38.537300000000002</c:v>
                </c:pt>
              </c:numCache>
            </c:numRef>
          </c:xVal>
          <c:yVal>
            <c:numRef>
              <c:f>Sheet1!$B$2:$B$5</c:f>
              <c:numCache>
                <c:formatCode>General</c:formatCode>
                <c:ptCount val="4"/>
                <c:pt idx="0">
                  <c:v>0.98799999999999999</c:v>
                </c:pt>
                <c:pt idx="1">
                  <c:v>1.028</c:v>
                </c:pt>
                <c:pt idx="2">
                  <c:v>1.044</c:v>
                </c:pt>
                <c:pt idx="3">
                  <c:v>1.03</c:v>
                </c:pt>
              </c:numCache>
            </c:numRef>
          </c:yVal>
          <c:bubbleSize>
            <c:numRef>
              <c:f>Sheet1!$C$2:$C$5</c:f>
              <c:numCache>
                <c:formatCode>General</c:formatCode>
                <c:ptCount val="4"/>
                <c:pt idx="0">
                  <c:v>74193</c:v>
                </c:pt>
                <c:pt idx="1">
                  <c:v>21158</c:v>
                </c:pt>
                <c:pt idx="2">
                  <c:v>5564</c:v>
                </c:pt>
                <c:pt idx="3">
                  <c:v>2582</c:v>
                </c:pt>
              </c:numCache>
            </c:numRef>
          </c:bubbleSize>
          <c:bubble3D val="0"/>
          <c:extLst>
            <c:ext xmlns:c15="http://schemas.microsoft.com/office/drawing/2012/chart" uri="{02D57815-91ED-43cb-92C2-25804820EDAC}">
              <c15:datalabelsRange>
                <c15:f>Sheet1!$E$2:$E$10</c15:f>
                <c15:dlblRangeCache>
                  <c:ptCount val="9"/>
                  <c:pt idx="0">
                    <c:v>Malard</c:v>
                  </c:pt>
                  <c:pt idx="1">
                    <c:v>Vesselle</c:v>
                  </c:pt>
                  <c:pt idx="2">
                    <c:v>Louis Martin</c:v>
                  </c:pt>
                  <c:pt idx="3">
                    <c:v>Nicola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6"/>
          <c:min val="2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44"/>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A48BF2D-DAE3-4F73-853E-97BD929EE0F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53BDECE-B658-49BD-AC15-17D65D06F4A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CF9CB13-9118-46FD-A46F-A7C9D7E72D0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5CD5D22-CA08-4396-99E8-F3B78219703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3D71BB89-F776-4FBB-B316-35221F664D5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949E933D-3CD3-4279-9428-611BD348065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8ED497CE-56BB-40CD-B46E-322AFB0B069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7A20B206-C621-494D-B267-454F14E6FA9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29.6662</c:v>
                </c:pt>
                <c:pt idx="1">
                  <c:v>30.448499999999999</c:v>
                </c:pt>
                <c:pt idx="2">
                  <c:v>31.352499999999999</c:v>
                </c:pt>
                <c:pt idx="3">
                  <c:v>34.601999999999997</c:v>
                </c:pt>
              </c:numCache>
            </c:numRef>
          </c:xVal>
          <c:yVal>
            <c:numRef>
              <c:f>Sheet1!$B$2:$B$5</c:f>
              <c:numCache>
                <c:formatCode>General</c:formatCode>
                <c:ptCount val="4"/>
                <c:pt idx="0">
                  <c:v>0.98799999999999999</c:v>
                </c:pt>
                <c:pt idx="1">
                  <c:v>1.014</c:v>
                </c:pt>
                <c:pt idx="2">
                  <c:v>1.044</c:v>
                </c:pt>
                <c:pt idx="3">
                  <c:v>1.097</c:v>
                </c:pt>
              </c:numCache>
            </c:numRef>
          </c:yVal>
          <c:bubbleSize>
            <c:numRef>
              <c:f>Sheet1!$C$2:$C$5</c:f>
              <c:numCache>
                <c:formatCode>General</c:formatCode>
                <c:ptCount val="4"/>
                <c:pt idx="0">
                  <c:v>1479719</c:v>
                </c:pt>
                <c:pt idx="1">
                  <c:v>386635</c:v>
                </c:pt>
                <c:pt idx="2">
                  <c:v>205547</c:v>
                </c:pt>
                <c:pt idx="3">
                  <c:v>45640</c:v>
                </c:pt>
              </c:numCache>
            </c:numRef>
          </c:bubbleSize>
          <c:bubble3D val="0"/>
          <c:extLst>
            <c:ext xmlns:c15="http://schemas.microsoft.com/office/drawing/2012/chart" uri="{02D57815-91ED-43cb-92C2-25804820EDAC}">
              <c15:datalabelsRange>
                <c15:f>Sheet1!$E$2:$E$10</c15:f>
                <c15:dlblRangeCache>
                  <c:ptCount val="9"/>
                  <c:pt idx="0">
                    <c:v>Malard</c:v>
                  </c:pt>
                  <c:pt idx="1">
                    <c:v>Vesselle</c:v>
                  </c:pt>
                  <c:pt idx="2">
                    <c:v>Louis Martin</c:v>
                  </c:pt>
                  <c:pt idx="3">
                    <c:v>Nicola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2"/>
          <c:min val="2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96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97A9226-0239-41A6-8829-7F4FD905268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8C0F7C4-6967-482C-9C43-A4EBC02449A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098AB5B-772E-4A7C-9D87-4265B1ADE2F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6986F50-4EBB-4084-B5C7-1ECF1253027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0DA18906-9E99-4E59-8F7B-E1148720F69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84981243-7B78-4D0B-BE03-62E48A8124F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6808A3EB-1534-4FD3-8BCA-B0843983F67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6FF3EB67-F1FC-46AA-B827-4008BECEB70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29.3569</c:v>
                </c:pt>
                <c:pt idx="1">
                  <c:v>30.4191</c:v>
                </c:pt>
                <c:pt idx="2">
                  <c:v>31.601700000000001</c:v>
                </c:pt>
                <c:pt idx="3">
                  <c:v>35.307699999999997</c:v>
                </c:pt>
              </c:numCache>
            </c:numRef>
          </c:xVal>
          <c:yVal>
            <c:numRef>
              <c:f>Sheet1!$B$2:$B$5</c:f>
              <c:numCache>
                <c:formatCode>General</c:formatCode>
                <c:ptCount val="4"/>
                <c:pt idx="0">
                  <c:v>0.98099999999999998</c:v>
                </c:pt>
                <c:pt idx="1">
                  <c:v>1.0189999999999999</c:v>
                </c:pt>
                <c:pt idx="2">
                  <c:v>1.048</c:v>
                </c:pt>
                <c:pt idx="3">
                  <c:v>1.0780000000000001</c:v>
                </c:pt>
              </c:numCache>
            </c:numRef>
          </c:yVal>
          <c:bubbleSize>
            <c:numRef>
              <c:f>Sheet1!$C$2:$C$5</c:f>
              <c:numCache>
                <c:formatCode>General</c:formatCode>
                <c:ptCount val="4"/>
                <c:pt idx="0">
                  <c:v>130785</c:v>
                </c:pt>
                <c:pt idx="1">
                  <c:v>29324</c:v>
                </c:pt>
                <c:pt idx="2">
                  <c:v>14600</c:v>
                </c:pt>
                <c:pt idx="3">
                  <c:v>6885</c:v>
                </c:pt>
              </c:numCache>
            </c:numRef>
          </c:bubbleSize>
          <c:bubble3D val="0"/>
          <c:extLst>
            <c:ext xmlns:c15="http://schemas.microsoft.com/office/drawing/2012/chart" uri="{02D57815-91ED-43cb-92C2-25804820EDAC}">
              <c15:datalabelsRange>
                <c15:f>Sheet1!$E$2:$E$10</c15:f>
                <c15:dlblRangeCache>
                  <c:ptCount val="9"/>
                  <c:pt idx="0">
                    <c:v>Malard</c:v>
                  </c:pt>
                  <c:pt idx="1">
                    <c:v>Vesselle</c:v>
                  </c:pt>
                  <c:pt idx="2">
                    <c:v>Louis Martin</c:v>
                  </c:pt>
                  <c:pt idx="3">
                    <c:v>Nicola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2"/>
          <c:min val="23"/>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78"/>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A24C0D3-A7EB-4071-A750-707D6906274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EFA5D99-E7CD-460C-B37F-F474A00A789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5A53ADA-9A93-4EA9-985A-A7098878871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FACF337-D1C0-4DD1-88B1-A02203C072E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E02326D8-FBB6-486B-B3A0-9440B3CBD0C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8FB962A8-E65F-4AD7-A36B-13B702FE116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B4E205B8-7279-4B6E-8E3A-DC1EEF0C9F7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8F2BDE0E-DB8C-4D90-A26C-37649F0EDAC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29.557700000000001</c:v>
                </c:pt>
                <c:pt idx="1">
                  <c:v>30.572399999999998</c:v>
                </c:pt>
                <c:pt idx="2">
                  <c:v>32.226799999999997</c:v>
                </c:pt>
                <c:pt idx="3">
                  <c:v>37.310899999999997</c:v>
                </c:pt>
              </c:numCache>
            </c:numRef>
          </c:xVal>
          <c:yVal>
            <c:numRef>
              <c:f>Sheet1!$B$2:$B$5</c:f>
              <c:numCache>
                <c:formatCode>General</c:formatCode>
                <c:ptCount val="4"/>
                <c:pt idx="0">
                  <c:v>0.98599999999999999</c:v>
                </c:pt>
                <c:pt idx="1">
                  <c:v>1.022</c:v>
                </c:pt>
                <c:pt idx="2">
                  <c:v>1.0620000000000001</c:v>
                </c:pt>
                <c:pt idx="3">
                  <c:v>1.1220000000000001</c:v>
                </c:pt>
              </c:numCache>
            </c:numRef>
          </c:yVal>
          <c:bubbleSize>
            <c:numRef>
              <c:f>Sheet1!$C$2:$C$5</c:f>
              <c:numCache>
                <c:formatCode>General</c:formatCode>
                <c:ptCount val="4"/>
                <c:pt idx="0">
                  <c:v>105787</c:v>
                </c:pt>
                <c:pt idx="1">
                  <c:v>23663</c:v>
                </c:pt>
                <c:pt idx="2">
                  <c:v>9378</c:v>
                </c:pt>
                <c:pt idx="3">
                  <c:v>4440</c:v>
                </c:pt>
              </c:numCache>
            </c:numRef>
          </c:bubbleSize>
          <c:bubble3D val="0"/>
          <c:extLst>
            <c:ext xmlns:c15="http://schemas.microsoft.com/office/drawing/2012/chart" uri="{02D57815-91ED-43cb-92C2-25804820EDAC}">
              <c15:datalabelsRange>
                <c15:f>Sheet1!$E$2:$E$10</c15:f>
                <c15:dlblRangeCache>
                  <c:ptCount val="9"/>
                  <c:pt idx="0">
                    <c:v>Malard</c:v>
                  </c:pt>
                  <c:pt idx="1">
                    <c:v>Vesselle</c:v>
                  </c:pt>
                  <c:pt idx="2">
                    <c:v>Louis Martin</c:v>
                  </c:pt>
                  <c:pt idx="3">
                    <c:v>Nicola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5"/>
          <c:min val="2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3220000000000001"/>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FC84B13-2B2B-43E3-999A-24B57D6C1F0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BC5AB59-86CC-4490-AE1C-A8E0883A4F6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275D271-3F33-49D7-9802-CDD0942D851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52F5F09-E8DB-45AB-8DD5-69857466BBF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ABBAF970-E81C-4C4F-B280-997900FA082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F82D5FEF-8834-45EA-BCF5-E08B16D82C8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D2BD5F68-EC4C-4E44-BAA3-A5334E53800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857902AA-4CFA-4947-9240-30BE640A737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29.436900000000001</c:v>
                </c:pt>
                <c:pt idx="1">
                  <c:v>31.312200000000001</c:v>
                </c:pt>
                <c:pt idx="2">
                  <c:v>30.658899999999999</c:v>
                </c:pt>
                <c:pt idx="3">
                  <c:v>40.5139</c:v>
                </c:pt>
              </c:numCache>
            </c:numRef>
          </c:xVal>
          <c:yVal>
            <c:numRef>
              <c:f>Sheet1!$B$2:$B$5</c:f>
              <c:numCache>
                <c:formatCode>General</c:formatCode>
                <c:ptCount val="4"/>
                <c:pt idx="0">
                  <c:v>0.98</c:v>
                </c:pt>
                <c:pt idx="1">
                  <c:v>1.0369999999999999</c:v>
                </c:pt>
                <c:pt idx="2">
                  <c:v>1.0249999999999999</c:v>
                </c:pt>
                <c:pt idx="3">
                  <c:v>1.085</c:v>
                </c:pt>
              </c:numCache>
            </c:numRef>
          </c:yVal>
          <c:bubbleSize>
            <c:numRef>
              <c:f>Sheet1!$C$2:$C$5</c:f>
              <c:numCache>
                <c:formatCode>General</c:formatCode>
                <c:ptCount val="4"/>
                <c:pt idx="0">
                  <c:v>59698</c:v>
                </c:pt>
                <c:pt idx="1">
                  <c:v>19257</c:v>
                </c:pt>
                <c:pt idx="2">
                  <c:v>13122</c:v>
                </c:pt>
                <c:pt idx="3">
                  <c:v>2917</c:v>
                </c:pt>
              </c:numCache>
            </c:numRef>
          </c:bubbleSize>
          <c:bubble3D val="0"/>
          <c:extLst>
            <c:ext xmlns:c15="http://schemas.microsoft.com/office/drawing/2012/chart" uri="{02D57815-91ED-43cb-92C2-25804820EDAC}">
              <c15:datalabelsRange>
                <c15:f>Sheet1!$E$2:$E$10</c15:f>
                <c15:dlblRangeCache>
                  <c:ptCount val="9"/>
                  <c:pt idx="0">
                    <c:v>Malard</c:v>
                  </c:pt>
                  <c:pt idx="1">
                    <c:v>Louis Martin</c:v>
                  </c:pt>
                  <c:pt idx="2">
                    <c:v>Vesselle</c:v>
                  </c:pt>
                  <c:pt idx="3">
                    <c:v>Nicola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9"/>
          <c:min val="2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84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214FFCA-0111-4291-8E58-B7B7F7940A4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22F9BC4-0420-4B5C-9CC7-9801437D672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588E9A2-3465-470D-A13E-3C86C0792AC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1EEBB34-5752-4AED-96D6-0EEA47DE07A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D0DCA146-2971-482F-967D-C5017FD9AA9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81F73C63-1D26-4055-8674-B2437AF8691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B06CB7C6-B35D-430E-B6B5-BE24C04308A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FFC055C1-3CD3-427F-8588-28C0C887999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29.215199999999999</c:v>
                </c:pt>
                <c:pt idx="1">
                  <c:v>30.151700000000002</c:v>
                </c:pt>
                <c:pt idx="2">
                  <c:v>31.995200000000001</c:v>
                </c:pt>
                <c:pt idx="3">
                  <c:v>39.242400000000004</c:v>
                </c:pt>
              </c:numCache>
            </c:numRef>
          </c:xVal>
          <c:yVal>
            <c:numRef>
              <c:f>Sheet1!$B$2:$B$5</c:f>
              <c:numCache>
                <c:formatCode>General</c:formatCode>
                <c:ptCount val="4"/>
                <c:pt idx="0">
                  <c:v>0.98599999999999999</c:v>
                </c:pt>
                <c:pt idx="1">
                  <c:v>1.0049999999999999</c:v>
                </c:pt>
                <c:pt idx="2">
                  <c:v>1.0469999999999999</c:v>
                </c:pt>
                <c:pt idx="3">
                  <c:v>1.0920000000000001</c:v>
                </c:pt>
              </c:numCache>
            </c:numRef>
          </c:yVal>
          <c:bubbleSize>
            <c:numRef>
              <c:f>Sheet1!$C$2:$C$5</c:f>
              <c:numCache>
                <c:formatCode>General</c:formatCode>
                <c:ptCount val="4"/>
                <c:pt idx="0">
                  <c:v>32984</c:v>
                </c:pt>
                <c:pt idx="1">
                  <c:v>11729</c:v>
                </c:pt>
                <c:pt idx="2">
                  <c:v>6623</c:v>
                </c:pt>
                <c:pt idx="3">
                  <c:v>1295</c:v>
                </c:pt>
              </c:numCache>
            </c:numRef>
          </c:bubbleSize>
          <c:bubble3D val="0"/>
          <c:extLst>
            <c:ext xmlns:c15="http://schemas.microsoft.com/office/drawing/2012/chart" uri="{02D57815-91ED-43cb-92C2-25804820EDAC}">
              <c15:datalabelsRange>
                <c15:f>Sheet1!$E$2:$E$10</c15:f>
                <c15:dlblRangeCache>
                  <c:ptCount val="9"/>
                  <c:pt idx="0">
                    <c:v>Malard</c:v>
                  </c:pt>
                  <c:pt idx="1">
                    <c:v>Vesselle</c:v>
                  </c:pt>
                  <c:pt idx="2">
                    <c:v>Louis Martin</c:v>
                  </c:pt>
                  <c:pt idx="3">
                    <c:v>Nicola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7"/>
          <c:min val="23"/>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92"/>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8951BE1F-1459-4065-9BFB-A0C12497020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3D5AF737-33AB-4CA2-A0BB-5983E309CB3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D871-46D6-BBFE-7C00E0D51738}"/>
                </c:ext>
              </c:extLst>
            </c:dLbl>
            <c:dLbl>
              <c:idx val="3"/>
              <c:tx>
                <c:rich>
                  <a:bodyPr/>
                  <a:lstStyle/>
                  <a:p>
                    <a:fld id="{21349965-5EAB-4DB6-998A-291F6386428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D871-46D6-BBFE-7C00E0D51738}"/>
                </c:ext>
              </c:extLst>
            </c:dLbl>
            <c:dLbl>
              <c:idx val="4"/>
              <c:tx>
                <c:rich>
                  <a:bodyPr/>
                  <a:lstStyle/>
                  <a:p>
                    <a:fld id="{FE285274-68A8-4406-8D41-10BB543BCA3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D871-46D6-BBFE-7C00E0D51738}"/>
                </c:ext>
              </c:extLst>
            </c:dLbl>
            <c:dLbl>
              <c:idx val="5"/>
              <c:tx>
                <c:rich>
                  <a:bodyPr/>
                  <a:lstStyle/>
                  <a:p>
                    <a:fld id="{8659AB35-3727-49FD-BA13-7F828FE52EA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71-46D6-BBFE-7C00E0D51738}"/>
                </c:ext>
              </c:extLst>
            </c:dLbl>
            <c:dLbl>
              <c:idx val="6"/>
              <c:tx>
                <c:rich>
                  <a:bodyPr/>
                  <a:lstStyle/>
                  <a:p>
                    <a:fld id="{24339381-28BC-4B28-BEC8-E306D7D9165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71-46D6-BBFE-7C00E0D51738}"/>
                </c:ext>
              </c:extLst>
            </c:dLbl>
            <c:dLbl>
              <c:idx val="7"/>
              <c:tx>
                <c:rich>
                  <a:bodyPr/>
                  <a:lstStyle/>
                  <a:p>
                    <a:fld id="{1826A47C-4704-453A-9DF6-9D30A28981B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71-46D6-BBFE-7C00E0D51738}"/>
                </c:ext>
              </c:extLst>
            </c:dLbl>
            <c:dLbl>
              <c:idx val="8"/>
              <c:tx>
                <c:rich>
                  <a:bodyPr/>
                  <a:lstStyle/>
                  <a:p>
                    <a:fld id="{1D9ED701-1E51-444B-ABE8-0C5333DB11A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29.110499999999998</c:v>
                </c:pt>
                <c:pt idx="1">
                  <c:v>11.432700000000001</c:v>
                </c:pt>
              </c:numCache>
            </c:numRef>
          </c:xVal>
          <c:yVal>
            <c:numRef>
              <c:f>Sheet1!$B$2:$B$3</c:f>
              <c:numCache>
                <c:formatCode>General</c:formatCode>
                <c:ptCount val="2"/>
                <c:pt idx="0">
                  <c:v>1.42</c:v>
                </c:pt>
                <c:pt idx="1">
                  <c:v>0.55900000000000005</c:v>
                </c:pt>
              </c:numCache>
            </c:numRef>
          </c:yVal>
          <c:bubbleSize>
            <c:numRef>
              <c:f>Sheet1!$C$2:$C$3</c:f>
              <c:numCache>
                <c:formatCode>General</c:formatCode>
                <c:ptCount val="2"/>
                <c:pt idx="0">
                  <c:v>30304</c:v>
                </c:pt>
                <c:pt idx="1">
                  <c:v>11387</c:v>
                </c:pt>
              </c:numCache>
            </c:numRef>
          </c:bubbleSize>
          <c:bubble3D val="0"/>
          <c:extLst>
            <c:ext xmlns:c15="http://schemas.microsoft.com/office/drawing/2012/chart" uri="{02D57815-91ED-43cb-92C2-25804820EDAC}">
              <c15:datalabelsRange>
                <c15:f>Sheet1!$E$2:$E$10</c15:f>
                <c15:dlblRangeCache>
                  <c:ptCount val="9"/>
                  <c:pt idx="0">
                    <c:v>De Chanceny</c:v>
                  </c:pt>
                  <c:pt idx="1">
                    <c:v>Lyre's</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5"/>
          <c:min val="9"/>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42ADB07-3500-433C-93BC-87588EBF313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58E8D97-0D16-49FB-95E3-CD00913AF87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08ADE5A-3A57-40CD-9661-D07BB3DF548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99E3A1D-C071-4D44-8E7C-616DFA8B337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C38266C9-A700-42C5-933A-42FDB4993CC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68D8EF32-04B2-4CD7-BE3D-A7A68BD4228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3FD476F0-92CA-4955-B8CB-B25ECA9527E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12E9A61E-7013-4539-89B0-15E5F73C2FC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29.531199999999998</c:v>
                </c:pt>
                <c:pt idx="1">
                  <c:v>30.371099999999998</c:v>
                </c:pt>
                <c:pt idx="2">
                  <c:v>31.214400000000001</c:v>
                </c:pt>
                <c:pt idx="3">
                  <c:v>36.494700000000002</c:v>
                </c:pt>
              </c:numCache>
            </c:numRef>
          </c:xVal>
          <c:yVal>
            <c:numRef>
              <c:f>Sheet1!$B$2:$B$5</c:f>
              <c:numCache>
                <c:formatCode>General</c:formatCode>
                <c:ptCount val="4"/>
                <c:pt idx="0">
                  <c:v>0.98599999999999999</c:v>
                </c:pt>
                <c:pt idx="1">
                  <c:v>1.014</c:v>
                </c:pt>
                <c:pt idx="2">
                  <c:v>1.0409999999999999</c:v>
                </c:pt>
                <c:pt idx="3">
                  <c:v>1.101</c:v>
                </c:pt>
              </c:numCache>
            </c:numRef>
          </c:yVal>
          <c:bubbleSize>
            <c:numRef>
              <c:f>Sheet1!$C$2:$C$5</c:f>
              <c:numCache>
                <c:formatCode>General</c:formatCode>
                <c:ptCount val="4"/>
                <c:pt idx="0">
                  <c:v>508084</c:v>
                </c:pt>
                <c:pt idx="1">
                  <c:v>137581</c:v>
                </c:pt>
                <c:pt idx="2">
                  <c:v>98575</c:v>
                </c:pt>
                <c:pt idx="3">
                  <c:v>10328</c:v>
                </c:pt>
              </c:numCache>
            </c:numRef>
          </c:bubbleSize>
          <c:bubble3D val="0"/>
          <c:extLst>
            <c:ext xmlns:c15="http://schemas.microsoft.com/office/drawing/2012/chart" uri="{02D57815-91ED-43cb-92C2-25804820EDAC}">
              <c15:datalabelsRange>
                <c15:f>Sheet1!$E$2:$E$10</c15:f>
                <c15:dlblRangeCache>
                  <c:ptCount val="9"/>
                  <c:pt idx="0">
                    <c:v>Malard</c:v>
                  </c:pt>
                  <c:pt idx="1">
                    <c:v>Vesselle</c:v>
                  </c:pt>
                  <c:pt idx="2">
                    <c:v>Louis Martin</c:v>
                  </c:pt>
                  <c:pt idx="3">
                    <c:v>Nicola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4"/>
          <c:min val="2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300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B894389-B3FA-4A35-B189-7032A30B540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084CBFC-ABDC-49FA-BF33-A9BAD6F5D1A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A7654B7-F508-482F-873E-40FC58C9243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98FE228-C540-4E74-9C78-AFF2D957005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38607CC5-BD36-429D-B223-DF9B82DCE8F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8E8CAE73-85A9-4BD0-8A33-B6CF41D237F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6E67271E-0911-48C3-8A7A-C2D9112E911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F7316252-E15D-4B50-8BC8-56F6F1A1EA6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29.617699999999999</c:v>
                </c:pt>
                <c:pt idx="1">
                  <c:v>30.427199999999999</c:v>
                </c:pt>
                <c:pt idx="2">
                  <c:v>31.374600000000001</c:v>
                </c:pt>
                <c:pt idx="3">
                  <c:v>35.311599999999999</c:v>
                </c:pt>
              </c:numCache>
            </c:numRef>
          </c:xVal>
          <c:yVal>
            <c:numRef>
              <c:f>Sheet1!$B$2:$B$5</c:f>
              <c:numCache>
                <c:formatCode>General</c:formatCode>
                <c:ptCount val="4"/>
                <c:pt idx="0">
                  <c:v>0.98699999999999999</c:v>
                </c:pt>
                <c:pt idx="1">
                  <c:v>1.016</c:v>
                </c:pt>
                <c:pt idx="2">
                  <c:v>1.042</c:v>
                </c:pt>
                <c:pt idx="3">
                  <c:v>1.0920000000000001</c:v>
                </c:pt>
              </c:numCache>
            </c:numRef>
          </c:yVal>
          <c:bubbleSize>
            <c:numRef>
              <c:f>Sheet1!$C$2:$C$5</c:f>
              <c:numCache>
                <c:formatCode>General</c:formatCode>
                <c:ptCount val="4"/>
                <c:pt idx="0">
                  <c:v>294104</c:v>
                </c:pt>
                <c:pt idx="1">
                  <c:v>80845</c:v>
                </c:pt>
                <c:pt idx="2">
                  <c:v>39281</c:v>
                </c:pt>
                <c:pt idx="3">
                  <c:v>10311</c:v>
                </c:pt>
              </c:numCache>
            </c:numRef>
          </c:bubbleSize>
          <c:bubble3D val="0"/>
          <c:extLst>
            <c:ext xmlns:c15="http://schemas.microsoft.com/office/drawing/2012/chart" uri="{02D57815-91ED-43cb-92C2-25804820EDAC}">
              <c15:datalabelsRange>
                <c15:f>Sheet1!$E$2:$E$10</c15:f>
                <c15:dlblRangeCache>
                  <c:ptCount val="9"/>
                  <c:pt idx="0">
                    <c:v>Malard</c:v>
                  </c:pt>
                  <c:pt idx="1">
                    <c:v>Vesselle</c:v>
                  </c:pt>
                  <c:pt idx="2">
                    <c:v>Louis Martin</c:v>
                  </c:pt>
                  <c:pt idx="3">
                    <c:v>Nicola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2"/>
          <c:min val="2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92"/>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4BA6158-27B4-4706-93A7-2BC20DC2F29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F6BAD93-57A4-4744-A548-543F183062B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C0C2C29-53C8-4D79-8C77-2D4471637C5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B37097B-539B-4237-8531-CE31D04CEE1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97B6B30A-0A0F-4E44-A919-F938B7F17FE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F3261F04-900D-4E0C-A4EE-FDB332C9E98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B364ABC8-D1D3-43C0-9168-78CA097FB02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75A80A0B-4D50-4BF5-BEDC-94BFE91CDE7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29.588699999999999</c:v>
                </c:pt>
                <c:pt idx="1">
                  <c:v>30.354199999999999</c:v>
                </c:pt>
                <c:pt idx="2">
                  <c:v>31.344000000000001</c:v>
                </c:pt>
                <c:pt idx="3">
                  <c:v>35.375900000000001</c:v>
                </c:pt>
              </c:numCache>
            </c:numRef>
          </c:xVal>
          <c:yVal>
            <c:numRef>
              <c:f>Sheet1!$B$2:$B$5</c:f>
              <c:numCache>
                <c:formatCode>General</c:formatCode>
                <c:ptCount val="4"/>
                <c:pt idx="0">
                  <c:v>0.98799999999999999</c:v>
                </c:pt>
                <c:pt idx="1">
                  <c:v>1.014</c:v>
                </c:pt>
                <c:pt idx="2">
                  <c:v>1.044</c:v>
                </c:pt>
                <c:pt idx="3">
                  <c:v>1.095</c:v>
                </c:pt>
              </c:numCache>
            </c:numRef>
          </c:yVal>
          <c:bubbleSize>
            <c:numRef>
              <c:f>Sheet1!$C$2:$C$5</c:f>
              <c:numCache>
                <c:formatCode>General</c:formatCode>
                <c:ptCount val="4"/>
                <c:pt idx="0">
                  <c:v>452589</c:v>
                </c:pt>
                <c:pt idx="1">
                  <c:v>112098</c:v>
                </c:pt>
                <c:pt idx="2">
                  <c:v>59585</c:v>
                </c:pt>
                <c:pt idx="3">
                  <c:v>14398</c:v>
                </c:pt>
              </c:numCache>
            </c:numRef>
          </c:bubbleSize>
          <c:bubble3D val="0"/>
          <c:extLst>
            <c:ext xmlns:c15="http://schemas.microsoft.com/office/drawing/2012/chart" uri="{02D57815-91ED-43cb-92C2-25804820EDAC}">
              <c15:datalabelsRange>
                <c15:f>Sheet1!$E$2:$E$10</c15:f>
                <c15:dlblRangeCache>
                  <c:ptCount val="9"/>
                  <c:pt idx="0">
                    <c:v>Malard</c:v>
                  </c:pt>
                  <c:pt idx="1">
                    <c:v>Vesselle</c:v>
                  </c:pt>
                  <c:pt idx="2">
                    <c:v>Louis Martin</c:v>
                  </c:pt>
                  <c:pt idx="3">
                    <c:v>Nicola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2"/>
          <c:min val="2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94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B0737E6-A34E-4E18-83C2-BC20E00A52F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33F6001-1CD4-404A-BDFD-E72FBBB29C4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745FA61-3475-4BC0-8039-1F85A088F85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A5C56B6-62D9-4756-9807-7D99D08C04E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682FBBDA-C4E0-4C32-8764-E1F9510718C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96265658-BD8C-4AAC-B8A6-A2CC087A0AA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A153235A-549C-4B6B-83B6-5E3F2B4C98C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0CE3B697-CEBA-4691-B973-5484EF7E0C1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29.644600000000001</c:v>
                </c:pt>
                <c:pt idx="1">
                  <c:v>30.648399999999999</c:v>
                </c:pt>
                <c:pt idx="2">
                  <c:v>31.499199999999998</c:v>
                </c:pt>
                <c:pt idx="3">
                  <c:v>35.204099999999997</c:v>
                </c:pt>
              </c:numCache>
            </c:numRef>
          </c:xVal>
          <c:yVal>
            <c:numRef>
              <c:f>Sheet1!$B$2:$B$5</c:f>
              <c:numCache>
                <c:formatCode>General</c:formatCode>
                <c:ptCount val="4"/>
                <c:pt idx="0">
                  <c:v>0.98699999999999999</c:v>
                </c:pt>
                <c:pt idx="1">
                  <c:v>1.02</c:v>
                </c:pt>
                <c:pt idx="2">
                  <c:v>1.0489999999999999</c:v>
                </c:pt>
                <c:pt idx="3">
                  <c:v>1.0669999999999999</c:v>
                </c:pt>
              </c:numCache>
            </c:numRef>
          </c:yVal>
          <c:bubbleSize>
            <c:numRef>
              <c:f>Sheet1!$C$2:$C$5</c:f>
              <c:numCache>
                <c:formatCode>General</c:formatCode>
                <c:ptCount val="4"/>
                <c:pt idx="0">
                  <c:v>397653</c:v>
                </c:pt>
                <c:pt idx="1">
                  <c:v>109231</c:v>
                </c:pt>
                <c:pt idx="2">
                  <c:v>41012</c:v>
                </c:pt>
                <c:pt idx="3">
                  <c:v>15349</c:v>
                </c:pt>
              </c:numCache>
            </c:numRef>
          </c:bubbleSize>
          <c:bubble3D val="0"/>
          <c:extLst>
            <c:ext xmlns:c15="http://schemas.microsoft.com/office/drawing/2012/chart" uri="{02D57815-91ED-43cb-92C2-25804820EDAC}">
              <c15:datalabelsRange>
                <c15:f>Sheet1!$E$2:$E$10</c15:f>
                <c15:dlblRangeCache>
                  <c:ptCount val="9"/>
                  <c:pt idx="0">
                    <c:v>Malard</c:v>
                  </c:pt>
                  <c:pt idx="1">
                    <c:v>Vesselle</c:v>
                  </c:pt>
                  <c:pt idx="2">
                    <c:v>Louis Martin</c:v>
                  </c:pt>
                  <c:pt idx="3">
                    <c:v>Nicola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2"/>
          <c:min val="2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66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368D422-2FAC-4FCB-9E8A-443CD198950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834FA29-474E-4EF6-8676-0D92301A224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F40F1FB-5758-4421-A969-F5D3A635F2F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B0AF1CA-8B95-4BB9-AB27-89D9ECA5CB4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87AD9ED9-2D68-4D04-80F5-038F71A8FF9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03D41391-C964-4C25-8AB4-E087AAD5C6E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2741D373-AF81-4B94-9201-64251A74502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8D92DAD7-9B11-4BD9-B4C5-BEDA591F3AF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29.6189</c:v>
                </c:pt>
                <c:pt idx="1">
                  <c:v>30.450399999999998</c:v>
                </c:pt>
                <c:pt idx="2">
                  <c:v>31.941800000000001</c:v>
                </c:pt>
                <c:pt idx="3">
                  <c:v>34.472900000000003</c:v>
                </c:pt>
              </c:numCache>
            </c:numRef>
          </c:xVal>
          <c:yVal>
            <c:numRef>
              <c:f>Sheet1!$B$2:$B$5</c:f>
              <c:numCache>
                <c:formatCode>General</c:formatCode>
                <c:ptCount val="4"/>
                <c:pt idx="0">
                  <c:v>0.98599999999999999</c:v>
                </c:pt>
                <c:pt idx="1">
                  <c:v>1.016</c:v>
                </c:pt>
                <c:pt idx="2">
                  <c:v>1.0640000000000001</c:v>
                </c:pt>
                <c:pt idx="3">
                  <c:v>1.06</c:v>
                </c:pt>
              </c:numCache>
            </c:numRef>
          </c:yVal>
          <c:bubbleSize>
            <c:numRef>
              <c:f>Sheet1!$C$2:$C$5</c:f>
              <c:numCache>
                <c:formatCode>General</c:formatCode>
                <c:ptCount val="4"/>
                <c:pt idx="0">
                  <c:v>354983</c:v>
                </c:pt>
                <c:pt idx="1">
                  <c:v>90468</c:v>
                </c:pt>
                <c:pt idx="2">
                  <c:v>40598</c:v>
                </c:pt>
                <c:pt idx="3">
                  <c:v>19684</c:v>
                </c:pt>
              </c:numCache>
            </c:numRef>
          </c:bubbleSize>
          <c:bubble3D val="0"/>
          <c:extLst>
            <c:ext xmlns:c15="http://schemas.microsoft.com/office/drawing/2012/chart" uri="{02D57815-91ED-43cb-92C2-25804820EDAC}">
              <c15:datalabelsRange>
                <c15:f>Sheet1!$E$2:$E$10</c15:f>
                <c15:dlblRangeCache>
                  <c:ptCount val="9"/>
                  <c:pt idx="0">
                    <c:v>Malard</c:v>
                  </c:pt>
                  <c:pt idx="1">
                    <c:v>Vesselle</c:v>
                  </c:pt>
                  <c:pt idx="2">
                    <c:v>Louis Martin</c:v>
                  </c:pt>
                  <c:pt idx="3">
                    <c:v>Nicola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1"/>
          <c:min val="2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64"/>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8BBF917-55DB-47AF-B0A0-A7AF6FB7FCD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2C3C9BB-D6DB-4998-BFA6-A2FD3CEB9DD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92BEC56-7811-4A54-9215-E0315EFEB37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1F6E5976-8DA2-4EEC-91D9-3A09B63D2F2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A7735CE3-3620-4EE8-BBD1-72074CF07C4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9A491E1F-31AB-4B7A-8E97-4DBAC2136FE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4F95EE64-5553-449E-8303-DA4D055092B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0206556E-0366-49FB-B55C-D8A1978BE50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30.164100000000001</c:v>
                </c:pt>
                <c:pt idx="1">
                  <c:v>31.168800000000001</c:v>
                </c:pt>
                <c:pt idx="2">
                  <c:v>43.229799999999997</c:v>
                </c:pt>
              </c:numCache>
            </c:numRef>
          </c:xVal>
          <c:yVal>
            <c:numRef>
              <c:f>Sheet1!$B$2:$B$4</c:f>
              <c:numCache>
                <c:formatCode>General</c:formatCode>
                <c:ptCount val="3"/>
                <c:pt idx="0">
                  <c:v>0.95399999999999996</c:v>
                </c:pt>
                <c:pt idx="1">
                  <c:v>0.98599999999999999</c:v>
                </c:pt>
                <c:pt idx="2">
                  <c:v>1.369</c:v>
                </c:pt>
              </c:numCache>
            </c:numRef>
          </c:yVal>
          <c:bubbleSize>
            <c:numRef>
              <c:f>Sheet1!$C$2:$C$4</c:f>
              <c:numCache>
                <c:formatCode>General</c:formatCode>
                <c:ptCount val="3"/>
                <c:pt idx="0">
                  <c:v>2201675</c:v>
                </c:pt>
                <c:pt idx="1">
                  <c:v>1768174</c:v>
                </c:pt>
                <c:pt idx="2">
                  <c:v>478122</c:v>
                </c:pt>
              </c:numCache>
            </c:numRef>
          </c:bubbleSize>
          <c:bubble3D val="0"/>
          <c:extLst>
            <c:ext xmlns:c15="http://schemas.microsoft.com/office/drawing/2012/chart" uri="{02D57815-91ED-43cb-92C2-25804820EDAC}">
              <c15:datalabelsRange>
                <c15:f>Sheet1!$E$2:$E$10</c15:f>
                <c15:dlblRangeCache>
                  <c:ptCount val="9"/>
                  <c:pt idx="0">
                    <c:v>Canard Duchêne</c:v>
                  </c:pt>
                  <c:pt idx="1">
                    <c:v>Nicolas Feuillatte</c:v>
                  </c:pt>
                  <c:pt idx="2">
                    <c:v>Moët &amp; Chando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2"/>
          <c:min val="2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6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24CB50D-EF71-4476-B296-AE6D48686EA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4E2B710-3DA4-46BA-8B85-890CCE56DEE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D25870D-9972-4FEF-BD06-A918DA3C50F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2FD5A9B1-ACD6-4DCC-A77A-78AACB1090C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9E576B60-626F-4D83-BF1E-AD93D91CBC2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2D982C98-EC38-4DBD-AA31-CB69E4CA121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DDE8A758-3C29-41B9-901A-33E7EE7172F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94F38FC3-186A-491B-B715-BC87C6E85D9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31.206</c:v>
                </c:pt>
                <c:pt idx="1">
                  <c:v>43.504300000000001</c:v>
                </c:pt>
                <c:pt idx="2">
                  <c:v>39.130899999999997</c:v>
                </c:pt>
              </c:numCache>
            </c:numRef>
          </c:xVal>
          <c:yVal>
            <c:numRef>
              <c:f>Sheet1!$B$2:$B$4</c:f>
              <c:numCache>
                <c:formatCode>General</c:formatCode>
                <c:ptCount val="3"/>
                <c:pt idx="0">
                  <c:v>0.93700000000000006</c:v>
                </c:pt>
                <c:pt idx="1">
                  <c:v>1.3069999999999999</c:v>
                </c:pt>
                <c:pt idx="2">
                  <c:v>1.1140000000000001</c:v>
                </c:pt>
              </c:numCache>
            </c:numRef>
          </c:yVal>
          <c:bubbleSize>
            <c:numRef>
              <c:f>Sheet1!$C$2:$C$4</c:f>
              <c:numCache>
                <c:formatCode>General</c:formatCode>
                <c:ptCount val="3"/>
                <c:pt idx="0">
                  <c:v>1767506</c:v>
                </c:pt>
                <c:pt idx="1">
                  <c:v>484768</c:v>
                </c:pt>
                <c:pt idx="2">
                  <c:v>30796</c:v>
                </c:pt>
              </c:numCache>
            </c:numRef>
          </c:bubbleSize>
          <c:bubble3D val="0"/>
          <c:extLst>
            <c:ext xmlns:c15="http://schemas.microsoft.com/office/drawing/2012/chart" uri="{02D57815-91ED-43cb-92C2-25804820EDAC}">
              <c15:datalabelsRange>
                <c15:f>Sheet1!$E$2:$E$10</c15:f>
                <c15:dlblRangeCache>
                  <c:ptCount val="9"/>
                  <c:pt idx="0">
                    <c:v>Nicolas Feuillatte</c:v>
                  </c:pt>
                  <c:pt idx="1">
                    <c:v>Moët &amp; Chandon</c:v>
                  </c:pt>
                  <c:pt idx="2">
                    <c:v>Canard Duchên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2"/>
          <c:min val="2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06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3361478-FDF3-440C-B630-6610CF75612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463E3180-969C-4910-9313-F9829C50E28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A326AE8B-25A7-47DC-9DA9-303DCCCC190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54FEFDAA-C34E-4023-83F4-04D3464BC52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E861F159-7FE3-4E32-9A65-30F20028B3C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461E73A8-149B-498A-95DC-968EFA46190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8AC8AE77-4AD0-42F2-A2BA-0A1C0EE32B3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74FB1916-2C59-4871-BCB0-19A14073AA3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30.0794</c:v>
                </c:pt>
              </c:numCache>
            </c:numRef>
          </c:xVal>
          <c:yVal>
            <c:numRef>
              <c:f>Sheet1!$B$2:$B$2</c:f>
              <c:numCache>
                <c:formatCode>General</c:formatCode>
                <c:ptCount val="1"/>
                <c:pt idx="0">
                  <c:v>1</c:v>
                </c:pt>
              </c:numCache>
            </c:numRef>
          </c:yVal>
          <c:bubbleSize>
            <c:numRef>
              <c:f>Sheet1!$C$2:$C$2</c:f>
              <c:numCache>
                <c:formatCode>General</c:formatCode>
                <c:ptCount val="1"/>
                <c:pt idx="0">
                  <c:v>2170979</c:v>
                </c:pt>
              </c:numCache>
            </c:numRef>
          </c:bubbleSize>
          <c:bubble3D val="0"/>
          <c:extLst>
            <c:ext xmlns:c15="http://schemas.microsoft.com/office/drawing/2012/chart" uri="{02D57815-91ED-43cb-92C2-25804820EDAC}">
              <c15:datalabelsRange>
                <c15:f>Sheet1!$E$2:$E$10</c15:f>
                <c15:dlblRangeCache>
                  <c:ptCount val="9"/>
                  <c:pt idx="0">
                    <c:v>Canard Duchên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6"/>
          <c:min val="2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A60246B-E0F0-4922-BEEF-377FEEA82A9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0ACD96E-0480-40A2-AEE3-278718F19B0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3BDFE29-3C7E-4EFF-B6A6-262EEB78BF8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C7A094D6-A17D-4614-A17D-130B6FD2654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5E4D10A2-B7DC-4DD0-9D39-928E02BA078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928C6788-3EBF-4995-B2A8-ADB7ECEFF48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F5F63B22-2B39-4675-9C62-5D48A3B93A7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66EB8E8A-CAC2-46D4-8E71-B332F58E1E8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31.183</c:v>
                </c:pt>
                <c:pt idx="1">
                  <c:v>43.559199999999997</c:v>
                </c:pt>
                <c:pt idx="2">
                  <c:v>38.469000000000001</c:v>
                </c:pt>
              </c:numCache>
            </c:numRef>
          </c:xVal>
          <c:yVal>
            <c:numRef>
              <c:f>Sheet1!$B$2:$B$4</c:f>
              <c:numCache>
                <c:formatCode>General</c:formatCode>
                <c:ptCount val="3"/>
                <c:pt idx="0">
                  <c:v>0.94</c:v>
                </c:pt>
                <c:pt idx="1">
                  <c:v>1.3120000000000001</c:v>
                </c:pt>
                <c:pt idx="2">
                  <c:v>1.1519999999999999</c:v>
                </c:pt>
              </c:numCache>
            </c:numRef>
          </c:yVal>
          <c:bubbleSize>
            <c:numRef>
              <c:f>Sheet1!$C$2:$C$4</c:f>
              <c:numCache>
                <c:formatCode>General</c:formatCode>
                <c:ptCount val="3"/>
                <c:pt idx="0">
                  <c:v>827128</c:v>
                </c:pt>
                <c:pt idx="1">
                  <c:v>211001</c:v>
                </c:pt>
                <c:pt idx="2">
                  <c:v>17388</c:v>
                </c:pt>
              </c:numCache>
            </c:numRef>
          </c:bubbleSize>
          <c:bubble3D val="0"/>
          <c:extLst>
            <c:ext xmlns:c15="http://schemas.microsoft.com/office/drawing/2012/chart" uri="{02D57815-91ED-43cb-92C2-25804820EDAC}">
              <c15:datalabelsRange>
                <c15:f>Sheet1!$E$2:$E$10</c15:f>
                <c15:dlblRangeCache>
                  <c:ptCount val="9"/>
                  <c:pt idx="0">
                    <c:v>Nicolas Feuillatte</c:v>
                  </c:pt>
                  <c:pt idx="1">
                    <c:v>Moët &amp; Chandon</c:v>
                  </c:pt>
                  <c:pt idx="2">
                    <c:v>Canard Duchên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2"/>
          <c:min val="2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12"/>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4259DA7-E0F2-4477-B6F7-575388AEE9F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6950789-6C1C-4546-A984-BA896261654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1DC66B8-5D47-45E9-87A7-8D8D210DCBD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30B483F9-58E1-4638-868B-9D55487B8A9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E8BE8951-D7CB-4482-BD86-5E120897CD5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E5381981-AA7F-4370-97DF-049E7295F43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4042076E-94CA-4596-81E5-EB49FE4A49D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931CBE1D-9021-4687-AA6B-B6D04EDCC3B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31.057600000000001</c:v>
                </c:pt>
                <c:pt idx="1">
                  <c:v>43.201500000000003</c:v>
                </c:pt>
                <c:pt idx="2">
                  <c:v>39.285699999999999</c:v>
                </c:pt>
              </c:numCache>
            </c:numRef>
          </c:xVal>
          <c:yVal>
            <c:numRef>
              <c:f>Sheet1!$B$2:$B$4</c:f>
              <c:numCache>
                <c:formatCode>General</c:formatCode>
                <c:ptCount val="3"/>
                <c:pt idx="0">
                  <c:v>0.94499999999999995</c:v>
                </c:pt>
                <c:pt idx="1">
                  <c:v>1.3169999999999999</c:v>
                </c:pt>
                <c:pt idx="2">
                  <c:v>1.1459999999999999</c:v>
                </c:pt>
              </c:numCache>
            </c:numRef>
          </c:yVal>
          <c:bubbleSize>
            <c:numRef>
              <c:f>Sheet1!$C$2:$C$4</c:f>
              <c:numCache>
                <c:formatCode>General</c:formatCode>
                <c:ptCount val="3"/>
                <c:pt idx="0">
                  <c:v>331167</c:v>
                </c:pt>
                <c:pt idx="1">
                  <c:v>75689</c:v>
                </c:pt>
                <c:pt idx="2">
                  <c:v>5225</c:v>
                </c:pt>
              </c:numCache>
            </c:numRef>
          </c:bubbleSize>
          <c:bubble3D val="0"/>
          <c:extLst>
            <c:ext xmlns:c15="http://schemas.microsoft.com/office/drawing/2012/chart" uri="{02D57815-91ED-43cb-92C2-25804820EDAC}">
              <c15:datalabelsRange>
                <c15:f>Sheet1!$E$2:$E$10</c15:f>
                <c15:dlblRangeCache>
                  <c:ptCount val="9"/>
                  <c:pt idx="0">
                    <c:v>Nicolas Feuillatte</c:v>
                  </c:pt>
                  <c:pt idx="1">
                    <c:v>Moët &amp; Chandon</c:v>
                  </c:pt>
                  <c:pt idx="2">
                    <c:v>Canard Duchên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2"/>
          <c:min val="2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16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6955715-4486-4245-BE10-AA708FED3EB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4C92393-DA5C-49FD-8775-130CE772F2B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887C7C7-CE4D-4A41-B5E4-242D8D1CE19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AA9063D-7EA1-48EB-91F4-FA543D94401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97C761F-DFAA-475C-98AF-2432C6F4A34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BD0990E3-A9DE-417A-9508-91E6F6C3F6C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26D1E246-3711-481F-9675-A25BA722B58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E7C993BE-E955-4110-8DC5-64E8EDC31E3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67.4298</c:v>
                </c:pt>
                <c:pt idx="1">
                  <c:v>23.6297</c:v>
                </c:pt>
                <c:pt idx="2">
                  <c:v>48.656399999999998</c:v>
                </c:pt>
                <c:pt idx="3">
                  <c:v>31.455500000000001</c:v>
                </c:pt>
                <c:pt idx="4">
                  <c:v>51.262500000000003</c:v>
                </c:pt>
                <c:pt idx="5">
                  <c:v>32.673000000000002</c:v>
                </c:pt>
                <c:pt idx="6">
                  <c:v>29.328600000000002</c:v>
                </c:pt>
                <c:pt idx="7">
                  <c:v>38.494</c:v>
                </c:pt>
              </c:numCache>
            </c:numRef>
          </c:xVal>
          <c:yVal>
            <c:numRef>
              <c:f>Sheet1!$B$2:$B$9</c:f>
              <c:numCache>
                <c:formatCode>General</c:formatCode>
                <c:ptCount val="8"/>
                <c:pt idx="0">
                  <c:v>1.958</c:v>
                </c:pt>
                <c:pt idx="1">
                  <c:v>0.69499999999999995</c:v>
                </c:pt>
                <c:pt idx="2">
                  <c:v>1.415</c:v>
                </c:pt>
                <c:pt idx="3">
                  <c:v>0.92</c:v>
                </c:pt>
                <c:pt idx="4">
                  <c:v>1.3520000000000001</c:v>
                </c:pt>
                <c:pt idx="5">
                  <c:v>0.94</c:v>
                </c:pt>
                <c:pt idx="6">
                  <c:v>0.85799999999999998</c:v>
                </c:pt>
                <c:pt idx="7">
                  <c:v>1.1259999999999999</c:v>
                </c:pt>
              </c:numCache>
            </c:numRef>
          </c:yVal>
          <c:bubbleSize>
            <c:numRef>
              <c:f>Sheet1!$C$2:$C$9</c:f>
              <c:numCache>
                <c:formatCode>General</c:formatCode>
                <c:ptCount val="8"/>
                <c:pt idx="0">
                  <c:v>5979133</c:v>
                </c:pt>
                <c:pt idx="1">
                  <c:v>2515244</c:v>
                </c:pt>
                <c:pt idx="2">
                  <c:v>2235322</c:v>
                </c:pt>
                <c:pt idx="3">
                  <c:v>1556133</c:v>
                </c:pt>
                <c:pt idx="4">
                  <c:v>1441809</c:v>
                </c:pt>
                <c:pt idx="5">
                  <c:v>1050176</c:v>
                </c:pt>
                <c:pt idx="6">
                  <c:v>1029785</c:v>
                </c:pt>
                <c:pt idx="7">
                  <c:v>929977</c:v>
                </c:pt>
              </c:numCache>
            </c:numRef>
          </c:bubbleSize>
          <c:bubble3D val="0"/>
          <c:extLst>
            <c:ext xmlns:c15="http://schemas.microsoft.com/office/drawing/2012/chart" uri="{02D57815-91ED-43cb-92C2-25804820EDAC}">
              <c15:datalabelsRange>
                <c15:f>Sheet1!$E$2:$E$10</c15:f>
                <c15:dlblRangeCache>
                  <c:ptCount val="9"/>
                  <c:pt idx="0">
                    <c:v>Ruinart</c:v>
                  </c:pt>
                  <c:pt idx="1">
                    <c:v>Nicolas</c:v>
                  </c:pt>
                  <c:pt idx="2">
                    <c:v>Deutz</c:v>
                  </c:pt>
                  <c:pt idx="3">
                    <c:v>Malard</c:v>
                  </c:pt>
                  <c:pt idx="4">
                    <c:v>Laurent Perrier</c:v>
                  </c:pt>
                  <c:pt idx="5">
                    <c:v>Nicolas Feuillatte</c:v>
                  </c:pt>
                  <c:pt idx="6">
                    <c:v>Heidsieck &amp; Co Monopole</c:v>
                  </c:pt>
                  <c:pt idx="7">
                    <c:v>Ayala</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1"/>
          <c:min val="19"/>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85B1BB8-F304-44F3-BA28-A49E917B99E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152E22D-B09B-4ECE-B007-520E736D790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95A264C-AB59-4F13-A9B7-BAC8236CE6C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720923F-1257-4FA0-B5CE-39302E593C9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5697432-B50A-4B99-A5DC-F7B7C08EB57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2E904CB-8E1E-4632-A135-A0963BE22BB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AF5D63D-DB2B-46EB-BF8B-E6885D08491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3EF1071E-A778-4C49-B232-C2F0D7F95B5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72.245000000000005</c:v>
                </c:pt>
                <c:pt idx="1">
                  <c:v>23.982600000000001</c:v>
                </c:pt>
                <c:pt idx="2">
                  <c:v>53.209800000000001</c:v>
                </c:pt>
                <c:pt idx="3">
                  <c:v>31.915800000000001</c:v>
                </c:pt>
                <c:pt idx="4">
                  <c:v>56.263100000000001</c:v>
                </c:pt>
                <c:pt idx="5">
                  <c:v>33.282400000000003</c:v>
                </c:pt>
                <c:pt idx="6">
                  <c:v>58.168599999999998</c:v>
                </c:pt>
                <c:pt idx="7">
                  <c:v>74.187700000000007</c:v>
                </c:pt>
              </c:numCache>
            </c:numRef>
          </c:xVal>
          <c:yVal>
            <c:numRef>
              <c:f>Sheet1!$B$2:$B$9</c:f>
              <c:numCache>
                <c:formatCode>General</c:formatCode>
                <c:ptCount val="8"/>
                <c:pt idx="0">
                  <c:v>1.5389999999999999</c:v>
                </c:pt>
                <c:pt idx="1">
                  <c:v>0.50800000000000001</c:v>
                </c:pt>
                <c:pt idx="2">
                  <c:v>1.0760000000000001</c:v>
                </c:pt>
                <c:pt idx="3">
                  <c:v>0.67700000000000005</c:v>
                </c:pt>
                <c:pt idx="4">
                  <c:v>1.022</c:v>
                </c:pt>
                <c:pt idx="5">
                  <c:v>0.68799999999999994</c:v>
                </c:pt>
                <c:pt idx="6">
                  <c:v>1.0229999999999999</c:v>
                </c:pt>
                <c:pt idx="7">
                  <c:v>1.524</c:v>
                </c:pt>
              </c:numCache>
            </c:numRef>
          </c:yVal>
          <c:bubbleSize>
            <c:numRef>
              <c:f>Sheet1!$C$2:$C$9</c:f>
              <c:numCache>
                <c:formatCode>General</c:formatCode>
                <c:ptCount val="8"/>
                <c:pt idx="0">
                  <c:v>1098847</c:v>
                </c:pt>
                <c:pt idx="1">
                  <c:v>246085</c:v>
                </c:pt>
                <c:pt idx="2">
                  <c:v>239125</c:v>
                </c:pt>
                <c:pt idx="3">
                  <c:v>135355</c:v>
                </c:pt>
                <c:pt idx="4">
                  <c:v>127436</c:v>
                </c:pt>
                <c:pt idx="5">
                  <c:v>107702</c:v>
                </c:pt>
                <c:pt idx="6">
                  <c:v>98654</c:v>
                </c:pt>
                <c:pt idx="7">
                  <c:v>98002</c:v>
                </c:pt>
              </c:numCache>
            </c:numRef>
          </c:bubbleSize>
          <c:bubble3D val="0"/>
          <c:extLst>
            <c:ext xmlns:c15="http://schemas.microsoft.com/office/drawing/2012/chart" uri="{02D57815-91ED-43cb-92C2-25804820EDAC}">
              <c15:datalabelsRange>
                <c15:f>Sheet1!$E$2:$E$10</c15:f>
                <c15:dlblRangeCache>
                  <c:ptCount val="9"/>
                  <c:pt idx="0">
                    <c:v>Ruinart</c:v>
                  </c:pt>
                  <c:pt idx="1">
                    <c:v>Nicolas</c:v>
                  </c:pt>
                  <c:pt idx="2">
                    <c:v>Deutz</c:v>
                  </c:pt>
                  <c:pt idx="3">
                    <c:v>Malard</c:v>
                  </c:pt>
                  <c:pt idx="4">
                    <c:v>Laurent Perrier</c:v>
                  </c:pt>
                  <c:pt idx="5">
                    <c:v>Nicolas Feuillatte</c:v>
                  </c:pt>
                  <c:pt idx="6">
                    <c:v>Taittinger</c:v>
                  </c:pt>
                  <c:pt idx="7">
                    <c:v>Roederer</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9"/>
          <c:min val="19"/>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99B8576-754D-4418-9A21-018D4AA6CCE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09E4C02-FA20-4D68-99A9-337906898F3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618CDEA-C902-4AF3-94B7-2DCA9218359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83A9A169-8EAA-4C8E-803D-492C321983C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0B7EA7EA-1EDD-4E7C-83BD-6866CD0CC38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85972791-9007-40FC-826C-AAEE15ADE6E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1D2D945F-462D-43D2-9C0A-AFE7F4D30EE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A350320B-D40C-4DF1-8176-D381019F4F9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31.551100000000002</c:v>
                </c:pt>
                <c:pt idx="1">
                  <c:v>43.418399999999998</c:v>
                </c:pt>
                <c:pt idx="2">
                  <c:v>39.845399999999998</c:v>
                </c:pt>
              </c:numCache>
            </c:numRef>
          </c:xVal>
          <c:yVal>
            <c:numRef>
              <c:f>Sheet1!$B$2:$B$4</c:f>
              <c:numCache>
                <c:formatCode>General</c:formatCode>
                <c:ptCount val="3"/>
                <c:pt idx="0">
                  <c:v>0.93600000000000005</c:v>
                </c:pt>
                <c:pt idx="1">
                  <c:v>1.2929999999999999</c:v>
                </c:pt>
                <c:pt idx="2">
                  <c:v>1.0620000000000001</c:v>
                </c:pt>
              </c:numCache>
            </c:numRef>
          </c:yVal>
          <c:bubbleSize>
            <c:numRef>
              <c:f>Sheet1!$C$2:$C$4</c:f>
              <c:numCache>
                <c:formatCode>General</c:formatCode>
                <c:ptCount val="3"/>
                <c:pt idx="0">
                  <c:v>218807</c:v>
                </c:pt>
                <c:pt idx="1">
                  <c:v>63304</c:v>
                </c:pt>
                <c:pt idx="2">
                  <c:v>3865</c:v>
                </c:pt>
              </c:numCache>
            </c:numRef>
          </c:bubbleSize>
          <c:bubble3D val="0"/>
          <c:extLst>
            <c:ext xmlns:c15="http://schemas.microsoft.com/office/drawing/2012/chart" uri="{02D57815-91ED-43cb-92C2-25804820EDAC}">
              <c15:datalabelsRange>
                <c15:f>Sheet1!$E$2:$E$10</c15:f>
                <c15:dlblRangeCache>
                  <c:ptCount val="9"/>
                  <c:pt idx="0">
                    <c:v>Nicolas Feuillatte</c:v>
                  </c:pt>
                  <c:pt idx="1">
                    <c:v>Moët &amp; Chandon</c:v>
                  </c:pt>
                  <c:pt idx="2">
                    <c:v>Canard Duchên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2"/>
          <c:min val="2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492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2BFB4CA-373B-4AA4-A605-10FA4D67B8C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E6C44A0-F9EB-4B33-AC4A-C7A5593C3D8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76131CAD-4A9C-429F-B5F3-1B8A2098224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000CD7A6-CCC7-419C-BC1D-253AE7AB95F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A81DAD2E-F7C5-4824-9803-96C438376A9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3DE1A39D-16C2-42EA-B38E-71964C8F961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9BCA6114-8078-4A0E-A138-8494621E167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BA6E0929-C275-437A-B9D6-DE3FD831C12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31.242999999999999</c:v>
                </c:pt>
                <c:pt idx="1">
                  <c:v>42.777900000000002</c:v>
                </c:pt>
              </c:numCache>
            </c:numRef>
          </c:xVal>
          <c:yVal>
            <c:numRef>
              <c:f>Sheet1!$B$2:$B$3</c:f>
              <c:numCache>
                <c:formatCode>General</c:formatCode>
                <c:ptCount val="2"/>
                <c:pt idx="0">
                  <c:v>0.92200000000000004</c:v>
                </c:pt>
                <c:pt idx="1">
                  <c:v>1.2669999999999999</c:v>
                </c:pt>
              </c:numCache>
            </c:numRef>
          </c:yVal>
          <c:bubbleSize>
            <c:numRef>
              <c:f>Sheet1!$C$2:$C$3</c:f>
              <c:numCache>
                <c:formatCode>General</c:formatCode>
                <c:ptCount val="2"/>
                <c:pt idx="0">
                  <c:v>161589</c:v>
                </c:pt>
                <c:pt idx="1">
                  <c:v>64894</c:v>
                </c:pt>
              </c:numCache>
            </c:numRef>
          </c:bubbleSize>
          <c:bubble3D val="0"/>
          <c:extLst>
            <c:ext xmlns:c15="http://schemas.microsoft.com/office/drawing/2012/chart" uri="{02D57815-91ED-43cb-92C2-25804820EDAC}">
              <c15:datalabelsRange>
                <c15:f>Sheet1!$E$2:$E$10</c15:f>
                <c15:dlblRangeCache>
                  <c:ptCount val="9"/>
                  <c:pt idx="0">
                    <c:v>Nicolas Feuillatte</c:v>
                  </c:pt>
                  <c:pt idx="1">
                    <c:v>Moët &amp; Chando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1"/>
          <c:min val="2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466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DBD5374-41A1-492B-B41D-5555FC0E154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DDCA82C-DF53-4BAB-BA30-A1449264C86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71D2A6B0-F628-4380-8D23-4C4FDB2018F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DFC4B87F-D271-4573-9BFE-D1C464F7C79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ED899BCA-37AD-49B7-AB94-BA3B4C71F03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8C06CC3D-1540-400F-A65F-4DC254D616D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DA6BBCC1-A6D2-407F-893F-5888FE7882B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CA4EEB67-9BCC-41A9-8ABC-D702AAD7EE6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30.879000000000001</c:v>
                </c:pt>
                <c:pt idx="1">
                  <c:v>44.436199999999999</c:v>
                </c:pt>
              </c:numCache>
            </c:numRef>
          </c:xVal>
          <c:yVal>
            <c:numRef>
              <c:f>Sheet1!$B$2:$B$3</c:f>
              <c:numCache>
                <c:formatCode>General</c:formatCode>
                <c:ptCount val="2"/>
                <c:pt idx="0">
                  <c:v>0.92900000000000005</c:v>
                </c:pt>
                <c:pt idx="1">
                  <c:v>1.3420000000000001</c:v>
                </c:pt>
              </c:numCache>
            </c:numRef>
          </c:yVal>
          <c:bubbleSize>
            <c:numRef>
              <c:f>Sheet1!$C$2:$C$3</c:f>
              <c:numCache>
                <c:formatCode>General</c:formatCode>
                <c:ptCount val="2"/>
                <c:pt idx="0">
                  <c:v>79359</c:v>
                </c:pt>
                <c:pt idx="1">
                  <c:v>23329</c:v>
                </c:pt>
              </c:numCache>
            </c:numRef>
          </c:bubbleSize>
          <c:bubble3D val="0"/>
          <c:extLst>
            <c:ext xmlns:c15="http://schemas.microsoft.com/office/drawing/2012/chart" uri="{02D57815-91ED-43cb-92C2-25804820EDAC}">
              <c15:datalabelsRange>
                <c15:f>Sheet1!$E$2:$E$10</c15:f>
                <c15:dlblRangeCache>
                  <c:ptCount val="9"/>
                  <c:pt idx="0">
                    <c:v>Nicolas Feuillatte</c:v>
                  </c:pt>
                  <c:pt idx="1">
                    <c:v>Moët &amp; Chando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3"/>
          <c:min val="2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42"/>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5BA9A58-73C1-4021-B8CD-ECCFB0CC2F5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21474B1-E7AA-4DE1-84EF-48A29340439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5A1C0BA-DB50-4C1F-AF96-0FFF432E4B0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BED13234-EB1A-419E-9F02-A39B4DA95C7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BCD20C9E-AA5C-4C62-8E9A-ADC3E6C4DA1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F8FCBBD1-12DA-4733-B2A9-05AF9B6DC5F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6C690386-681D-4300-B120-135D4AF62E8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C3EEAC79-9E4F-4013-91AA-BB273A8568E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31.1982</c:v>
                </c:pt>
                <c:pt idx="1">
                  <c:v>43.2714</c:v>
                </c:pt>
                <c:pt idx="2">
                  <c:v>38.2958</c:v>
                </c:pt>
              </c:numCache>
            </c:numRef>
          </c:xVal>
          <c:yVal>
            <c:numRef>
              <c:f>Sheet1!$B$2:$B$4</c:f>
              <c:numCache>
                <c:formatCode>General</c:formatCode>
                <c:ptCount val="3"/>
                <c:pt idx="0">
                  <c:v>0.93600000000000005</c:v>
                </c:pt>
                <c:pt idx="1">
                  <c:v>1.298</c:v>
                </c:pt>
                <c:pt idx="2">
                  <c:v>1.1539999999999999</c:v>
                </c:pt>
              </c:numCache>
            </c:numRef>
          </c:yVal>
          <c:bubbleSize>
            <c:numRef>
              <c:f>Sheet1!$C$2:$C$4</c:f>
              <c:numCache>
                <c:formatCode>General</c:formatCode>
                <c:ptCount val="3"/>
                <c:pt idx="0">
                  <c:v>1328637</c:v>
                </c:pt>
                <c:pt idx="1">
                  <c:v>380745</c:v>
                </c:pt>
                <c:pt idx="2">
                  <c:v>21752</c:v>
                </c:pt>
              </c:numCache>
            </c:numRef>
          </c:bubbleSize>
          <c:bubble3D val="0"/>
          <c:extLst>
            <c:ext xmlns:c15="http://schemas.microsoft.com/office/drawing/2012/chart" uri="{02D57815-91ED-43cb-92C2-25804820EDAC}">
              <c15:datalabelsRange>
                <c15:f>Sheet1!$E$2:$E$10</c15:f>
                <c15:dlblRangeCache>
                  <c:ptCount val="9"/>
                  <c:pt idx="0">
                    <c:v>Nicolas Feuillatte</c:v>
                  </c:pt>
                  <c:pt idx="1">
                    <c:v>Moët &amp; Chandon</c:v>
                  </c:pt>
                  <c:pt idx="2">
                    <c:v>Canard Duchên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2"/>
          <c:min val="2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498"/>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57FA460-9BF2-4AF0-9ED9-EC537723DAE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1BC2B79-0B54-4D76-8280-C73B6F24284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EAB74888-AACB-4051-963E-E0DD8A41786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622450D2-9833-4106-ADD2-6E30703B033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2DA3F8EA-62EE-46E4-ADFB-9B47D244240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617D0D01-7FF4-4C59-9633-DEDD9C64853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DE788A98-D000-411B-8D75-DA64A8901F4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5C6D2EC4-890D-44C8-A0D5-46DD779E0BC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31.259499999999999</c:v>
                </c:pt>
                <c:pt idx="1">
                  <c:v>43.661499999999997</c:v>
                </c:pt>
              </c:numCache>
            </c:numRef>
          </c:xVal>
          <c:yVal>
            <c:numRef>
              <c:f>Sheet1!$B$2:$B$3</c:f>
              <c:numCache>
                <c:formatCode>General</c:formatCode>
                <c:ptCount val="2"/>
                <c:pt idx="0">
                  <c:v>0.93300000000000005</c:v>
                </c:pt>
                <c:pt idx="1">
                  <c:v>1.304</c:v>
                </c:pt>
              </c:numCache>
            </c:numRef>
          </c:yVal>
          <c:bubbleSize>
            <c:numRef>
              <c:f>Sheet1!$C$2:$C$3</c:f>
              <c:numCache>
                <c:formatCode>General</c:formatCode>
                <c:ptCount val="2"/>
                <c:pt idx="0">
                  <c:v>132884</c:v>
                </c:pt>
                <c:pt idx="1">
                  <c:v>39732</c:v>
                </c:pt>
              </c:numCache>
            </c:numRef>
          </c:bubbleSize>
          <c:bubble3D val="0"/>
          <c:extLst>
            <c:ext xmlns:c15="http://schemas.microsoft.com/office/drawing/2012/chart" uri="{02D57815-91ED-43cb-92C2-25804820EDAC}">
              <c15:datalabelsRange>
                <c15:f>Sheet1!$E$2:$E$10</c15:f>
                <c15:dlblRangeCache>
                  <c:ptCount val="9"/>
                  <c:pt idx="0">
                    <c:v>Nicolas Feuillatte</c:v>
                  </c:pt>
                  <c:pt idx="1">
                    <c:v>Moët &amp; Chando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2"/>
          <c:min val="2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04"/>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EE5ED3C-001F-49DF-88A1-D0952E072FC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0D14A93-7A46-47D9-A004-DF8C28862E1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379CF4D-33AC-4A62-B7C6-BA5C7797D05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23D7F48F-D642-4936-8129-A3A43A9BC18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B6DF8E58-8BD9-490B-A91F-A3C0E504ADB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33AB8529-32FC-4C11-943B-60B8445B2EB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7FA94197-ED69-4B5B-8776-7E2C5689E3E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9E977E43-23E8-452A-A4A6-F2F18CE306E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31.412800000000001</c:v>
                </c:pt>
                <c:pt idx="1">
                  <c:v>44.533299999999997</c:v>
                </c:pt>
                <c:pt idx="2">
                  <c:v>40.75</c:v>
                </c:pt>
              </c:numCache>
            </c:numRef>
          </c:xVal>
          <c:yVal>
            <c:numRef>
              <c:f>Sheet1!$B$2:$B$4</c:f>
              <c:numCache>
                <c:formatCode>General</c:formatCode>
                <c:ptCount val="3"/>
                <c:pt idx="0">
                  <c:v>0.94399999999999995</c:v>
                </c:pt>
                <c:pt idx="1">
                  <c:v>1.333</c:v>
                </c:pt>
                <c:pt idx="2">
                  <c:v>1.022</c:v>
                </c:pt>
              </c:numCache>
            </c:numRef>
          </c:yVal>
          <c:bubbleSize>
            <c:numRef>
              <c:f>Sheet1!$C$2:$C$4</c:f>
              <c:numCache>
                <c:formatCode>General</c:formatCode>
                <c:ptCount val="3"/>
                <c:pt idx="0">
                  <c:v>83558</c:v>
                </c:pt>
                <c:pt idx="1">
                  <c:v>19372</c:v>
                </c:pt>
                <c:pt idx="2">
                  <c:v>1630</c:v>
                </c:pt>
              </c:numCache>
            </c:numRef>
          </c:bubbleSize>
          <c:bubble3D val="0"/>
          <c:extLst>
            <c:ext xmlns:c15="http://schemas.microsoft.com/office/drawing/2012/chart" uri="{02D57815-91ED-43cb-92C2-25804820EDAC}">
              <c15:datalabelsRange>
                <c15:f>Sheet1!$E$2:$E$10</c15:f>
                <c15:dlblRangeCache>
                  <c:ptCount val="9"/>
                  <c:pt idx="0">
                    <c:v>Nicolas Feuillatte</c:v>
                  </c:pt>
                  <c:pt idx="1">
                    <c:v>Moët &amp; Chandon</c:v>
                  </c:pt>
                  <c:pt idx="2">
                    <c:v>Canard Duchên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3"/>
          <c:min val="2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32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AEDE2D9-851F-4D81-9F6C-B82B79D4905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9D98C32-D385-4A74-98B2-B65EC7704E9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3397222-8DAB-458C-92D7-F516C6A7B54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3527C450-6F07-4DB2-B472-2DBB11BA0A1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795E39AF-E7A1-4BAB-8D5E-5E19AE43A88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E99204CA-EF67-4CC9-8A99-CD7E5AC1AE7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8D837162-6676-41C9-93ED-1F5DADB5A03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EF5EE0D8-F209-4AA5-88BE-C4A07067552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31.644300000000001</c:v>
                </c:pt>
                <c:pt idx="1">
                  <c:v>45.026499999999999</c:v>
                </c:pt>
                <c:pt idx="2">
                  <c:v>41.7</c:v>
                </c:pt>
              </c:numCache>
            </c:numRef>
          </c:xVal>
          <c:yVal>
            <c:numRef>
              <c:f>Sheet1!$B$2:$B$4</c:f>
              <c:numCache>
                <c:formatCode>General</c:formatCode>
                <c:ptCount val="3"/>
                <c:pt idx="0">
                  <c:v>0.96199999999999997</c:v>
                </c:pt>
                <c:pt idx="1">
                  <c:v>1.2869999999999999</c:v>
                </c:pt>
                <c:pt idx="2">
                  <c:v>1.1859999999999999</c:v>
                </c:pt>
              </c:numCache>
            </c:numRef>
          </c:yVal>
          <c:bubbleSize>
            <c:numRef>
              <c:f>Sheet1!$C$2:$C$4</c:f>
              <c:numCache>
                <c:formatCode>General</c:formatCode>
                <c:ptCount val="3"/>
                <c:pt idx="0">
                  <c:v>32562</c:v>
                </c:pt>
                <c:pt idx="1">
                  <c:v>5088</c:v>
                </c:pt>
                <c:pt idx="2">
                  <c:v>417</c:v>
                </c:pt>
              </c:numCache>
            </c:numRef>
          </c:bubbleSize>
          <c:bubble3D val="0"/>
          <c:extLst>
            <c:ext xmlns:c15="http://schemas.microsoft.com/office/drawing/2012/chart" uri="{02D57815-91ED-43cb-92C2-25804820EDAC}">
              <c15:datalabelsRange>
                <c15:f>Sheet1!$E$2:$E$10</c15:f>
                <c15:dlblRangeCache>
                  <c:ptCount val="9"/>
                  <c:pt idx="0">
                    <c:v>Nicolas Feuillatte</c:v>
                  </c:pt>
                  <c:pt idx="1">
                    <c:v>Moët &amp; Chandon</c:v>
                  </c:pt>
                  <c:pt idx="2">
                    <c:v>Canard Duchên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4"/>
          <c:min val="2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486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19ED997-808F-46AD-A7F7-A5CB490B3E2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1270E25-00DF-49A9-ABF8-0ED509EC2D3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8E0D20B-A9B2-45E7-A8B2-4AB90C1A8AC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249B41F-BB9E-4BDD-8C15-DED03344A18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A1C00F22-9BA0-427E-B86F-AFA7A81EF8A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D3DAF27F-C5A3-4DF8-858B-2F28CFF833C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DC6E28D2-DC47-4F8D-B4C1-83AF15A6D9B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52C8F592-F8A8-4914-954A-1A711813BC7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31.212</c:v>
                </c:pt>
                <c:pt idx="1">
                  <c:v>43.988500000000002</c:v>
                </c:pt>
                <c:pt idx="2">
                  <c:v>39.526299999999999</c:v>
                </c:pt>
                <c:pt idx="3">
                  <c:v>40.066699999999997</c:v>
                </c:pt>
              </c:numCache>
            </c:numRef>
          </c:xVal>
          <c:yVal>
            <c:numRef>
              <c:f>Sheet1!$B$2:$B$5</c:f>
              <c:numCache>
                <c:formatCode>General</c:formatCode>
                <c:ptCount val="4"/>
                <c:pt idx="0">
                  <c:v>0.94599999999999995</c:v>
                </c:pt>
                <c:pt idx="1">
                  <c:v>1.335</c:v>
                </c:pt>
                <c:pt idx="2">
                  <c:v>0.98099999999999998</c:v>
                </c:pt>
                <c:pt idx="3">
                  <c:v>1.145</c:v>
                </c:pt>
              </c:numCache>
            </c:numRef>
          </c:yVal>
          <c:bubbleSize>
            <c:numRef>
              <c:f>Sheet1!$C$2:$C$5</c:f>
              <c:numCache>
                <c:formatCode>General</c:formatCode>
                <c:ptCount val="4"/>
                <c:pt idx="0">
                  <c:v>34739</c:v>
                </c:pt>
                <c:pt idx="1">
                  <c:v>7654</c:v>
                </c:pt>
                <c:pt idx="2">
                  <c:v>1502</c:v>
                </c:pt>
                <c:pt idx="3">
                  <c:v>601</c:v>
                </c:pt>
              </c:numCache>
            </c:numRef>
          </c:bubbleSize>
          <c:bubble3D val="0"/>
          <c:extLst>
            <c:ext xmlns:c15="http://schemas.microsoft.com/office/drawing/2012/chart" uri="{02D57815-91ED-43cb-92C2-25804820EDAC}">
              <c15:datalabelsRange>
                <c15:f>Sheet1!$E$2:$E$10</c15:f>
                <c15:dlblRangeCache>
                  <c:ptCount val="9"/>
                  <c:pt idx="0">
                    <c:v>Nicolas Feuillatte</c:v>
                  </c:pt>
                  <c:pt idx="1">
                    <c:v>Moët &amp; Chandon</c:v>
                  </c:pt>
                  <c:pt idx="2">
                    <c:v>Canard Duchêne</c:v>
                  </c:pt>
                  <c:pt idx="3">
                    <c:v>Piper Heidsieck</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3"/>
          <c:min val="2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34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5FB4B21-4ABB-4A08-9DA8-7E5214BDA7B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BC1D99B-2D55-49DD-9BB1-18AC836C9F9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1F0E6C4-3686-4027-8A3F-A7C285AD5D7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ABB00FDD-FBAD-4E57-B329-3235E323E8A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B8F3155D-EE9B-4203-BAB6-F1769139FFE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AF17A230-DE04-4874-83CC-474F9E7185F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D217D2C2-B8D6-44B4-B82C-C5646A66B7C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1AB05C96-A1D1-43B4-9AFB-8AED5858A43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31.217700000000001</c:v>
                </c:pt>
                <c:pt idx="1">
                  <c:v>43.048900000000003</c:v>
                </c:pt>
                <c:pt idx="2">
                  <c:v>38.2864</c:v>
                </c:pt>
              </c:numCache>
            </c:numRef>
          </c:xVal>
          <c:yVal>
            <c:numRef>
              <c:f>Sheet1!$B$2:$B$4</c:f>
              <c:numCache>
                <c:formatCode>General</c:formatCode>
                <c:ptCount val="3"/>
                <c:pt idx="0">
                  <c:v>0.93100000000000005</c:v>
                </c:pt>
                <c:pt idx="1">
                  <c:v>1.2849999999999999</c:v>
                </c:pt>
                <c:pt idx="2">
                  <c:v>1.149</c:v>
                </c:pt>
              </c:numCache>
            </c:numRef>
          </c:yVal>
          <c:bubbleSize>
            <c:numRef>
              <c:f>Sheet1!$C$2:$C$4</c:f>
              <c:numCache>
                <c:formatCode>General</c:formatCode>
                <c:ptCount val="3"/>
                <c:pt idx="0">
                  <c:v>484873</c:v>
                </c:pt>
                <c:pt idx="1">
                  <c:v>156612</c:v>
                </c:pt>
                <c:pt idx="2">
                  <c:v>8423</c:v>
                </c:pt>
              </c:numCache>
            </c:numRef>
          </c:bubbleSize>
          <c:bubble3D val="0"/>
          <c:extLst>
            <c:ext xmlns:c15="http://schemas.microsoft.com/office/drawing/2012/chart" uri="{02D57815-91ED-43cb-92C2-25804820EDAC}">
              <c15:datalabelsRange>
                <c15:f>Sheet1!$E$2:$E$10</c15:f>
                <c15:dlblRangeCache>
                  <c:ptCount val="9"/>
                  <c:pt idx="0">
                    <c:v>Nicolas Feuillatte</c:v>
                  </c:pt>
                  <c:pt idx="1">
                    <c:v>Moët &amp; Chandon</c:v>
                  </c:pt>
                  <c:pt idx="2">
                    <c:v>Canard Duchên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2"/>
          <c:min val="2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484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CD3669C-88B3-4242-B213-0FE08925B51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3FA4DB8-D1C9-428A-B770-E13824F27C0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C425AFE7-D859-4E80-BBE2-7325DE43316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C14E87A6-7C27-45F2-BF42-C1D0D031344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7C73A2EB-7BAB-4085-9498-FE3D3B2E920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E868D195-0351-470B-A5CD-4F7239EE7BD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039A3309-6068-4EEA-95EE-475FE3A69AA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66F7676A-1E59-4B1A-AF16-7F4FA3CD6B4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31.130199999999999</c:v>
                </c:pt>
                <c:pt idx="1">
                  <c:v>43.843800000000002</c:v>
                </c:pt>
              </c:numCache>
            </c:numRef>
          </c:xVal>
          <c:yVal>
            <c:numRef>
              <c:f>Sheet1!$B$2:$B$3</c:f>
              <c:numCache>
                <c:formatCode>General</c:formatCode>
                <c:ptCount val="2"/>
                <c:pt idx="0">
                  <c:v>0.92900000000000005</c:v>
                </c:pt>
                <c:pt idx="1">
                  <c:v>1.3089999999999999</c:v>
                </c:pt>
              </c:numCache>
            </c:numRef>
          </c:yVal>
          <c:bubbleSize>
            <c:numRef>
              <c:f>Sheet1!$C$2:$C$3</c:f>
              <c:numCache>
                <c:formatCode>General</c:formatCode>
                <c:ptCount val="2"/>
                <c:pt idx="0">
                  <c:v>254707</c:v>
                </c:pt>
                <c:pt idx="1">
                  <c:v>81944</c:v>
                </c:pt>
              </c:numCache>
            </c:numRef>
          </c:bubbleSize>
          <c:bubble3D val="0"/>
          <c:extLst>
            <c:ext xmlns:c15="http://schemas.microsoft.com/office/drawing/2012/chart" uri="{02D57815-91ED-43cb-92C2-25804820EDAC}">
              <c15:datalabelsRange>
                <c15:f>Sheet1!$E$2:$E$10</c15:f>
                <c15:dlblRangeCache>
                  <c:ptCount val="9"/>
                  <c:pt idx="0">
                    <c:v>Nicolas Feuillatte</c:v>
                  </c:pt>
                  <c:pt idx="1">
                    <c:v>Moët &amp; Chando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3"/>
          <c:min val="2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08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F2F495A2-B0C1-42C4-BA3D-05EE0058B60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14BD46F8-0F9A-4B19-BFBD-15758BA1DE7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02F7D978-864F-414A-AF34-D74A37C5E98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C33899E6-E30D-42CD-872D-B8696E647EC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FC354762-D2B6-44D3-8120-5786C2EB53C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5E4E3848-30AF-4C57-8867-2D6FF762FDE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881D8944-D79B-4231-87F1-52E454C12B0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4B8EF898-3861-4590-92C7-D5B16667313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11.4154</c:v>
                </c:pt>
                <c:pt idx="1">
                  <c:v>17.843299999999999</c:v>
                </c:pt>
                <c:pt idx="2">
                  <c:v>12.435700000000001</c:v>
                </c:pt>
                <c:pt idx="3">
                  <c:v>11.672000000000001</c:v>
                </c:pt>
                <c:pt idx="4">
                  <c:v>9.2040000000000006</c:v>
                </c:pt>
                <c:pt idx="5">
                  <c:v>11.5655</c:v>
                </c:pt>
                <c:pt idx="6">
                  <c:v>12.408200000000001</c:v>
                </c:pt>
                <c:pt idx="7">
                  <c:v>13.4473</c:v>
                </c:pt>
              </c:numCache>
            </c:numRef>
          </c:xVal>
          <c:yVal>
            <c:numRef>
              <c:f>Sheet1!$B$2:$B$9</c:f>
              <c:numCache>
                <c:formatCode>General</c:formatCode>
                <c:ptCount val="8"/>
                <c:pt idx="0">
                  <c:v>1.1100000000000001</c:v>
                </c:pt>
                <c:pt idx="1">
                  <c:v>1.7410000000000001</c:v>
                </c:pt>
                <c:pt idx="2">
                  <c:v>1.2</c:v>
                </c:pt>
                <c:pt idx="3">
                  <c:v>1.0820000000000001</c:v>
                </c:pt>
                <c:pt idx="4">
                  <c:v>0.88800000000000001</c:v>
                </c:pt>
                <c:pt idx="5">
                  <c:v>1.125</c:v>
                </c:pt>
                <c:pt idx="6">
                  <c:v>0.93</c:v>
                </c:pt>
                <c:pt idx="7">
                  <c:v>1.2949999999999999</c:v>
                </c:pt>
              </c:numCache>
            </c:numRef>
          </c:yVal>
          <c:bubbleSize>
            <c:numRef>
              <c:f>Sheet1!$C$2:$C$9</c:f>
              <c:numCache>
                <c:formatCode>General</c:formatCode>
                <c:ptCount val="8"/>
                <c:pt idx="0">
                  <c:v>29406</c:v>
                </c:pt>
                <c:pt idx="1">
                  <c:v>21519</c:v>
                </c:pt>
                <c:pt idx="2">
                  <c:v>20606</c:v>
                </c:pt>
                <c:pt idx="3">
                  <c:v>15337</c:v>
                </c:pt>
                <c:pt idx="4">
                  <c:v>12361</c:v>
                </c:pt>
                <c:pt idx="5">
                  <c:v>8304</c:v>
                </c:pt>
                <c:pt idx="6">
                  <c:v>5472</c:v>
                </c:pt>
                <c:pt idx="7">
                  <c:v>4720</c:v>
                </c:pt>
              </c:numCache>
            </c:numRef>
          </c:bubbleSize>
          <c:bubble3D val="0"/>
          <c:extLst>
            <c:ext xmlns:c15="http://schemas.microsoft.com/office/drawing/2012/chart" uri="{02D57815-91ED-43cb-92C2-25804820EDAC}">
              <c15:datalabelsRange>
                <c15:f>Sheet1!$E$2:$E$10</c15:f>
                <c15:dlblRangeCache>
                  <c:ptCount val="9"/>
                  <c:pt idx="0">
                    <c:v>Bottega</c:v>
                  </c:pt>
                  <c:pt idx="1">
                    <c:v>Mure</c:v>
                  </c:pt>
                  <c:pt idx="2">
                    <c:v>Patriarche</c:v>
                  </c:pt>
                  <c:pt idx="3">
                    <c:v>Bouvet-Ladubay</c:v>
                  </c:pt>
                  <c:pt idx="4">
                    <c:v>Savian</c:v>
                  </c:pt>
                  <c:pt idx="5">
                    <c:v>Chateau Moncontour</c:v>
                  </c:pt>
                  <c:pt idx="6">
                    <c:v>Contarini</c:v>
                  </c:pt>
                  <c:pt idx="7">
                    <c:v>De Chanceny</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
          <c:min val="7"/>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77D3B7A-E98A-4971-B9D3-0A5FF3FFAE7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B4F7C08-31DA-4F60-B4C8-CEC35CC8F1C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E673B1F-5DC9-478A-B545-A0F1887D396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9301E303-D8EB-440C-9A83-CB9F6B439D5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7709E1E0-13CF-4603-85C3-ABBE139B280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E220D71F-50A2-47AD-828E-083888DA8CE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C4CFA0F8-2204-4B83-AFAB-A37945E6DA7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A6409C48-3DF7-4053-A9AD-3B5BA5A627B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31.094999999999999</c:v>
                </c:pt>
                <c:pt idx="1">
                  <c:v>43.808300000000003</c:v>
                </c:pt>
                <c:pt idx="2">
                  <c:v>38.920200000000001</c:v>
                </c:pt>
              </c:numCache>
            </c:numRef>
          </c:xVal>
          <c:yVal>
            <c:numRef>
              <c:f>Sheet1!$B$2:$B$4</c:f>
              <c:numCache>
                <c:formatCode>General</c:formatCode>
                <c:ptCount val="3"/>
                <c:pt idx="0">
                  <c:v>0.94099999999999995</c:v>
                </c:pt>
                <c:pt idx="1">
                  <c:v>1.325</c:v>
                </c:pt>
                <c:pt idx="2">
                  <c:v>1.161</c:v>
                </c:pt>
              </c:numCache>
            </c:numRef>
          </c:yVal>
          <c:bubbleSize>
            <c:numRef>
              <c:f>Sheet1!$C$2:$C$4</c:f>
              <c:numCache>
                <c:formatCode>General</c:formatCode>
                <c:ptCount val="3"/>
                <c:pt idx="0">
                  <c:v>410703</c:v>
                </c:pt>
                <c:pt idx="1">
                  <c:v>99620</c:v>
                </c:pt>
                <c:pt idx="2">
                  <c:v>7317</c:v>
                </c:pt>
              </c:numCache>
            </c:numRef>
          </c:bubbleSize>
          <c:bubble3D val="0"/>
          <c:extLst>
            <c:ext xmlns:c15="http://schemas.microsoft.com/office/drawing/2012/chart" uri="{02D57815-91ED-43cb-92C2-25804820EDAC}">
              <c15:datalabelsRange>
                <c15:f>Sheet1!$E$2:$E$10</c15:f>
                <c15:dlblRangeCache>
                  <c:ptCount val="9"/>
                  <c:pt idx="0">
                    <c:v>Nicolas Feuillatte</c:v>
                  </c:pt>
                  <c:pt idx="1">
                    <c:v>Moët &amp; Chandon</c:v>
                  </c:pt>
                  <c:pt idx="2">
                    <c:v>Canard Duchên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3"/>
          <c:min val="2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24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5F94200-DBC1-4E5E-AB1A-3161F9C99F0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9C54FE0-0EFC-421E-97FE-4D820F76B29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E892B9F-9CEE-4D13-86DA-306656C80B1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F95304D5-18ED-49AF-BB4F-68F5BA6D3DE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04388E99-34ED-4C2E-9CA4-AADF2EA531D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16AD1CCE-C9DA-4915-A96C-B3F040B0A91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28CB1200-CCC6-4C39-8235-916D78F04D5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F12D1B5E-9AD0-42F6-A86B-9D50AD740A3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31.053699999999999</c:v>
                </c:pt>
                <c:pt idx="1">
                  <c:v>43.280700000000003</c:v>
                </c:pt>
                <c:pt idx="2">
                  <c:v>39.226999999999997</c:v>
                </c:pt>
              </c:numCache>
            </c:numRef>
          </c:xVal>
          <c:yVal>
            <c:numRef>
              <c:f>Sheet1!$B$2:$B$4</c:f>
              <c:numCache>
                <c:formatCode>General</c:formatCode>
                <c:ptCount val="3"/>
                <c:pt idx="0">
                  <c:v>0.94099999999999995</c:v>
                </c:pt>
                <c:pt idx="1">
                  <c:v>1.3109999999999999</c:v>
                </c:pt>
                <c:pt idx="2">
                  <c:v>1.153</c:v>
                </c:pt>
              </c:numCache>
            </c:numRef>
          </c:yVal>
          <c:bubbleSize>
            <c:numRef>
              <c:f>Sheet1!$C$2:$C$4</c:f>
              <c:numCache>
                <c:formatCode>General</c:formatCode>
                <c:ptCount val="3"/>
                <c:pt idx="0">
                  <c:v>343050</c:v>
                </c:pt>
                <c:pt idx="1">
                  <c:v>84657</c:v>
                </c:pt>
                <c:pt idx="2">
                  <c:v>7257</c:v>
                </c:pt>
              </c:numCache>
            </c:numRef>
          </c:bubbleSize>
          <c:bubble3D val="0"/>
          <c:extLst>
            <c:ext xmlns:c15="http://schemas.microsoft.com/office/drawing/2012/chart" uri="{02D57815-91ED-43cb-92C2-25804820EDAC}">
              <c15:datalabelsRange>
                <c15:f>Sheet1!$E$2:$E$10</c15:f>
                <c15:dlblRangeCache>
                  <c:ptCount val="9"/>
                  <c:pt idx="0">
                    <c:v>Nicolas Feuillatte</c:v>
                  </c:pt>
                  <c:pt idx="1">
                    <c:v>Moët &amp; Chandon</c:v>
                  </c:pt>
                  <c:pt idx="2">
                    <c:v>Canard Duchên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2"/>
          <c:min val="2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10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739B363-3A43-4DE1-8902-98F6DAF8497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1C959EF-D2CD-41E8-A85B-F16B8A06954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E18E027-5CE4-4BBC-87A8-DFA402D0D1C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2588DFEE-D878-4D1E-8EA2-9BBAE4B7E5E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6CC36E50-B7F8-4B2E-A6F5-615495308C2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C3BBA091-1B4F-46E4-8C51-206F1565EF7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1B871E77-EE24-403B-A95D-46579ECB45D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FC276552-57CD-4184-B767-DCBFED1A81A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31.4998</c:v>
                </c:pt>
                <c:pt idx="1">
                  <c:v>43.330100000000002</c:v>
                </c:pt>
                <c:pt idx="2">
                  <c:v>39.1479</c:v>
                </c:pt>
              </c:numCache>
            </c:numRef>
          </c:xVal>
          <c:yVal>
            <c:numRef>
              <c:f>Sheet1!$B$2:$B$4</c:f>
              <c:numCache>
                <c:formatCode>General</c:formatCode>
                <c:ptCount val="3"/>
                <c:pt idx="0">
                  <c:v>0.94699999999999995</c:v>
                </c:pt>
                <c:pt idx="1">
                  <c:v>1.302</c:v>
                </c:pt>
                <c:pt idx="2">
                  <c:v>1.1080000000000001</c:v>
                </c:pt>
              </c:numCache>
            </c:numRef>
          </c:yVal>
          <c:bubbleSize>
            <c:numRef>
              <c:f>Sheet1!$C$2:$C$4</c:f>
              <c:numCache>
                <c:formatCode>General</c:formatCode>
                <c:ptCount val="3"/>
                <c:pt idx="0">
                  <c:v>274206</c:v>
                </c:pt>
                <c:pt idx="1">
                  <c:v>61962</c:v>
                </c:pt>
                <c:pt idx="2">
                  <c:v>5559</c:v>
                </c:pt>
              </c:numCache>
            </c:numRef>
          </c:bubbleSize>
          <c:bubble3D val="0"/>
          <c:extLst>
            <c:ext xmlns:c15="http://schemas.microsoft.com/office/drawing/2012/chart" uri="{02D57815-91ED-43cb-92C2-25804820EDAC}">
              <c15:datalabelsRange>
                <c15:f>Sheet1!$E$2:$E$10</c15:f>
                <c15:dlblRangeCache>
                  <c:ptCount val="9"/>
                  <c:pt idx="0">
                    <c:v>Nicolas Feuillatte</c:v>
                  </c:pt>
                  <c:pt idx="1">
                    <c:v>Moët &amp; Chandon</c:v>
                  </c:pt>
                  <c:pt idx="2">
                    <c:v>Canard Duchên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2"/>
          <c:min val="2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02"/>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B504A09-3B1B-4F80-86B7-1026360E3F6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E61AF7D-EA3B-4352-92D0-585B98DF86F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8061961-20AB-4EA8-985A-043D5C99584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E72D359-8196-4679-8860-9C43E52F6D2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4CA039D-ADF7-494C-8884-AE7E525681F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24A5412-0010-4E07-96A9-4B196781532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FDDB268-CE98-4368-A6E1-14EE987710F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B1DBE26E-CA72-4DC3-99E9-96D25906281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60.01900000000001</c:v>
                </c:pt>
                <c:pt idx="1">
                  <c:v>167.18049999999999</c:v>
                </c:pt>
                <c:pt idx="2">
                  <c:v>91.93</c:v>
                </c:pt>
                <c:pt idx="3">
                  <c:v>37.241900000000001</c:v>
                </c:pt>
                <c:pt idx="4">
                  <c:v>65.030100000000004</c:v>
                </c:pt>
                <c:pt idx="5">
                  <c:v>232.976</c:v>
                </c:pt>
                <c:pt idx="6">
                  <c:v>63.533799999999999</c:v>
                </c:pt>
                <c:pt idx="7">
                  <c:v>264.97140000000002</c:v>
                </c:pt>
              </c:numCache>
            </c:numRef>
          </c:xVal>
          <c:yVal>
            <c:numRef>
              <c:f>Sheet1!$B$2:$B$9</c:f>
              <c:numCache>
                <c:formatCode>General</c:formatCode>
                <c:ptCount val="8"/>
                <c:pt idx="0">
                  <c:v>1.954</c:v>
                </c:pt>
                <c:pt idx="1">
                  <c:v>1.238</c:v>
                </c:pt>
                <c:pt idx="2">
                  <c:v>0.69099999999999995</c:v>
                </c:pt>
                <c:pt idx="3">
                  <c:v>0.28100000000000003</c:v>
                </c:pt>
                <c:pt idx="4">
                  <c:v>0.46800000000000003</c:v>
                </c:pt>
                <c:pt idx="5">
                  <c:v>1.7110000000000001</c:v>
                </c:pt>
                <c:pt idx="6">
                  <c:v>0.48199999999999998</c:v>
                </c:pt>
                <c:pt idx="7">
                  <c:v>1.7989999999999999</c:v>
                </c:pt>
              </c:numCache>
            </c:numRef>
          </c:yVal>
          <c:bubbleSize>
            <c:numRef>
              <c:f>Sheet1!$C$2:$C$9</c:f>
              <c:numCache>
                <c:formatCode>General</c:formatCode>
                <c:ptCount val="8"/>
                <c:pt idx="0">
                  <c:v>1119642</c:v>
                </c:pt>
                <c:pt idx="1">
                  <c:v>625088</c:v>
                </c:pt>
                <c:pt idx="2">
                  <c:v>247016</c:v>
                </c:pt>
                <c:pt idx="3">
                  <c:v>189077</c:v>
                </c:pt>
                <c:pt idx="4">
                  <c:v>101707</c:v>
                </c:pt>
                <c:pt idx="5">
                  <c:v>77814</c:v>
                </c:pt>
                <c:pt idx="6">
                  <c:v>41297</c:v>
                </c:pt>
                <c:pt idx="7">
                  <c:v>37096</c:v>
                </c:pt>
              </c:numCache>
            </c:numRef>
          </c:bubbleSize>
          <c:bubble3D val="0"/>
          <c:extLst>
            <c:ext xmlns:c15="http://schemas.microsoft.com/office/drawing/2012/chart" uri="{02D57815-91ED-43cb-92C2-25804820EDAC}">
              <c15:datalabelsRange>
                <c15:f>Sheet1!$E$2:$E$10</c15:f>
                <c15:dlblRangeCache>
                  <c:ptCount val="9"/>
                  <c:pt idx="0">
                    <c:v>Dom Perignon</c:v>
                  </c:pt>
                  <c:pt idx="1">
                    <c:v>Roederer</c:v>
                  </c:pt>
                  <c:pt idx="2">
                    <c:v>Ruinart</c:v>
                  </c:pt>
                  <c:pt idx="3">
                    <c:v>Malard</c:v>
                  </c:pt>
                  <c:pt idx="4">
                    <c:v>Laurent Perrier</c:v>
                  </c:pt>
                  <c:pt idx="5">
                    <c:v>Bollinger</c:v>
                  </c:pt>
                  <c:pt idx="6">
                    <c:v>Moët &amp; Chandon</c:v>
                  </c:pt>
                  <c:pt idx="7">
                    <c:v>Piper Heidsieck</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18"/>
          <c:min val="3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153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B991E24-991B-4AEB-A133-21AD089A786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8BD2696-E872-405D-8DE5-563370D612C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AD91F5B-978A-4A94-B530-3B53FB3DDEB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3D67FC4-EEED-47FC-B9DC-5D56840A14D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D3529F7-0331-41DE-AE42-34BA782A9F5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57E9F23-05A6-4624-8455-D1FBA28981E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1FC2517C-190A-457A-A42C-E18530937BD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02A1CD4F-2113-4B2B-8F9E-F6CA408919F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64.93470000000002</c:v>
                </c:pt>
                <c:pt idx="1">
                  <c:v>172.66370000000001</c:v>
                </c:pt>
                <c:pt idx="2">
                  <c:v>94.635300000000001</c:v>
                </c:pt>
                <c:pt idx="3">
                  <c:v>37.6342</c:v>
                </c:pt>
                <c:pt idx="4">
                  <c:v>243.43379999999999</c:v>
                </c:pt>
                <c:pt idx="5">
                  <c:v>64.109499999999997</c:v>
                </c:pt>
                <c:pt idx="6">
                  <c:v>270.57780000000002</c:v>
                </c:pt>
                <c:pt idx="7">
                  <c:v>271.76560000000001</c:v>
                </c:pt>
              </c:numCache>
            </c:numRef>
          </c:xVal>
          <c:yVal>
            <c:numRef>
              <c:f>Sheet1!$B$2:$B$9</c:f>
              <c:numCache>
                <c:formatCode>General</c:formatCode>
                <c:ptCount val="8"/>
                <c:pt idx="0">
                  <c:v>1.9019999999999999</c:v>
                </c:pt>
                <c:pt idx="1">
                  <c:v>1.1839999999999999</c:v>
                </c:pt>
                <c:pt idx="2">
                  <c:v>0.66300000000000003</c:v>
                </c:pt>
                <c:pt idx="3">
                  <c:v>0.27600000000000002</c:v>
                </c:pt>
                <c:pt idx="4">
                  <c:v>1.5860000000000001</c:v>
                </c:pt>
                <c:pt idx="5">
                  <c:v>0.45400000000000001</c:v>
                </c:pt>
                <c:pt idx="6">
                  <c:v>1.663</c:v>
                </c:pt>
                <c:pt idx="7">
                  <c:v>1.597</c:v>
                </c:pt>
              </c:numCache>
            </c:numRef>
          </c:yVal>
          <c:bubbleSize>
            <c:numRef>
              <c:f>Sheet1!$C$2:$C$9</c:f>
              <c:numCache>
                <c:formatCode>General</c:formatCode>
                <c:ptCount val="8"/>
                <c:pt idx="0">
                  <c:v>1127827</c:v>
                </c:pt>
                <c:pt idx="1">
                  <c:v>629014</c:v>
                </c:pt>
                <c:pt idx="2">
                  <c:v>247282</c:v>
                </c:pt>
                <c:pt idx="3">
                  <c:v>189300</c:v>
                </c:pt>
                <c:pt idx="4">
                  <c:v>79116</c:v>
                </c:pt>
                <c:pt idx="5">
                  <c:v>72572</c:v>
                </c:pt>
                <c:pt idx="6">
                  <c:v>36528</c:v>
                </c:pt>
                <c:pt idx="7">
                  <c:v>34786</c:v>
                </c:pt>
              </c:numCache>
            </c:numRef>
          </c:bubbleSize>
          <c:bubble3D val="0"/>
          <c:extLst>
            <c:ext xmlns:c15="http://schemas.microsoft.com/office/drawing/2012/chart" uri="{02D57815-91ED-43cb-92C2-25804820EDAC}">
              <c15:datalabelsRange>
                <c15:f>Sheet1!$E$2:$E$10</c15:f>
                <c15:dlblRangeCache>
                  <c:ptCount val="9"/>
                  <c:pt idx="0">
                    <c:v>Dom Perignon</c:v>
                  </c:pt>
                  <c:pt idx="1">
                    <c:v>Roederer</c:v>
                  </c:pt>
                  <c:pt idx="2">
                    <c:v>Ruinart</c:v>
                  </c:pt>
                  <c:pt idx="3">
                    <c:v>Malard</c:v>
                  </c:pt>
                  <c:pt idx="4">
                    <c:v>Bollinger</c:v>
                  </c:pt>
                  <c:pt idx="5">
                    <c:v>Laurent Perrier</c:v>
                  </c:pt>
                  <c:pt idx="6">
                    <c:v>Piper Heidsieck</c:v>
                  </c:pt>
                  <c:pt idx="7">
                    <c:v>Perrier Jouet</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26"/>
          <c:min val="3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101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0EFA867-9713-4384-A2AB-1FC2017CAB8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85CE516-5595-43A2-AFF5-2A59A66A2CB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107D2F6-7B2C-44B8-86D0-E62608784BC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FD2950E3-C93F-498A-A1E3-E74E71F76E7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A6179FC1-6C08-4528-B04F-E89F749548B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4BB43D1C-F517-4A57-8AF5-3E357202A34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9BB4BCF8-74AC-497D-88A0-474613C2498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A6A06294-AB84-49CB-9114-A230153C87E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63.172699999999999</c:v>
                </c:pt>
                <c:pt idx="1">
                  <c:v>72</c:v>
                </c:pt>
                <c:pt idx="2">
                  <c:v>173.15629999999999</c:v>
                </c:pt>
              </c:numCache>
            </c:numRef>
          </c:xVal>
          <c:yVal>
            <c:numRef>
              <c:f>Sheet1!$B$2:$B$4</c:f>
              <c:numCache>
                <c:formatCode>General</c:formatCode>
                <c:ptCount val="3"/>
                <c:pt idx="0">
                  <c:v>0.91500000000000004</c:v>
                </c:pt>
                <c:pt idx="1">
                  <c:v>0.874</c:v>
                </c:pt>
                <c:pt idx="2">
                  <c:v>1.8620000000000001</c:v>
                </c:pt>
              </c:numCache>
            </c:numRef>
          </c:yVal>
          <c:bubbleSize>
            <c:numRef>
              <c:f>Sheet1!$C$2:$C$4</c:f>
              <c:numCache>
                <c:formatCode>General</c:formatCode>
                <c:ptCount val="3"/>
                <c:pt idx="0">
                  <c:v>40241</c:v>
                </c:pt>
                <c:pt idx="1">
                  <c:v>29160</c:v>
                </c:pt>
                <c:pt idx="2">
                  <c:v>16623</c:v>
                </c:pt>
              </c:numCache>
            </c:numRef>
          </c:bubbleSize>
          <c:bubble3D val="0"/>
          <c:extLst>
            <c:ext xmlns:c15="http://schemas.microsoft.com/office/drawing/2012/chart" uri="{02D57815-91ED-43cb-92C2-25804820EDAC}">
              <c15:datalabelsRange>
                <c15:f>Sheet1!$E$2:$E$10</c15:f>
                <c15:dlblRangeCache>
                  <c:ptCount val="9"/>
                  <c:pt idx="0">
                    <c:v>Moët &amp; Chandon</c:v>
                  </c:pt>
                  <c:pt idx="1">
                    <c:v>Laurent Perrier</c:v>
                  </c:pt>
                  <c:pt idx="2">
                    <c:v>Deutz</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08"/>
          <c:min val="5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0620000000000003"/>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37C8286-7570-4BC5-9FAF-71185BEEED2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9B6E037-C7DA-4D35-BDB9-7B60780E841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2761565-12EF-4926-BEBE-9B49CA6105D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34BC3DB-6F04-473A-822E-90A6F539494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A159AEA-9A38-421E-9D35-52E0702CE93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B74D872-A518-44AE-A25D-41DA01E6E7A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294AE4F-ADFA-4F28-B580-0550D44697B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941C98F4-1AE8-46B8-8AD4-EC0C2EE51C2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59.1438</c:v>
                </c:pt>
                <c:pt idx="1">
                  <c:v>155.31</c:v>
                </c:pt>
                <c:pt idx="2">
                  <c:v>37.252499999999998</c:v>
                </c:pt>
                <c:pt idx="3">
                  <c:v>93.597999999999999</c:v>
                </c:pt>
                <c:pt idx="4">
                  <c:v>62.747599999999998</c:v>
                </c:pt>
                <c:pt idx="5">
                  <c:v>254.06059999999999</c:v>
                </c:pt>
                <c:pt idx="6">
                  <c:v>268.13209999999998</c:v>
                </c:pt>
                <c:pt idx="7">
                  <c:v>204.03389999999999</c:v>
                </c:pt>
              </c:numCache>
            </c:numRef>
          </c:xVal>
          <c:yVal>
            <c:numRef>
              <c:f>Sheet1!$B$2:$B$9</c:f>
              <c:numCache>
                <c:formatCode>General</c:formatCode>
                <c:ptCount val="8"/>
                <c:pt idx="0">
                  <c:v>2.1040000000000001</c:v>
                </c:pt>
                <c:pt idx="1">
                  <c:v>1.24</c:v>
                </c:pt>
                <c:pt idx="2">
                  <c:v>0.30299999999999999</c:v>
                </c:pt>
                <c:pt idx="3">
                  <c:v>0.75600000000000001</c:v>
                </c:pt>
                <c:pt idx="4">
                  <c:v>0.50800000000000001</c:v>
                </c:pt>
                <c:pt idx="5">
                  <c:v>1.905</c:v>
                </c:pt>
                <c:pt idx="6">
                  <c:v>1.855</c:v>
                </c:pt>
                <c:pt idx="7">
                  <c:v>1.5720000000000001</c:v>
                </c:pt>
              </c:numCache>
            </c:numRef>
          </c:yVal>
          <c:bubbleSize>
            <c:numRef>
              <c:f>Sheet1!$C$2:$C$9</c:f>
              <c:numCache>
                <c:formatCode>General</c:formatCode>
                <c:ptCount val="8"/>
                <c:pt idx="0">
                  <c:v>358655</c:v>
                </c:pt>
                <c:pt idx="1">
                  <c:v>255019</c:v>
                </c:pt>
                <c:pt idx="2">
                  <c:v>92796</c:v>
                </c:pt>
                <c:pt idx="3">
                  <c:v>83583</c:v>
                </c:pt>
                <c:pt idx="4">
                  <c:v>32315</c:v>
                </c:pt>
                <c:pt idx="5">
                  <c:v>25152</c:v>
                </c:pt>
                <c:pt idx="6">
                  <c:v>14211</c:v>
                </c:pt>
                <c:pt idx="7">
                  <c:v>12038</c:v>
                </c:pt>
              </c:numCache>
            </c:numRef>
          </c:bubbleSize>
          <c:bubble3D val="0"/>
          <c:extLst>
            <c:ext xmlns:c15="http://schemas.microsoft.com/office/drawing/2012/chart" uri="{02D57815-91ED-43cb-92C2-25804820EDAC}">
              <c15:datalabelsRange>
                <c15:f>Sheet1!$E$2:$E$10</c15:f>
                <c15:dlblRangeCache>
                  <c:ptCount val="9"/>
                  <c:pt idx="0">
                    <c:v>Dom Perignon</c:v>
                  </c:pt>
                  <c:pt idx="1">
                    <c:v>Roederer</c:v>
                  </c:pt>
                  <c:pt idx="2">
                    <c:v>Malard</c:v>
                  </c:pt>
                  <c:pt idx="3">
                    <c:v>Ruinart</c:v>
                  </c:pt>
                  <c:pt idx="4">
                    <c:v>Laurent Perrier</c:v>
                  </c:pt>
                  <c:pt idx="5">
                    <c:v>Bollinger</c:v>
                  </c:pt>
                  <c:pt idx="6">
                    <c:v>Piper Heidsieck</c:v>
                  </c:pt>
                  <c:pt idx="7">
                    <c:v>Veuve Clicquot</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22"/>
          <c:min val="3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3040000000000003"/>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FA508EF-5558-4C29-815A-CEC0EE53771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765A689-BD32-4DC3-8839-CFB0C4AB71E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2BE3388-8CB6-46CE-BE9E-33D2D706A10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BD64668-4FD4-4307-849F-781AD8D3860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F4EFBFA-863B-4AC3-A4CF-3BE2CC7A35D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8E10A53-3378-481A-97FB-8DC65A8DA18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02B3EC6-B6B0-4336-ABB1-208CB612661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02F3851-439A-48A8-9A44-E6347A3A09D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62.15519999999998</c:v>
                </c:pt>
                <c:pt idx="1">
                  <c:v>162.75129999999999</c:v>
                </c:pt>
                <c:pt idx="2">
                  <c:v>91.686599999999999</c:v>
                </c:pt>
                <c:pt idx="3">
                  <c:v>37.590299999999999</c:v>
                </c:pt>
                <c:pt idx="4">
                  <c:v>219.04169999999999</c:v>
                </c:pt>
                <c:pt idx="5">
                  <c:v>64.075400000000002</c:v>
                </c:pt>
                <c:pt idx="6">
                  <c:v>270.6207</c:v>
                </c:pt>
                <c:pt idx="7">
                  <c:v>258.72730000000001</c:v>
                </c:pt>
              </c:numCache>
            </c:numRef>
          </c:xVal>
          <c:yVal>
            <c:numRef>
              <c:f>Sheet1!$B$2:$B$9</c:f>
              <c:numCache>
                <c:formatCode>General</c:formatCode>
                <c:ptCount val="8"/>
                <c:pt idx="0">
                  <c:v>2.0579999999999998</c:v>
                </c:pt>
                <c:pt idx="1">
                  <c:v>1.212</c:v>
                </c:pt>
                <c:pt idx="2">
                  <c:v>0.72299999999999998</c:v>
                </c:pt>
                <c:pt idx="3">
                  <c:v>0.30299999999999999</c:v>
                </c:pt>
                <c:pt idx="4">
                  <c:v>1.633</c:v>
                </c:pt>
                <c:pt idx="5">
                  <c:v>0.49199999999999999</c:v>
                </c:pt>
                <c:pt idx="6">
                  <c:v>1.901</c:v>
                </c:pt>
                <c:pt idx="7">
                  <c:v>1.5669999999999999</c:v>
                </c:pt>
              </c:numCache>
            </c:numRef>
          </c:yVal>
          <c:bubbleSize>
            <c:numRef>
              <c:f>Sheet1!$C$2:$C$9</c:f>
              <c:numCache>
                <c:formatCode>General</c:formatCode>
                <c:ptCount val="8"/>
                <c:pt idx="0">
                  <c:v>182460</c:v>
                </c:pt>
                <c:pt idx="1">
                  <c:v>94233</c:v>
                </c:pt>
                <c:pt idx="2">
                  <c:v>67298</c:v>
                </c:pt>
                <c:pt idx="3">
                  <c:v>37064</c:v>
                </c:pt>
                <c:pt idx="4">
                  <c:v>21028</c:v>
                </c:pt>
                <c:pt idx="5">
                  <c:v>12751</c:v>
                </c:pt>
                <c:pt idx="6">
                  <c:v>7848</c:v>
                </c:pt>
                <c:pt idx="7">
                  <c:v>5692</c:v>
                </c:pt>
              </c:numCache>
            </c:numRef>
          </c:bubbleSize>
          <c:bubble3D val="0"/>
          <c:extLst>
            <c:ext xmlns:c15="http://schemas.microsoft.com/office/drawing/2012/chart" uri="{02D57815-91ED-43cb-92C2-25804820EDAC}">
              <c15:datalabelsRange>
                <c15:f>Sheet1!$E$2:$E$10</c15:f>
                <c15:dlblRangeCache>
                  <c:ptCount val="9"/>
                  <c:pt idx="0">
                    <c:v>Dom Perignon</c:v>
                  </c:pt>
                  <c:pt idx="1">
                    <c:v>Roederer</c:v>
                  </c:pt>
                  <c:pt idx="2">
                    <c:v>Ruinart</c:v>
                  </c:pt>
                  <c:pt idx="3">
                    <c:v>Malard</c:v>
                  </c:pt>
                  <c:pt idx="4">
                    <c:v>Bollinger</c:v>
                  </c:pt>
                  <c:pt idx="5">
                    <c:v>Laurent Perrier</c:v>
                  </c:pt>
                  <c:pt idx="6">
                    <c:v>Piper Heidsieck</c:v>
                  </c:pt>
                  <c:pt idx="7">
                    <c:v>Perrier Jouet</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25"/>
          <c:min val="3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258"/>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22A6A53-DC7D-420D-B685-87ED4B3E198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7154E91-F021-402B-9CDE-D00C1B6FC6C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1ABF0DB-BFE2-4B8D-9A4C-F3E1BD58225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49AB060-44A2-4BF5-89C4-286541CC29B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EBD0630-B60A-47D2-A4EB-75E3CDA1EA3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CC41C79-AED6-4352-A612-EC1F3CB1424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23EB153B-9077-4E3F-A10C-5C52FE721CE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730629D3-7432-4DC9-9AC0-13FB568EAC2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68.45940000000002</c:v>
                </c:pt>
                <c:pt idx="1">
                  <c:v>197.8586</c:v>
                </c:pt>
                <c:pt idx="2">
                  <c:v>95.672200000000004</c:v>
                </c:pt>
                <c:pt idx="3">
                  <c:v>37.631700000000002</c:v>
                </c:pt>
                <c:pt idx="4">
                  <c:v>242.32650000000001</c:v>
                </c:pt>
                <c:pt idx="5">
                  <c:v>269.16219999999998</c:v>
                </c:pt>
                <c:pt idx="6">
                  <c:v>65.087000000000003</c:v>
                </c:pt>
                <c:pt idx="7">
                  <c:v>423.70589999999999</c:v>
                </c:pt>
              </c:numCache>
            </c:numRef>
          </c:xVal>
          <c:yVal>
            <c:numRef>
              <c:f>Sheet1!$B$2:$B$9</c:f>
              <c:numCache>
                <c:formatCode>General</c:formatCode>
                <c:ptCount val="8"/>
                <c:pt idx="0">
                  <c:v>1.72</c:v>
                </c:pt>
                <c:pt idx="1">
                  <c:v>1.2070000000000001</c:v>
                </c:pt>
                <c:pt idx="2">
                  <c:v>0.58399999999999996</c:v>
                </c:pt>
                <c:pt idx="3">
                  <c:v>0.25</c:v>
                </c:pt>
                <c:pt idx="4">
                  <c:v>1.381</c:v>
                </c:pt>
                <c:pt idx="5">
                  <c:v>1.51</c:v>
                </c:pt>
                <c:pt idx="6">
                  <c:v>0.40699999999999997</c:v>
                </c:pt>
                <c:pt idx="7">
                  <c:v>1.5009999999999999</c:v>
                </c:pt>
              </c:numCache>
            </c:numRef>
          </c:yVal>
          <c:bubbleSize>
            <c:numRef>
              <c:f>Sheet1!$C$2:$C$9</c:f>
              <c:numCache>
                <c:formatCode>General</c:formatCode>
                <c:ptCount val="8"/>
                <c:pt idx="0">
                  <c:v>175304</c:v>
                </c:pt>
                <c:pt idx="1">
                  <c:v>113373</c:v>
                </c:pt>
                <c:pt idx="2">
                  <c:v>28606</c:v>
                </c:pt>
                <c:pt idx="3">
                  <c:v>23294</c:v>
                </c:pt>
                <c:pt idx="4">
                  <c:v>11874</c:v>
                </c:pt>
                <c:pt idx="5">
                  <c:v>9959</c:v>
                </c:pt>
                <c:pt idx="6">
                  <c:v>7485</c:v>
                </c:pt>
                <c:pt idx="7">
                  <c:v>7203</c:v>
                </c:pt>
              </c:numCache>
            </c:numRef>
          </c:bubbleSize>
          <c:bubble3D val="0"/>
          <c:extLst>
            <c:ext xmlns:c15="http://schemas.microsoft.com/office/drawing/2012/chart" uri="{02D57815-91ED-43cb-92C2-25804820EDAC}">
              <c15:datalabelsRange>
                <c15:f>Sheet1!$E$2:$E$10</c15:f>
                <c15:dlblRangeCache>
                  <c:ptCount val="9"/>
                  <c:pt idx="0">
                    <c:v>Dom Perignon</c:v>
                  </c:pt>
                  <c:pt idx="1">
                    <c:v>Roederer</c:v>
                  </c:pt>
                  <c:pt idx="2">
                    <c:v>Ruinart</c:v>
                  </c:pt>
                  <c:pt idx="3">
                    <c:v>Malard</c:v>
                  </c:pt>
                  <c:pt idx="4">
                    <c:v>Bollinger</c:v>
                  </c:pt>
                  <c:pt idx="5">
                    <c:v>Perrier Jouet</c:v>
                  </c:pt>
                  <c:pt idx="6">
                    <c:v>Laurent Perrier</c:v>
                  </c:pt>
                  <c:pt idx="7">
                    <c:v>Pommer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08"/>
          <c:min val="3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92"/>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9363FC9-5EC1-488F-8738-79FFD1D655A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D64A856-2324-4C7F-A8BE-26345B51D8E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70EA67B-E417-4D3E-9238-B53CFD1893B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A5F1203-2579-492D-85BF-2456CAD4FB3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CECFFB9-C3F3-4C65-8E6E-582C778D95A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695EB35-6A19-4C56-AFF0-E34221704A0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6DEA8CF2-0C5F-4D30-A436-9E02B1799ED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0F5F5EE-4FA5-42CC-B78B-B758B0CADE4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67.822</c:v>
                </c:pt>
                <c:pt idx="1">
                  <c:v>198.53919999999999</c:v>
                </c:pt>
                <c:pt idx="2">
                  <c:v>97.008700000000005</c:v>
                </c:pt>
                <c:pt idx="3">
                  <c:v>196.3896</c:v>
                </c:pt>
                <c:pt idx="4">
                  <c:v>37.771700000000003</c:v>
                </c:pt>
                <c:pt idx="5">
                  <c:v>285.23329999999999</c:v>
                </c:pt>
                <c:pt idx="6">
                  <c:v>66.152000000000001</c:v>
                </c:pt>
                <c:pt idx="7">
                  <c:v>259.58330000000001</c:v>
                </c:pt>
              </c:numCache>
            </c:numRef>
          </c:xVal>
          <c:yVal>
            <c:numRef>
              <c:f>Sheet1!$B$2:$B$9</c:f>
              <c:numCache>
                <c:formatCode>General</c:formatCode>
                <c:ptCount val="8"/>
                <c:pt idx="0">
                  <c:v>1.6060000000000001</c:v>
                </c:pt>
                <c:pt idx="1">
                  <c:v>1.056</c:v>
                </c:pt>
                <c:pt idx="2">
                  <c:v>0.55400000000000005</c:v>
                </c:pt>
                <c:pt idx="3">
                  <c:v>1.1890000000000001</c:v>
                </c:pt>
                <c:pt idx="4">
                  <c:v>0.23100000000000001</c:v>
                </c:pt>
                <c:pt idx="5">
                  <c:v>1.47</c:v>
                </c:pt>
                <c:pt idx="6">
                  <c:v>0.38400000000000001</c:v>
                </c:pt>
                <c:pt idx="7">
                  <c:v>1.3140000000000001</c:v>
                </c:pt>
              </c:numCache>
            </c:numRef>
          </c:yVal>
          <c:bubbleSize>
            <c:numRef>
              <c:f>Sheet1!$C$2:$C$9</c:f>
              <c:numCache>
                <c:formatCode>General</c:formatCode>
                <c:ptCount val="8"/>
                <c:pt idx="0">
                  <c:v>160961</c:v>
                </c:pt>
                <c:pt idx="1">
                  <c:v>60753</c:v>
                </c:pt>
                <c:pt idx="2">
                  <c:v>22215</c:v>
                </c:pt>
                <c:pt idx="3">
                  <c:v>15122</c:v>
                </c:pt>
                <c:pt idx="4">
                  <c:v>11747</c:v>
                </c:pt>
                <c:pt idx="5">
                  <c:v>8557</c:v>
                </c:pt>
                <c:pt idx="6">
                  <c:v>8269</c:v>
                </c:pt>
                <c:pt idx="7">
                  <c:v>3115</c:v>
                </c:pt>
              </c:numCache>
            </c:numRef>
          </c:bubbleSize>
          <c:bubble3D val="0"/>
          <c:extLst>
            <c:ext xmlns:c15="http://schemas.microsoft.com/office/drawing/2012/chart" uri="{02D57815-91ED-43cb-92C2-25804820EDAC}">
              <c15:datalabelsRange>
                <c15:f>Sheet1!$E$2:$E$10</c15:f>
                <c15:dlblRangeCache>
                  <c:ptCount val="9"/>
                  <c:pt idx="0">
                    <c:v>Dom Perignon</c:v>
                  </c:pt>
                  <c:pt idx="1">
                    <c:v>Roederer</c:v>
                  </c:pt>
                  <c:pt idx="2">
                    <c:v>Ruinart</c:v>
                  </c:pt>
                  <c:pt idx="3">
                    <c:v>Veuve Clicquot</c:v>
                  </c:pt>
                  <c:pt idx="4">
                    <c:v>Malard</c:v>
                  </c:pt>
                  <c:pt idx="5">
                    <c:v>Bollinger</c:v>
                  </c:pt>
                  <c:pt idx="6">
                    <c:v>Laurent Perrier</c:v>
                  </c:pt>
                  <c:pt idx="7">
                    <c:v>Perrier Jouet</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42"/>
          <c:min val="3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806"/>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0600F391-C8A3-4030-9CA1-152405291CF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E7D111A3-128F-40B5-9730-69295F6D01D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D871-46D6-BBFE-7C00E0D51738}"/>
                </c:ext>
              </c:extLst>
            </c:dLbl>
            <c:dLbl>
              <c:idx val="3"/>
              <c:tx>
                <c:rich>
                  <a:bodyPr/>
                  <a:lstStyle/>
                  <a:p>
                    <a:fld id="{FB7AABA4-DE5D-4983-9A77-EC705012BF8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D871-46D6-BBFE-7C00E0D51738}"/>
                </c:ext>
              </c:extLst>
            </c:dLbl>
            <c:dLbl>
              <c:idx val="4"/>
              <c:tx>
                <c:rich>
                  <a:bodyPr/>
                  <a:lstStyle/>
                  <a:p>
                    <a:fld id="{B9F6079F-D2E0-4B45-B066-0D116DD671E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D871-46D6-BBFE-7C00E0D51738}"/>
                </c:ext>
              </c:extLst>
            </c:dLbl>
            <c:dLbl>
              <c:idx val="5"/>
              <c:tx>
                <c:rich>
                  <a:bodyPr/>
                  <a:lstStyle/>
                  <a:p>
                    <a:fld id="{D51CDF0F-3BC6-4569-AA85-6D99D74A034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71-46D6-BBFE-7C00E0D51738}"/>
                </c:ext>
              </c:extLst>
            </c:dLbl>
            <c:dLbl>
              <c:idx val="6"/>
              <c:tx>
                <c:rich>
                  <a:bodyPr/>
                  <a:lstStyle/>
                  <a:p>
                    <a:fld id="{1A12A53D-5D07-40FF-A538-D66EB5A6839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71-46D6-BBFE-7C00E0D51738}"/>
                </c:ext>
              </c:extLst>
            </c:dLbl>
            <c:dLbl>
              <c:idx val="7"/>
              <c:tx>
                <c:rich>
                  <a:bodyPr/>
                  <a:lstStyle/>
                  <a:p>
                    <a:fld id="{8C664B4E-2933-4F03-A95D-CD90DB8D4C3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71-46D6-BBFE-7C00E0D51738}"/>
                </c:ext>
              </c:extLst>
            </c:dLbl>
            <c:dLbl>
              <c:idx val="8"/>
              <c:tx>
                <c:rich>
                  <a:bodyPr/>
                  <a:lstStyle/>
                  <a:p>
                    <a:fld id="{94592045-680C-4BBD-A489-39FB2C11450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29.191199999999998</c:v>
                </c:pt>
                <c:pt idx="1">
                  <c:v>11.3607</c:v>
                </c:pt>
              </c:numCache>
            </c:numRef>
          </c:xVal>
          <c:yVal>
            <c:numRef>
              <c:f>Sheet1!$B$2:$B$3</c:f>
              <c:numCache>
                <c:formatCode>General</c:formatCode>
                <c:ptCount val="2"/>
                <c:pt idx="0">
                  <c:v>1.6819999999999999</c:v>
                </c:pt>
                <c:pt idx="1">
                  <c:v>0.64600000000000002</c:v>
                </c:pt>
              </c:numCache>
            </c:numRef>
          </c:yVal>
          <c:bubbleSize>
            <c:numRef>
              <c:f>Sheet1!$C$2:$C$3</c:f>
              <c:numCache>
                <c:formatCode>General</c:formatCode>
                <c:ptCount val="2"/>
                <c:pt idx="0">
                  <c:v>16493</c:v>
                </c:pt>
                <c:pt idx="1">
                  <c:v>9952</c:v>
                </c:pt>
              </c:numCache>
            </c:numRef>
          </c:bubbleSize>
          <c:bubble3D val="0"/>
          <c:extLst>
            <c:ext xmlns:c15="http://schemas.microsoft.com/office/drawing/2012/chart" uri="{02D57815-91ED-43cb-92C2-25804820EDAC}">
              <c15:datalabelsRange>
                <c15:f>Sheet1!$E$2:$E$10</c15:f>
                <c15:dlblRangeCache>
                  <c:ptCount val="9"/>
                  <c:pt idx="0">
                    <c:v>De Chanceny</c:v>
                  </c:pt>
                  <c:pt idx="1">
                    <c:v>Lyre's</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5"/>
          <c:min val="9"/>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BEE7500-E0EA-4E82-A510-D646D242A8C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EC1D983-209F-410B-8B7C-FC7E8472EB0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E0E9128-FFE2-4351-A06C-BF08A9F4956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38252B7-9B0A-4638-8EE4-4B2EC842E1F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B2FC8E3-F85E-4760-9BC0-8D2FBE8774C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ACE44FB-C373-445E-B75F-AE851A73101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38CE3128-6C3E-4318-9325-878B558806A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17C179F2-28B9-4222-828B-54C79F3F696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62.61360000000002</c:v>
                </c:pt>
                <c:pt idx="1">
                  <c:v>157.7688</c:v>
                </c:pt>
                <c:pt idx="2">
                  <c:v>97.39</c:v>
                </c:pt>
                <c:pt idx="3">
                  <c:v>39.217599999999997</c:v>
                </c:pt>
                <c:pt idx="4">
                  <c:v>241.33330000000001</c:v>
                </c:pt>
                <c:pt idx="5">
                  <c:v>65.263900000000007</c:v>
                </c:pt>
                <c:pt idx="6">
                  <c:v>300.57139999999998</c:v>
                </c:pt>
                <c:pt idx="7">
                  <c:v>253.21430000000001</c:v>
                </c:pt>
              </c:numCache>
            </c:numRef>
          </c:xVal>
          <c:yVal>
            <c:numRef>
              <c:f>Sheet1!$B$2:$B$9</c:f>
              <c:numCache>
                <c:formatCode>General</c:formatCode>
                <c:ptCount val="8"/>
                <c:pt idx="0">
                  <c:v>1.825</c:v>
                </c:pt>
                <c:pt idx="1">
                  <c:v>0.94199999999999995</c:v>
                </c:pt>
                <c:pt idx="2">
                  <c:v>0.63200000000000001</c:v>
                </c:pt>
                <c:pt idx="3">
                  <c:v>0.26800000000000002</c:v>
                </c:pt>
                <c:pt idx="4">
                  <c:v>1.3640000000000001</c:v>
                </c:pt>
                <c:pt idx="5">
                  <c:v>0.432</c:v>
                </c:pt>
                <c:pt idx="6">
                  <c:v>1.754</c:v>
                </c:pt>
                <c:pt idx="7">
                  <c:v>1.4770000000000001</c:v>
                </c:pt>
              </c:numCache>
            </c:numRef>
          </c:yVal>
          <c:bubbleSize>
            <c:numRef>
              <c:f>Sheet1!$C$2:$C$9</c:f>
              <c:numCache>
                <c:formatCode>General</c:formatCode>
                <c:ptCount val="8"/>
                <c:pt idx="0">
                  <c:v>77471</c:v>
                </c:pt>
                <c:pt idx="1">
                  <c:v>27294</c:v>
                </c:pt>
                <c:pt idx="2">
                  <c:v>19478</c:v>
                </c:pt>
                <c:pt idx="3">
                  <c:v>7569</c:v>
                </c:pt>
                <c:pt idx="4">
                  <c:v>5792</c:v>
                </c:pt>
                <c:pt idx="5">
                  <c:v>4699</c:v>
                </c:pt>
                <c:pt idx="6">
                  <c:v>4208</c:v>
                </c:pt>
                <c:pt idx="7">
                  <c:v>3545</c:v>
                </c:pt>
              </c:numCache>
            </c:numRef>
          </c:bubbleSize>
          <c:bubble3D val="0"/>
          <c:extLst>
            <c:ext xmlns:c15="http://schemas.microsoft.com/office/drawing/2012/chart" uri="{02D57815-91ED-43cb-92C2-25804820EDAC}">
              <c15:datalabelsRange>
                <c15:f>Sheet1!$E$2:$E$10</c15:f>
                <c15:dlblRangeCache>
                  <c:ptCount val="9"/>
                  <c:pt idx="0">
                    <c:v>Dom Perignon</c:v>
                  </c:pt>
                  <c:pt idx="1">
                    <c:v>Roederer</c:v>
                  </c:pt>
                  <c:pt idx="2">
                    <c:v>Ruinart</c:v>
                  </c:pt>
                  <c:pt idx="3">
                    <c:v>Malard</c:v>
                  </c:pt>
                  <c:pt idx="4">
                    <c:v>Bollinger</c:v>
                  </c:pt>
                  <c:pt idx="5">
                    <c:v>Laurent Perrier</c:v>
                  </c:pt>
                  <c:pt idx="6">
                    <c:v>Piper Heidsieck</c:v>
                  </c:pt>
                  <c:pt idx="7">
                    <c:v>Pommer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61"/>
          <c:min val="3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024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89680AE-8979-408B-9F05-91D18AC43FA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CE2BDC0-4C58-470B-9057-40413FEBAD7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90099EF-DC59-4807-88D6-940824E5B10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366D91D-AE57-4C5C-803B-24D60C5D371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60C9FF3E-4D71-4DD3-9E5B-D2C1CD34C02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D7C7686-7877-43F4-94B4-B8E4A829FEE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49DC932-820F-48D9-8F22-7E3D0B565B0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B71C1D3C-B5FA-410E-AC36-DC63597003E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60.2851</c:v>
                </c:pt>
                <c:pt idx="1">
                  <c:v>167.43950000000001</c:v>
                </c:pt>
                <c:pt idx="2">
                  <c:v>92.243399999999994</c:v>
                </c:pt>
                <c:pt idx="3">
                  <c:v>37.205300000000001</c:v>
                </c:pt>
                <c:pt idx="4">
                  <c:v>236.89070000000001</c:v>
                </c:pt>
                <c:pt idx="5">
                  <c:v>62.492800000000003</c:v>
                </c:pt>
                <c:pt idx="6">
                  <c:v>199.75</c:v>
                </c:pt>
                <c:pt idx="7">
                  <c:v>262.91759999999999</c:v>
                </c:pt>
              </c:numCache>
            </c:numRef>
          </c:xVal>
          <c:yVal>
            <c:numRef>
              <c:f>Sheet1!$B$2:$B$9</c:f>
              <c:numCache>
                <c:formatCode>General</c:formatCode>
                <c:ptCount val="8"/>
                <c:pt idx="0">
                  <c:v>1.927</c:v>
                </c:pt>
                <c:pt idx="1">
                  <c:v>1.2230000000000001</c:v>
                </c:pt>
                <c:pt idx="2">
                  <c:v>0.68899999999999995</c:v>
                </c:pt>
                <c:pt idx="3">
                  <c:v>0.27700000000000002</c:v>
                </c:pt>
                <c:pt idx="4">
                  <c:v>1.69</c:v>
                </c:pt>
                <c:pt idx="5">
                  <c:v>0.46300000000000002</c:v>
                </c:pt>
                <c:pt idx="6">
                  <c:v>1.421</c:v>
                </c:pt>
                <c:pt idx="7">
                  <c:v>1.605</c:v>
                </c:pt>
              </c:numCache>
            </c:numRef>
          </c:yVal>
          <c:bubbleSize>
            <c:numRef>
              <c:f>Sheet1!$C$2:$C$9</c:f>
              <c:numCache>
                <c:formatCode>General</c:formatCode>
                <c:ptCount val="8"/>
                <c:pt idx="0">
                  <c:v>723853</c:v>
                </c:pt>
                <c:pt idx="1">
                  <c:v>455603</c:v>
                </c:pt>
                <c:pt idx="2">
                  <c:v>160319</c:v>
                </c:pt>
                <c:pt idx="3">
                  <c:v>138478</c:v>
                </c:pt>
                <c:pt idx="4">
                  <c:v>58512</c:v>
                </c:pt>
                <c:pt idx="5">
                  <c:v>51869</c:v>
                </c:pt>
                <c:pt idx="6">
                  <c:v>31960</c:v>
                </c:pt>
                <c:pt idx="7">
                  <c:v>22348</c:v>
                </c:pt>
              </c:numCache>
            </c:numRef>
          </c:bubbleSize>
          <c:bubble3D val="0"/>
          <c:extLst>
            <c:ext xmlns:c15="http://schemas.microsoft.com/office/drawing/2012/chart" uri="{02D57815-91ED-43cb-92C2-25804820EDAC}">
              <c15:datalabelsRange>
                <c15:f>Sheet1!$E$2:$E$10</c15:f>
                <c15:dlblRangeCache>
                  <c:ptCount val="9"/>
                  <c:pt idx="0">
                    <c:v>Dom Perignon</c:v>
                  </c:pt>
                  <c:pt idx="1">
                    <c:v>Roederer</c:v>
                  </c:pt>
                  <c:pt idx="2">
                    <c:v>Ruinart</c:v>
                  </c:pt>
                  <c:pt idx="3">
                    <c:v>Malard</c:v>
                  </c:pt>
                  <c:pt idx="4">
                    <c:v>Bollinger</c:v>
                  </c:pt>
                  <c:pt idx="5">
                    <c:v>Laurent Perrier</c:v>
                  </c:pt>
                  <c:pt idx="6">
                    <c:v>Veuve Clicquot</c:v>
                  </c:pt>
                  <c:pt idx="7">
                    <c:v>Pommer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16"/>
          <c:min val="3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1270000000000002"/>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C075EAA-0CC9-4C72-A9FD-17D68015021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CB4C6EA-E971-4F67-B222-D3512D76EF7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5E6681F-CF30-4F0B-B651-A950E751094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452CA80-EB93-464B-B3F0-37552735F0B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42432FA-3CF6-483B-A956-88D0F5B18C2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4953A07-F717-4F36-ADAA-CC2D5D30E89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3B419939-6953-4DAC-9D25-0354E8BE442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C3E6B0F5-0012-4E57-BF40-8624ED0EFEA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67.8048</c:v>
                </c:pt>
                <c:pt idx="1">
                  <c:v>204.5564</c:v>
                </c:pt>
                <c:pt idx="2">
                  <c:v>96.085800000000006</c:v>
                </c:pt>
                <c:pt idx="3">
                  <c:v>37.682400000000001</c:v>
                </c:pt>
                <c:pt idx="4">
                  <c:v>264.74290000000002</c:v>
                </c:pt>
                <c:pt idx="5">
                  <c:v>245.7576</c:v>
                </c:pt>
                <c:pt idx="6">
                  <c:v>274.2593</c:v>
                </c:pt>
                <c:pt idx="7">
                  <c:v>65.481899999999996</c:v>
                </c:pt>
              </c:numCache>
            </c:numRef>
          </c:xVal>
          <c:yVal>
            <c:numRef>
              <c:f>Sheet1!$B$2:$B$9</c:f>
              <c:numCache>
                <c:formatCode>General</c:formatCode>
                <c:ptCount val="8"/>
                <c:pt idx="0">
                  <c:v>1.5309999999999999</c:v>
                </c:pt>
                <c:pt idx="1">
                  <c:v>1.1220000000000001</c:v>
                </c:pt>
                <c:pt idx="2">
                  <c:v>0.52200000000000002</c:v>
                </c:pt>
                <c:pt idx="3">
                  <c:v>0.219</c:v>
                </c:pt>
                <c:pt idx="4">
                  <c:v>1.327</c:v>
                </c:pt>
                <c:pt idx="5">
                  <c:v>1.2</c:v>
                </c:pt>
                <c:pt idx="6">
                  <c:v>1.3149999999999999</c:v>
                </c:pt>
                <c:pt idx="7">
                  <c:v>0.35</c:v>
                </c:pt>
              </c:numCache>
            </c:numRef>
          </c:yVal>
          <c:bubbleSize>
            <c:numRef>
              <c:f>Sheet1!$C$2:$C$9</c:f>
              <c:numCache>
                <c:formatCode>General</c:formatCode>
                <c:ptCount val="8"/>
                <c:pt idx="0">
                  <c:v>179697</c:v>
                </c:pt>
                <c:pt idx="1">
                  <c:v>81618</c:v>
                </c:pt>
                <c:pt idx="2">
                  <c:v>25751</c:v>
                </c:pt>
                <c:pt idx="3">
                  <c:v>11983</c:v>
                </c:pt>
                <c:pt idx="4">
                  <c:v>9266</c:v>
                </c:pt>
                <c:pt idx="5">
                  <c:v>8110</c:v>
                </c:pt>
                <c:pt idx="6">
                  <c:v>7405</c:v>
                </c:pt>
                <c:pt idx="7">
                  <c:v>5435</c:v>
                </c:pt>
              </c:numCache>
            </c:numRef>
          </c:bubbleSize>
          <c:bubble3D val="0"/>
          <c:extLst>
            <c:ext xmlns:c15="http://schemas.microsoft.com/office/drawing/2012/chart" uri="{02D57815-91ED-43cb-92C2-25804820EDAC}">
              <c15:datalabelsRange>
                <c15:f>Sheet1!$E$2:$E$10</c15:f>
                <c15:dlblRangeCache>
                  <c:ptCount val="9"/>
                  <c:pt idx="0">
                    <c:v>Dom Perignon</c:v>
                  </c:pt>
                  <c:pt idx="1">
                    <c:v>Roederer</c:v>
                  </c:pt>
                  <c:pt idx="2">
                    <c:v>Ruinart</c:v>
                  </c:pt>
                  <c:pt idx="3">
                    <c:v>Malard</c:v>
                  </c:pt>
                  <c:pt idx="4">
                    <c:v>Perrier Jouet</c:v>
                  </c:pt>
                  <c:pt idx="5">
                    <c:v>Bollinger</c:v>
                  </c:pt>
                  <c:pt idx="6">
                    <c:v>Piper Heidsieck</c:v>
                  </c:pt>
                  <c:pt idx="7">
                    <c:v>Laurent Perrier</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29"/>
          <c:min val="3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730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D572BC6-9085-46AD-BC67-C2BD2C078CC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C426459-DB69-4A92-A703-8BC16AAEA36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FD2D13E-7203-467F-93CB-DE62738D1C1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676DBEA-F3CB-41D5-8095-01DDC2153E8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F7D40E6-107A-43D5-AA29-101998718EE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5345B5B-00EE-496D-A6E7-B9B78A62CF1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70D6F24-9870-4B0F-9737-C6C909D9AD4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6D975A25-2C87-4F82-B476-8E9AE08228A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70.98680000000002</c:v>
                </c:pt>
                <c:pt idx="1">
                  <c:v>161.57050000000001</c:v>
                </c:pt>
                <c:pt idx="2">
                  <c:v>98.010900000000007</c:v>
                </c:pt>
                <c:pt idx="3">
                  <c:v>38.633200000000002</c:v>
                </c:pt>
                <c:pt idx="4">
                  <c:v>65.814800000000005</c:v>
                </c:pt>
                <c:pt idx="5">
                  <c:v>307.44439999999997</c:v>
                </c:pt>
                <c:pt idx="6">
                  <c:v>272.39999999999998</c:v>
                </c:pt>
                <c:pt idx="7">
                  <c:v>235.4545</c:v>
                </c:pt>
              </c:numCache>
            </c:numRef>
          </c:xVal>
          <c:yVal>
            <c:numRef>
              <c:f>Sheet1!$B$2:$B$9</c:f>
              <c:numCache>
                <c:formatCode>General</c:formatCode>
                <c:ptCount val="8"/>
                <c:pt idx="0">
                  <c:v>1.8819999999999999</c:v>
                </c:pt>
                <c:pt idx="1">
                  <c:v>0.99099999999999999</c:v>
                </c:pt>
                <c:pt idx="2">
                  <c:v>0.61799999999999999</c:v>
                </c:pt>
                <c:pt idx="3">
                  <c:v>0.27</c:v>
                </c:pt>
                <c:pt idx="4">
                  <c:v>0.41899999999999998</c:v>
                </c:pt>
                <c:pt idx="5">
                  <c:v>1.849</c:v>
                </c:pt>
                <c:pt idx="6">
                  <c:v>1.456</c:v>
                </c:pt>
                <c:pt idx="7">
                  <c:v>1.3839999999999999</c:v>
                </c:pt>
              </c:numCache>
            </c:numRef>
          </c:yVal>
          <c:bubbleSize>
            <c:numRef>
              <c:f>Sheet1!$C$2:$C$9</c:f>
              <c:numCache>
                <c:formatCode>General</c:formatCode>
                <c:ptCount val="8"/>
                <c:pt idx="0">
                  <c:v>82380</c:v>
                </c:pt>
                <c:pt idx="1">
                  <c:v>25205</c:v>
                </c:pt>
                <c:pt idx="2">
                  <c:v>17936</c:v>
                </c:pt>
                <c:pt idx="3">
                  <c:v>8847</c:v>
                </c:pt>
                <c:pt idx="4">
                  <c:v>5331</c:v>
                </c:pt>
                <c:pt idx="5">
                  <c:v>2767</c:v>
                </c:pt>
                <c:pt idx="6">
                  <c:v>2724</c:v>
                </c:pt>
                <c:pt idx="7">
                  <c:v>2590</c:v>
                </c:pt>
              </c:numCache>
            </c:numRef>
          </c:bubbleSize>
          <c:bubble3D val="0"/>
          <c:extLst>
            <c:ext xmlns:c15="http://schemas.microsoft.com/office/drawing/2012/chart" uri="{02D57815-91ED-43cb-92C2-25804820EDAC}">
              <c15:datalabelsRange>
                <c15:f>Sheet1!$E$2:$E$10</c15:f>
                <c15:dlblRangeCache>
                  <c:ptCount val="9"/>
                  <c:pt idx="0">
                    <c:v>Dom Perignon</c:v>
                  </c:pt>
                  <c:pt idx="1">
                    <c:v>Roederer</c:v>
                  </c:pt>
                  <c:pt idx="2">
                    <c:v>Ruinart</c:v>
                  </c:pt>
                  <c:pt idx="3">
                    <c:v>Malard</c:v>
                  </c:pt>
                  <c:pt idx="4">
                    <c:v>Laurent Perrier</c:v>
                  </c:pt>
                  <c:pt idx="5">
                    <c:v>Pommery</c:v>
                  </c:pt>
                  <c:pt idx="6">
                    <c:v>Piper Heidsieck</c:v>
                  </c:pt>
                  <c:pt idx="7">
                    <c:v>Bollinger</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69"/>
          <c:min val="3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081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BB0B3EF-C4E8-48E0-AAC5-ADC789A4DC1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2A425B9-C688-4E5A-83AB-B99C8B556EF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9CA070C-BEAE-41F1-9197-5C60680561D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98026A0-2AAE-41BA-910E-C68A80639FB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6AFE20B8-68D0-4043-B934-2AB9BD4B506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9950E58-16F4-4483-AB67-5BE8CC438DA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C35FB8D6-2C7D-493E-B24C-C974AF743B1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A270F712-679E-47C3-BD76-C23625F0786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69.46550000000002</c:v>
                </c:pt>
                <c:pt idx="1">
                  <c:v>208.47620000000001</c:v>
                </c:pt>
                <c:pt idx="2">
                  <c:v>104.5789</c:v>
                </c:pt>
                <c:pt idx="3">
                  <c:v>39.538499999999999</c:v>
                </c:pt>
                <c:pt idx="4">
                  <c:v>68.75</c:v>
                </c:pt>
                <c:pt idx="5">
                  <c:v>236</c:v>
                </c:pt>
                <c:pt idx="6">
                  <c:v>198.57140000000001</c:v>
                </c:pt>
                <c:pt idx="7">
                  <c:v>246.25</c:v>
                </c:pt>
              </c:numCache>
            </c:numRef>
          </c:xVal>
          <c:yVal>
            <c:numRef>
              <c:f>Sheet1!$B$2:$B$9</c:f>
              <c:numCache>
                <c:formatCode>General</c:formatCode>
                <c:ptCount val="8"/>
                <c:pt idx="0">
                  <c:v>1.758</c:v>
                </c:pt>
                <c:pt idx="1">
                  <c:v>1.24</c:v>
                </c:pt>
                <c:pt idx="2">
                  <c:v>0.58399999999999996</c:v>
                </c:pt>
                <c:pt idx="3">
                  <c:v>0.26100000000000001</c:v>
                </c:pt>
                <c:pt idx="4">
                  <c:v>0.443</c:v>
                </c:pt>
                <c:pt idx="5">
                  <c:v>1.248</c:v>
                </c:pt>
                <c:pt idx="6">
                  <c:v>1.2250000000000001</c:v>
                </c:pt>
                <c:pt idx="7">
                  <c:v>1.302</c:v>
                </c:pt>
              </c:numCache>
            </c:numRef>
          </c:yVal>
          <c:bubbleSize>
            <c:numRef>
              <c:f>Sheet1!$C$2:$C$9</c:f>
              <c:numCache>
                <c:formatCode>General</c:formatCode>
                <c:ptCount val="8"/>
                <c:pt idx="0">
                  <c:v>31258</c:v>
                </c:pt>
                <c:pt idx="1">
                  <c:v>13134</c:v>
                </c:pt>
                <c:pt idx="2">
                  <c:v>5961</c:v>
                </c:pt>
                <c:pt idx="3">
                  <c:v>3598</c:v>
                </c:pt>
                <c:pt idx="4">
                  <c:v>1925</c:v>
                </c:pt>
                <c:pt idx="5">
                  <c:v>1652</c:v>
                </c:pt>
                <c:pt idx="6">
                  <c:v>1390</c:v>
                </c:pt>
                <c:pt idx="7">
                  <c:v>985</c:v>
                </c:pt>
              </c:numCache>
            </c:numRef>
          </c:bubbleSize>
          <c:bubble3D val="0"/>
          <c:extLst>
            <c:ext xmlns:c15="http://schemas.microsoft.com/office/drawing/2012/chart" uri="{02D57815-91ED-43cb-92C2-25804820EDAC}">
              <c15:datalabelsRange>
                <c15:f>Sheet1!$E$2:$E$10</c15:f>
                <c15:dlblRangeCache>
                  <c:ptCount val="9"/>
                  <c:pt idx="0">
                    <c:v>Dom Perignon</c:v>
                  </c:pt>
                  <c:pt idx="1">
                    <c:v>Roederer</c:v>
                  </c:pt>
                  <c:pt idx="2">
                    <c:v>Ruinart</c:v>
                  </c:pt>
                  <c:pt idx="3">
                    <c:v>Malard</c:v>
                  </c:pt>
                  <c:pt idx="4">
                    <c:v>Laurent Perrier</c:v>
                  </c:pt>
                  <c:pt idx="5">
                    <c:v>Bollinger</c:v>
                  </c:pt>
                  <c:pt idx="6">
                    <c:v>Pommery</c:v>
                  </c:pt>
                  <c:pt idx="7">
                    <c:v>Piper Heidsieck</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23"/>
          <c:min val="3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958"/>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9A95ECA-870B-4935-9235-18A02B8DE63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5F8FDB9-CC91-463E-A2CA-7B46CB479D5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E057E37-C4B1-402D-819A-C5B1E34D419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C789A10-D507-44AE-8E37-08ADEBCAB3E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09D2BBD-C83B-4FF8-8859-E0BEFAD661B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BC361CF-F708-4E26-B245-3F9098CA246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2E9F2E16-25B0-49D7-B87D-1464564B699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5D1A013A-E569-4662-A5A5-49E568278B0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84.45569999999998</c:v>
                </c:pt>
                <c:pt idx="1">
                  <c:v>146.87</c:v>
                </c:pt>
                <c:pt idx="2">
                  <c:v>98.268699999999995</c:v>
                </c:pt>
                <c:pt idx="3">
                  <c:v>38.807899999999997</c:v>
                </c:pt>
                <c:pt idx="4">
                  <c:v>255.3158</c:v>
                </c:pt>
                <c:pt idx="5">
                  <c:v>67.7</c:v>
                </c:pt>
                <c:pt idx="6">
                  <c:v>218.27269999999999</c:v>
                </c:pt>
                <c:pt idx="7">
                  <c:v>341.1429</c:v>
                </c:pt>
              </c:numCache>
            </c:numRef>
          </c:xVal>
          <c:yVal>
            <c:numRef>
              <c:f>Sheet1!$B$2:$B$9</c:f>
              <c:numCache>
                <c:formatCode>General</c:formatCode>
                <c:ptCount val="8"/>
                <c:pt idx="0">
                  <c:v>2.2229999999999999</c:v>
                </c:pt>
                <c:pt idx="1">
                  <c:v>1.105</c:v>
                </c:pt>
                <c:pt idx="2">
                  <c:v>0.78600000000000003</c:v>
                </c:pt>
                <c:pt idx="3">
                  <c:v>0.34100000000000003</c:v>
                </c:pt>
                <c:pt idx="4">
                  <c:v>1.976</c:v>
                </c:pt>
                <c:pt idx="5">
                  <c:v>0.52100000000000002</c:v>
                </c:pt>
                <c:pt idx="6">
                  <c:v>1.5109999999999999</c:v>
                </c:pt>
                <c:pt idx="7">
                  <c:v>2.3620000000000001</c:v>
                </c:pt>
              </c:numCache>
            </c:numRef>
          </c:yVal>
          <c:bubbleSize>
            <c:numRef>
              <c:f>Sheet1!$C$2:$C$9</c:f>
              <c:numCache>
                <c:formatCode>General</c:formatCode>
                <c:ptCount val="8"/>
                <c:pt idx="0">
                  <c:v>22472</c:v>
                </c:pt>
                <c:pt idx="1">
                  <c:v>14687</c:v>
                </c:pt>
                <c:pt idx="2">
                  <c:v>6584</c:v>
                </c:pt>
                <c:pt idx="3">
                  <c:v>5860</c:v>
                </c:pt>
                <c:pt idx="4">
                  <c:v>4851</c:v>
                </c:pt>
                <c:pt idx="5">
                  <c:v>2708</c:v>
                </c:pt>
                <c:pt idx="6">
                  <c:v>2401</c:v>
                </c:pt>
                <c:pt idx="7">
                  <c:v>2388</c:v>
                </c:pt>
              </c:numCache>
            </c:numRef>
          </c:bubbleSize>
          <c:bubble3D val="0"/>
          <c:extLst>
            <c:ext xmlns:c15="http://schemas.microsoft.com/office/drawing/2012/chart" uri="{02D57815-91ED-43cb-92C2-25804820EDAC}">
              <c15:datalabelsRange>
                <c15:f>Sheet1!$E$2:$E$10</c15:f>
                <c15:dlblRangeCache>
                  <c:ptCount val="9"/>
                  <c:pt idx="0">
                    <c:v>Dom Perignon</c:v>
                  </c:pt>
                  <c:pt idx="1">
                    <c:v>Roederer</c:v>
                  </c:pt>
                  <c:pt idx="2">
                    <c:v>Ruinart</c:v>
                  </c:pt>
                  <c:pt idx="3">
                    <c:v>Malard</c:v>
                  </c:pt>
                  <c:pt idx="4">
                    <c:v>Bollinger</c:v>
                  </c:pt>
                  <c:pt idx="5">
                    <c:v>Laurent Perrier</c:v>
                  </c:pt>
                  <c:pt idx="6">
                    <c:v>Perrier Jouet</c:v>
                  </c:pt>
                  <c:pt idx="7">
                    <c:v>Piper Heidsieck</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09"/>
          <c:min val="3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5620000000000003"/>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7B0D2F8-6C11-4138-960A-5867B431293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1E3712B-E9C5-42AB-B6AB-1A8C43617AE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1D09A27-CD30-44FC-91AA-49C2A5F0118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0E1FF78-8319-40BD-83A7-84E951892EA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0C93AB6-B4A4-4A10-BBD6-FEC6498F761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DE05A9C-C8C9-49F5-ADC9-2001453DDE6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01DDB1B-DDF3-404D-B771-99076942A9E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2884133F-6FA7-4BA8-BCD9-BC3E4AAAB99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65.32530000000003</c:v>
                </c:pt>
                <c:pt idx="1">
                  <c:v>184.5984</c:v>
                </c:pt>
                <c:pt idx="2">
                  <c:v>92.714600000000004</c:v>
                </c:pt>
                <c:pt idx="3">
                  <c:v>37.124699999999997</c:v>
                </c:pt>
                <c:pt idx="4">
                  <c:v>62.449199999999998</c:v>
                </c:pt>
                <c:pt idx="5">
                  <c:v>207.6866</c:v>
                </c:pt>
                <c:pt idx="6">
                  <c:v>240.72479999999999</c:v>
                </c:pt>
                <c:pt idx="7">
                  <c:v>254.5325</c:v>
                </c:pt>
              </c:numCache>
            </c:numRef>
          </c:xVal>
          <c:yVal>
            <c:numRef>
              <c:f>Sheet1!$B$2:$B$9</c:f>
              <c:numCache>
                <c:formatCode>General</c:formatCode>
                <c:ptCount val="8"/>
                <c:pt idx="0">
                  <c:v>1.6719999999999999</c:v>
                </c:pt>
                <c:pt idx="1">
                  <c:v>1.1439999999999999</c:v>
                </c:pt>
                <c:pt idx="2">
                  <c:v>0.59399999999999997</c:v>
                </c:pt>
                <c:pt idx="3">
                  <c:v>0.23799999999999999</c:v>
                </c:pt>
                <c:pt idx="4">
                  <c:v>0.4</c:v>
                </c:pt>
                <c:pt idx="5">
                  <c:v>1.2609999999999999</c:v>
                </c:pt>
                <c:pt idx="6">
                  <c:v>1.355</c:v>
                </c:pt>
                <c:pt idx="7">
                  <c:v>1.3640000000000001</c:v>
                </c:pt>
              </c:numCache>
            </c:numRef>
          </c:yVal>
          <c:bubbleSize>
            <c:numRef>
              <c:f>Sheet1!$C$2:$C$9</c:f>
              <c:numCache>
                <c:formatCode>General</c:formatCode>
                <c:ptCount val="8"/>
                <c:pt idx="0">
                  <c:v>483688</c:v>
                </c:pt>
                <c:pt idx="1">
                  <c:v>271175</c:v>
                </c:pt>
                <c:pt idx="2">
                  <c:v>72781</c:v>
                </c:pt>
                <c:pt idx="3">
                  <c:v>47037</c:v>
                </c:pt>
                <c:pt idx="4">
                  <c:v>29476</c:v>
                </c:pt>
                <c:pt idx="5">
                  <c:v>27830</c:v>
                </c:pt>
                <c:pt idx="6">
                  <c:v>26239</c:v>
                </c:pt>
                <c:pt idx="7">
                  <c:v>19599</c:v>
                </c:pt>
              </c:numCache>
            </c:numRef>
          </c:bubbleSize>
          <c:bubble3D val="0"/>
          <c:extLst>
            <c:ext xmlns:c15="http://schemas.microsoft.com/office/drawing/2012/chart" uri="{02D57815-91ED-43cb-92C2-25804820EDAC}">
              <c15:datalabelsRange>
                <c15:f>Sheet1!$E$2:$E$10</c15:f>
                <c15:dlblRangeCache>
                  <c:ptCount val="9"/>
                  <c:pt idx="0">
                    <c:v>Dom Perignon</c:v>
                  </c:pt>
                  <c:pt idx="1">
                    <c:v>Roederer</c:v>
                  </c:pt>
                  <c:pt idx="2">
                    <c:v>Ruinart</c:v>
                  </c:pt>
                  <c:pt idx="3">
                    <c:v>Malard</c:v>
                  </c:pt>
                  <c:pt idx="4">
                    <c:v>Laurent Perrier</c:v>
                  </c:pt>
                  <c:pt idx="5">
                    <c:v>Veuve Clicquot</c:v>
                  </c:pt>
                  <c:pt idx="6">
                    <c:v>Bollinger</c:v>
                  </c:pt>
                  <c:pt idx="7">
                    <c:v>Perrier Jouet</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18"/>
          <c:min val="3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871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F610E63-645E-4DD0-B073-164DE40E3ED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A1710E5-E049-4B61-BF4B-807BAB1A695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1CC8BCD-DDAD-4B11-89EE-3C2310EE8D3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0019BF3-DE64-4DE8-9387-9713AA2C6F1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44A5E47-4313-458D-B0A7-ABE5BC4D185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FAAD778-3F90-4672-BFEC-F5F26DB60E2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C37C30C-15A8-4A11-90CE-8E15E0BE50C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3B864EF1-9035-47EC-BBE0-BA8D4A13EF8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261.13850000000002</c:v>
                </c:pt>
                <c:pt idx="1">
                  <c:v>156.18090000000001</c:v>
                </c:pt>
                <c:pt idx="2">
                  <c:v>94.739800000000002</c:v>
                </c:pt>
                <c:pt idx="3">
                  <c:v>37.572499999999998</c:v>
                </c:pt>
                <c:pt idx="4">
                  <c:v>64.150199999999998</c:v>
                </c:pt>
                <c:pt idx="5">
                  <c:v>278.46809999999999</c:v>
                </c:pt>
                <c:pt idx="6">
                  <c:v>286.47370000000001</c:v>
                </c:pt>
              </c:numCache>
            </c:numRef>
          </c:xVal>
          <c:yVal>
            <c:numRef>
              <c:f>Sheet1!$B$2:$B$8</c:f>
              <c:numCache>
                <c:formatCode>General</c:formatCode>
                <c:ptCount val="7"/>
                <c:pt idx="0">
                  <c:v>1.9730000000000001</c:v>
                </c:pt>
                <c:pt idx="1">
                  <c:v>1.111</c:v>
                </c:pt>
                <c:pt idx="2">
                  <c:v>0.69399999999999995</c:v>
                </c:pt>
                <c:pt idx="3">
                  <c:v>0.29199999999999998</c:v>
                </c:pt>
                <c:pt idx="4">
                  <c:v>0.48899999999999999</c:v>
                </c:pt>
                <c:pt idx="5">
                  <c:v>1.802</c:v>
                </c:pt>
                <c:pt idx="6">
                  <c:v>1.9670000000000001</c:v>
                </c:pt>
              </c:numCache>
            </c:numRef>
          </c:yVal>
          <c:bubbleSize>
            <c:numRef>
              <c:f>Sheet1!$C$2:$C$8</c:f>
              <c:numCache>
                <c:formatCode>General</c:formatCode>
                <c:ptCount val="7"/>
                <c:pt idx="0">
                  <c:v>147021</c:v>
                </c:pt>
                <c:pt idx="1">
                  <c:v>76841</c:v>
                </c:pt>
                <c:pt idx="2">
                  <c:v>30222</c:v>
                </c:pt>
                <c:pt idx="3">
                  <c:v>25662</c:v>
                </c:pt>
                <c:pt idx="4">
                  <c:v>16230</c:v>
                </c:pt>
                <c:pt idx="5">
                  <c:v>13088</c:v>
                </c:pt>
                <c:pt idx="6">
                  <c:v>5443</c:v>
                </c:pt>
              </c:numCache>
            </c:numRef>
          </c:bubbleSize>
          <c:bubble3D val="0"/>
          <c:extLst>
            <c:ext xmlns:c15="http://schemas.microsoft.com/office/drawing/2012/chart" uri="{02D57815-91ED-43cb-92C2-25804820EDAC}">
              <c15:datalabelsRange>
                <c15:f>Sheet1!$E$2:$E$10</c15:f>
                <c15:dlblRangeCache>
                  <c:ptCount val="9"/>
                  <c:pt idx="0">
                    <c:v>Dom Perignon</c:v>
                  </c:pt>
                  <c:pt idx="1">
                    <c:v>Roederer</c:v>
                  </c:pt>
                  <c:pt idx="2">
                    <c:v>Ruinart</c:v>
                  </c:pt>
                  <c:pt idx="3">
                    <c:v>Malard</c:v>
                  </c:pt>
                  <c:pt idx="4">
                    <c:v>Laurent Perrier</c:v>
                  </c:pt>
                  <c:pt idx="5">
                    <c:v>Bollinger</c:v>
                  </c:pt>
                  <c:pt idx="6">
                    <c:v>Piper Heidsieck</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44"/>
          <c:min val="3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173"/>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8EB2172-F082-4C3E-A520-6F7CDBC8288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705ED65-E98F-4541-857E-3620EAF143D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BCC938A-9398-4B12-94BE-1F668B6D2B7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A70B51D-5106-49C6-8A05-5C1951EC99B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0883623-CE60-482B-AC4B-5412771C0ED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9645983-CA36-42AF-B5DF-CF0E1103A0B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C5D9D8DA-F6EB-4B55-96F1-B54008A88F4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6894528F-8083-44E0-A641-096814FEC5F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60.51639999999998</c:v>
                </c:pt>
                <c:pt idx="1">
                  <c:v>165.85769999999999</c:v>
                </c:pt>
                <c:pt idx="2">
                  <c:v>94.170299999999997</c:v>
                </c:pt>
                <c:pt idx="3">
                  <c:v>37.135100000000001</c:v>
                </c:pt>
                <c:pt idx="4">
                  <c:v>271.21949999999998</c:v>
                </c:pt>
                <c:pt idx="5">
                  <c:v>227.80430000000001</c:v>
                </c:pt>
                <c:pt idx="6">
                  <c:v>64.681399999999996</c:v>
                </c:pt>
                <c:pt idx="7">
                  <c:v>232.8065</c:v>
                </c:pt>
              </c:numCache>
            </c:numRef>
          </c:xVal>
          <c:yVal>
            <c:numRef>
              <c:f>Sheet1!$B$2:$B$9</c:f>
              <c:numCache>
                <c:formatCode>General</c:formatCode>
                <c:ptCount val="8"/>
                <c:pt idx="0">
                  <c:v>1.883</c:v>
                </c:pt>
                <c:pt idx="1">
                  <c:v>1.165</c:v>
                </c:pt>
                <c:pt idx="2">
                  <c:v>0.68300000000000005</c:v>
                </c:pt>
                <c:pt idx="3">
                  <c:v>0.27300000000000002</c:v>
                </c:pt>
                <c:pt idx="4">
                  <c:v>1.6559999999999999</c:v>
                </c:pt>
                <c:pt idx="5">
                  <c:v>1.375</c:v>
                </c:pt>
                <c:pt idx="6">
                  <c:v>0.46300000000000002</c:v>
                </c:pt>
                <c:pt idx="7">
                  <c:v>1.5289999999999999</c:v>
                </c:pt>
              </c:numCache>
            </c:numRef>
          </c:yVal>
          <c:bubbleSize>
            <c:numRef>
              <c:f>Sheet1!$C$2:$C$9</c:f>
              <c:numCache>
                <c:formatCode>General</c:formatCode>
                <c:ptCount val="8"/>
                <c:pt idx="0">
                  <c:v>222481</c:v>
                </c:pt>
                <c:pt idx="1">
                  <c:v>129369</c:v>
                </c:pt>
                <c:pt idx="2">
                  <c:v>59704</c:v>
                </c:pt>
                <c:pt idx="3">
                  <c:v>37655</c:v>
                </c:pt>
                <c:pt idx="4">
                  <c:v>11120</c:v>
                </c:pt>
                <c:pt idx="5">
                  <c:v>10479</c:v>
                </c:pt>
                <c:pt idx="6">
                  <c:v>7309</c:v>
                </c:pt>
                <c:pt idx="7">
                  <c:v>7217</c:v>
                </c:pt>
              </c:numCache>
            </c:numRef>
          </c:bubbleSize>
          <c:bubble3D val="0"/>
          <c:extLst>
            <c:ext xmlns:c15="http://schemas.microsoft.com/office/drawing/2012/chart" uri="{02D57815-91ED-43cb-92C2-25804820EDAC}">
              <c15:datalabelsRange>
                <c15:f>Sheet1!$E$2:$E$10</c15:f>
                <c15:dlblRangeCache>
                  <c:ptCount val="9"/>
                  <c:pt idx="0">
                    <c:v>Dom Perignon</c:v>
                  </c:pt>
                  <c:pt idx="1">
                    <c:v>Roederer</c:v>
                  </c:pt>
                  <c:pt idx="2">
                    <c:v>Ruinart</c:v>
                  </c:pt>
                  <c:pt idx="3">
                    <c:v>Malard</c:v>
                  </c:pt>
                  <c:pt idx="4">
                    <c:v>Piper Heidsieck</c:v>
                  </c:pt>
                  <c:pt idx="5">
                    <c:v>Bollinger</c:v>
                  </c:pt>
                  <c:pt idx="6">
                    <c:v>Laurent Perrier</c:v>
                  </c:pt>
                  <c:pt idx="7">
                    <c:v>Pommer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25"/>
          <c:min val="3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0830000000000002"/>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DE6E0FE-94FE-486C-A55F-409BBB5B28C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D197BC7-3DF8-4A75-BAC8-2A8C6D5FE2A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315DF0A-4321-47BA-8091-BF7E817E862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5711D0E-4DAB-4ACD-9929-2DBDE789389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11B59DE-D747-43D5-A2A7-1D5A045E924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E86A67B-9EE7-4594-9419-27DE0256D01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75694DB8-E048-4A48-8A51-6F90F1E992E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ADAEFFEE-0683-4E04-BF9D-A0291E113A8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62.88659999999999</c:v>
                </c:pt>
                <c:pt idx="1">
                  <c:v>168.5444</c:v>
                </c:pt>
                <c:pt idx="2">
                  <c:v>93.754300000000001</c:v>
                </c:pt>
                <c:pt idx="3">
                  <c:v>37.530099999999997</c:v>
                </c:pt>
                <c:pt idx="4">
                  <c:v>229.54740000000001</c:v>
                </c:pt>
                <c:pt idx="5">
                  <c:v>65.619699999999995</c:v>
                </c:pt>
                <c:pt idx="6">
                  <c:v>241.26089999999999</c:v>
                </c:pt>
                <c:pt idx="7">
                  <c:v>304</c:v>
                </c:pt>
              </c:numCache>
            </c:numRef>
          </c:xVal>
          <c:yVal>
            <c:numRef>
              <c:f>Sheet1!$B$2:$B$9</c:f>
              <c:numCache>
                <c:formatCode>General</c:formatCode>
                <c:ptCount val="8"/>
                <c:pt idx="0">
                  <c:v>2.0529999999999999</c:v>
                </c:pt>
                <c:pt idx="1">
                  <c:v>1.206</c:v>
                </c:pt>
                <c:pt idx="2">
                  <c:v>0.71</c:v>
                </c:pt>
                <c:pt idx="3">
                  <c:v>0.29499999999999998</c:v>
                </c:pt>
                <c:pt idx="4">
                  <c:v>1.6319999999999999</c:v>
                </c:pt>
                <c:pt idx="5">
                  <c:v>0.48799999999999999</c:v>
                </c:pt>
                <c:pt idx="6">
                  <c:v>1.492</c:v>
                </c:pt>
                <c:pt idx="7">
                  <c:v>1.798</c:v>
                </c:pt>
              </c:numCache>
            </c:numRef>
          </c:yVal>
          <c:bubbleSize>
            <c:numRef>
              <c:f>Sheet1!$C$2:$C$9</c:f>
              <c:numCache>
                <c:formatCode>General</c:formatCode>
                <c:ptCount val="8"/>
                <c:pt idx="0">
                  <c:v>150634</c:v>
                </c:pt>
                <c:pt idx="1">
                  <c:v>87306</c:v>
                </c:pt>
                <c:pt idx="2">
                  <c:v>43127</c:v>
                </c:pt>
                <c:pt idx="3">
                  <c:v>33627</c:v>
                </c:pt>
                <c:pt idx="4">
                  <c:v>21807</c:v>
                </c:pt>
                <c:pt idx="5">
                  <c:v>9318</c:v>
                </c:pt>
                <c:pt idx="6">
                  <c:v>5549</c:v>
                </c:pt>
                <c:pt idx="7">
                  <c:v>5168</c:v>
                </c:pt>
              </c:numCache>
            </c:numRef>
          </c:bubbleSize>
          <c:bubble3D val="0"/>
          <c:extLst>
            <c:ext xmlns:c15="http://schemas.microsoft.com/office/drawing/2012/chart" uri="{02D57815-91ED-43cb-92C2-25804820EDAC}">
              <c15:datalabelsRange>
                <c15:f>Sheet1!$E$2:$E$10</c15:f>
                <c15:dlblRangeCache>
                  <c:ptCount val="9"/>
                  <c:pt idx="0">
                    <c:v>Dom Perignon</c:v>
                  </c:pt>
                  <c:pt idx="1">
                    <c:v>Roederer</c:v>
                  </c:pt>
                  <c:pt idx="2">
                    <c:v>Ruinart</c:v>
                  </c:pt>
                  <c:pt idx="3">
                    <c:v>Malard</c:v>
                  </c:pt>
                  <c:pt idx="4">
                    <c:v>Bollinger</c:v>
                  </c:pt>
                  <c:pt idx="5">
                    <c:v>Laurent Perrier</c:v>
                  </c:pt>
                  <c:pt idx="6">
                    <c:v>Pommery</c:v>
                  </c:pt>
                  <c:pt idx="7">
                    <c:v>Piper Heidsieck</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65"/>
          <c:min val="3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2530000000000001"/>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6A4AB2B-EE46-4841-A116-84C240FE7C2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C130380-E896-4605-81CE-9645B776251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5348358-9E93-4C27-B3A6-6228C946E90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0057F04-C37C-4867-9C8D-64EBDD19E0E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ED19861-498E-46D3-9390-EAE6CB247B0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9B5CC1F-8A8C-476E-9B8F-C9EB82A3863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701DBE7E-0928-41BF-8ED4-666368E16D1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D65D92CE-8F5B-408A-AE42-91D9EB883AA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69.232299999999995</c:v>
                </c:pt>
                <c:pt idx="1">
                  <c:v>23.5748</c:v>
                </c:pt>
                <c:pt idx="2">
                  <c:v>49.180500000000002</c:v>
                </c:pt>
                <c:pt idx="3">
                  <c:v>51.747599999999998</c:v>
                </c:pt>
                <c:pt idx="4">
                  <c:v>31.525200000000002</c:v>
                </c:pt>
                <c:pt idx="5">
                  <c:v>32.7211</c:v>
                </c:pt>
                <c:pt idx="6">
                  <c:v>79.0989</c:v>
                </c:pt>
                <c:pt idx="7">
                  <c:v>29.301100000000002</c:v>
                </c:pt>
              </c:numCache>
            </c:numRef>
          </c:xVal>
          <c:yVal>
            <c:numRef>
              <c:f>Sheet1!$B$2:$B$9</c:f>
              <c:numCache>
                <c:formatCode>General</c:formatCode>
                <c:ptCount val="8"/>
                <c:pt idx="0">
                  <c:v>1.591</c:v>
                </c:pt>
                <c:pt idx="1">
                  <c:v>0.54900000000000004</c:v>
                </c:pt>
                <c:pt idx="2">
                  <c:v>1.1259999999999999</c:v>
                </c:pt>
                <c:pt idx="3">
                  <c:v>1.0820000000000001</c:v>
                </c:pt>
                <c:pt idx="4">
                  <c:v>0.72899999999999998</c:v>
                </c:pt>
                <c:pt idx="5">
                  <c:v>0.74199999999999999</c:v>
                </c:pt>
                <c:pt idx="6">
                  <c:v>1.8560000000000001</c:v>
                </c:pt>
                <c:pt idx="7">
                  <c:v>0.67700000000000005</c:v>
                </c:pt>
              </c:numCache>
            </c:numRef>
          </c:yVal>
          <c:bubbleSize>
            <c:numRef>
              <c:f>Sheet1!$C$2:$C$9</c:f>
              <c:numCache>
                <c:formatCode>General</c:formatCode>
                <c:ptCount val="8"/>
                <c:pt idx="0">
                  <c:v>10761127</c:v>
                </c:pt>
                <c:pt idx="1">
                  <c:v>3788985</c:v>
                </c:pt>
                <c:pt idx="2">
                  <c:v>3461768</c:v>
                </c:pt>
                <c:pt idx="3">
                  <c:v>2407818</c:v>
                </c:pt>
                <c:pt idx="4">
                  <c:v>2351274</c:v>
                </c:pt>
                <c:pt idx="5">
                  <c:v>1672046</c:v>
                </c:pt>
                <c:pt idx="6">
                  <c:v>1436753</c:v>
                </c:pt>
                <c:pt idx="7">
                  <c:v>1391478</c:v>
                </c:pt>
              </c:numCache>
            </c:numRef>
          </c:bubbleSize>
          <c:bubble3D val="0"/>
          <c:extLst>
            <c:ext xmlns:c15="http://schemas.microsoft.com/office/drawing/2012/chart" uri="{02D57815-91ED-43cb-92C2-25804820EDAC}">
              <c15:datalabelsRange>
                <c15:f>Sheet1!$E$2:$E$10</c15:f>
                <c15:dlblRangeCache>
                  <c:ptCount val="9"/>
                  <c:pt idx="0">
                    <c:v>Ruinart</c:v>
                  </c:pt>
                  <c:pt idx="1">
                    <c:v>Nicolas</c:v>
                  </c:pt>
                  <c:pt idx="2">
                    <c:v>Deutz</c:v>
                  </c:pt>
                  <c:pt idx="3">
                    <c:v>Laurent Perrier</c:v>
                  </c:pt>
                  <c:pt idx="4">
                    <c:v>Malard</c:v>
                  </c:pt>
                  <c:pt idx="5">
                    <c:v>Nicolas Feuillatte</c:v>
                  </c:pt>
                  <c:pt idx="6">
                    <c:v>Roederer</c:v>
                  </c:pt>
                  <c:pt idx="7">
                    <c:v>Heidsieck &amp; Co Monopol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95"/>
          <c:min val="19"/>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80047D7-0AA1-4028-A175-137BFE1A032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93E4FC5-7720-4461-853F-E5ECF50C438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279B779-2039-4109-A612-1ADAE74DD8C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827CFE8-AF66-4FCA-BC9C-3B3432F3A90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8D54642-1079-4E9E-A445-0A6DEF7533D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1EDF876-C426-4463-B085-60B942A3F66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5C03F4BA-F322-456A-9D11-3575D765347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B0041F92-2675-49CE-956A-650C130D0A0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62.78809999999999</c:v>
                </c:pt>
                <c:pt idx="1">
                  <c:v>155.79660000000001</c:v>
                </c:pt>
                <c:pt idx="2">
                  <c:v>37.944800000000001</c:v>
                </c:pt>
                <c:pt idx="3">
                  <c:v>93.186499999999995</c:v>
                </c:pt>
                <c:pt idx="4">
                  <c:v>66.116100000000003</c:v>
                </c:pt>
                <c:pt idx="5">
                  <c:v>242.03229999999999</c:v>
                </c:pt>
                <c:pt idx="6">
                  <c:v>241.36840000000001</c:v>
                </c:pt>
                <c:pt idx="7">
                  <c:v>255.86670000000001</c:v>
                </c:pt>
              </c:numCache>
            </c:numRef>
          </c:xVal>
          <c:yVal>
            <c:numRef>
              <c:f>Sheet1!$B$2:$B$9</c:f>
              <c:numCache>
                <c:formatCode>General</c:formatCode>
                <c:ptCount val="8"/>
                <c:pt idx="0">
                  <c:v>2.42</c:v>
                </c:pt>
                <c:pt idx="1">
                  <c:v>1.2869999999999999</c:v>
                </c:pt>
                <c:pt idx="2">
                  <c:v>0.35899999999999999</c:v>
                </c:pt>
                <c:pt idx="3">
                  <c:v>0.82199999999999995</c:v>
                </c:pt>
                <c:pt idx="4">
                  <c:v>0.58199999999999996</c:v>
                </c:pt>
                <c:pt idx="5">
                  <c:v>1.9179999999999999</c:v>
                </c:pt>
                <c:pt idx="6">
                  <c:v>1.8240000000000001</c:v>
                </c:pt>
                <c:pt idx="7">
                  <c:v>1.8320000000000001</c:v>
                </c:pt>
              </c:numCache>
            </c:numRef>
          </c:yVal>
          <c:bubbleSize>
            <c:numRef>
              <c:f>Sheet1!$C$2:$C$9</c:f>
              <c:numCache>
                <c:formatCode>General</c:formatCode>
                <c:ptCount val="8"/>
                <c:pt idx="0">
                  <c:v>124036</c:v>
                </c:pt>
                <c:pt idx="1">
                  <c:v>64344</c:v>
                </c:pt>
                <c:pt idx="2">
                  <c:v>45344</c:v>
                </c:pt>
                <c:pt idx="3">
                  <c:v>41468</c:v>
                </c:pt>
                <c:pt idx="4">
                  <c:v>10248</c:v>
                </c:pt>
                <c:pt idx="5">
                  <c:v>7503</c:v>
                </c:pt>
                <c:pt idx="6">
                  <c:v>4586</c:v>
                </c:pt>
                <c:pt idx="7">
                  <c:v>3838</c:v>
                </c:pt>
              </c:numCache>
            </c:numRef>
          </c:bubbleSize>
          <c:bubble3D val="0"/>
          <c:extLst>
            <c:ext xmlns:c15="http://schemas.microsoft.com/office/drawing/2012/chart" uri="{02D57815-91ED-43cb-92C2-25804820EDAC}">
              <c15:datalabelsRange>
                <c15:f>Sheet1!$E$2:$E$10</c15:f>
                <c15:dlblRangeCache>
                  <c:ptCount val="9"/>
                  <c:pt idx="0">
                    <c:v>Dom Perignon</c:v>
                  </c:pt>
                  <c:pt idx="1">
                    <c:v>Roederer</c:v>
                  </c:pt>
                  <c:pt idx="2">
                    <c:v>Malard</c:v>
                  </c:pt>
                  <c:pt idx="3">
                    <c:v>Ruinart</c:v>
                  </c:pt>
                  <c:pt idx="4">
                    <c:v>Laurent Perrier</c:v>
                  </c:pt>
                  <c:pt idx="5">
                    <c:v>Bollinger</c:v>
                  </c:pt>
                  <c:pt idx="6">
                    <c:v>Piper Heidsieck</c:v>
                  </c:pt>
                  <c:pt idx="7">
                    <c:v>Pommer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15"/>
          <c:min val="3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62"/>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FEE4B22-8978-4AC5-B5EF-AA9172ADB16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A01C555-29D2-43EE-B3D7-91712941B7F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64D8B39-B45A-4D85-8E0E-B3353D90230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A155BEB-61E5-4C51-8EF1-3161EB867C2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F84FF05-B1F6-4A55-A3F9-67FF4FB57EE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AAE34B2-DDB7-4708-BBE4-59DBD2A07FC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8A1D684B-3EC7-407E-A5D0-37685C437FA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397B8C13-C9E0-4272-82E0-8AC24EE8081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6.727399999999999</c:v>
                </c:pt>
                <c:pt idx="1">
                  <c:v>30.6629</c:v>
                </c:pt>
                <c:pt idx="2">
                  <c:v>28.646999999999998</c:v>
                </c:pt>
                <c:pt idx="3">
                  <c:v>31.494800000000001</c:v>
                </c:pt>
                <c:pt idx="4">
                  <c:v>36.527700000000003</c:v>
                </c:pt>
                <c:pt idx="5">
                  <c:v>90.745199999999997</c:v>
                </c:pt>
                <c:pt idx="6">
                  <c:v>50.264200000000002</c:v>
                </c:pt>
                <c:pt idx="7">
                  <c:v>26.5242</c:v>
                </c:pt>
              </c:numCache>
            </c:numRef>
          </c:xVal>
          <c:yVal>
            <c:numRef>
              <c:f>Sheet1!$B$2:$B$9</c:f>
              <c:numCache>
                <c:formatCode>General</c:formatCode>
                <c:ptCount val="8"/>
                <c:pt idx="0">
                  <c:v>0.94799999999999995</c:v>
                </c:pt>
                <c:pt idx="1">
                  <c:v>0.95299999999999996</c:v>
                </c:pt>
                <c:pt idx="2">
                  <c:v>0.90800000000000003</c:v>
                </c:pt>
                <c:pt idx="3">
                  <c:v>0.98499999999999999</c:v>
                </c:pt>
                <c:pt idx="4">
                  <c:v>1.1579999999999999</c:v>
                </c:pt>
                <c:pt idx="5">
                  <c:v>2.8580000000000001</c:v>
                </c:pt>
                <c:pt idx="6">
                  <c:v>1.579</c:v>
                </c:pt>
                <c:pt idx="7">
                  <c:v>0.90500000000000003</c:v>
                </c:pt>
              </c:numCache>
            </c:numRef>
          </c:yVal>
          <c:bubbleSize>
            <c:numRef>
              <c:f>Sheet1!$C$2:$C$9</c:f>
              <c:numCache>
                <c:formatCode>General</c:formatCode>
                <c:ptCount val="8"/>
                <c:pt idx="0">
                  <c:v>11833795</c:v>
                </c:pt>
                <c:pt idx="1">
                  <c:v>3875602</c:v>
                </c:pt>
                <c:pt idx="2">
                  <c:v>3306117</c:v>
                </c:pt>
                <c:pt idx="3">
                  <c:v>3231524</c:v>
                </c:pt>
                <c:pt idx="4">
                  <c:v>2420106</c:v>
                </c:pt>
                <c:pt idx="5">
                  <c:v>2145762</c:v>
                </c:pt>
                <c:pt idx="6">
                  <c:v>2058218</c:v>
                </c:pt>
                <c:pt idx="7">
                  <c:v>412478</c:v>
                </c:pt>
              </c:numCache>
            </c:numRef>
          </c:bubbleSize>
          <c:bubble3D val="0"/>
          <c:extLst>
            <c:ext xmlns:c15="http://schemas.microsoft.com/office/drawing/2012/chart" uri="{02D57815-91ED-43cb-92C2-25804820EDAC}">
              <c15:datalabelsRange>
                <c15:f>Sheet1!$E$2:$E$10</c15:f>
                <c15:dlblRangeCache>
                  <c:ptCount val="9"/>
                  <c:pt idx="0">
                    <c:v>Nicolas Feuillatte</c:v>
                  </c:pt>
                  <c:pt idx="1">
                    <c:v>Demoiselle</c:v>
                  </c:pt>
                  <c:pt idx="2">
                    <c:v>Canard Duchêne</c:v>
                  </c:pt>
                  <c:pt idx="3">
                    <c:v>Tsarine</c:v>
                  </c:pt>
                  <c:pt idx="4">
                    <c:v>Mumm</c:v>
                  </c:pt>
                  <c:pt idx="5">
                    <c:v>Ruinart</c:v>
                  </c:pt>
                  <c:pt idx="6">
                    <c:v>Moët &amp; Chandon</c:v>
                  </c:pt>
                  <c:pt idx="7">
                    <c:v>Nicola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09"/>
          <c:min val="2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3.0580000000000003"/>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56E85F5-2264-4B0F-832D-EEB4E4264B9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B3445E3-437B-40B0-863D-FB9790120CA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A82D5FD-C21D-4E3D-BA99-824704F9E08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76A3075-E0E3-4CAB-8D13-19A6105949E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9294BF5-DC9D-4D00-B179-64363EF3C16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FF4CFDB-8894-4C73-BCC5-E9CACC6593C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1D18D613-F3E7-4829-906A-299EB5B4AED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0D2D2066-C99F-4845-828F-AA7FD3D4096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91.656199999999998</c:v>
                </c:pt>
                <c:pt idx="1">
                  <c:v>52.862900000000003</c:v>
                </c:pt>
                <c:pt idx="2">
                  <c:v>37.590600000000002</c:v>
                </c:pt>
                <c:pt idx="3">
                  <c:v>26.826699999999999</c:v>
                </c:pt>
                <c:pt idx="4">
                  <c:v>81.242900000000006</c:v>
                </c:pt>
                <c:pt idx="5">
                  <c:v>37.790300000000002</c:v>
                </c:pt>
                <c:pt idx="6">
                  <c:v>41.338299999999997</c:v>
                </c:pt>
                <c:pt idx="7">
                  <c:v>36.3018</c:v>
                </c:pt>
              </c:numCache>
            </c:numRef>
          </c:xVal>
          <c:yVal>
            <c:numRef>
              <c:f>Sheet1!$B$2:$B$9</c:f>
              <c:numCache>
                <c:formatCode>General</c:formatCode>
                <c:ptCount val="8"/>
                <c:pt idx="0">
                  <c:v>1.639</c:v>
                </c:pt>
                <c:pt idx="1">
                  <c:v>1.0529999999999999</c:v>
                </c:pt>
                <c:pt idx="2">
                  <c:v>0.66</c:v>
                </c:pt>
                <c:pt idx="3">
                  <c:v>0.504</c:v>
                </c:pt>
                <c:pt idx="4">
                  <c:v>1.421</c:v>
                </c:pt>
                <c:pt idx="5">
                  <c:v>0.66200000000000003</c:v>
                </c:pt>
                <c:pt idx="6">
                  <c:v>0.86399999999999999</c:v>
                </c:pt>
                <c:pt idx="7">
                  <c:v>0.63500000000000001</c:v>
                </c:pt>
              </c:numCache>
            </c:numRef>
          </c:yVal>
          <c:bubbleSize>
            <c:numRef>
              <c:f>Sheet1!$C$2:$C$9</c:f>
              <c:numCache>
                <c:formatCode>General</c:formatCode>
                <c:ptCount val="8"/>
                <c:pt idx="0">
                  <c:v>1262381</c:v>
                </c:pt>
                <c:pt idx="1">
                  <c:v>597932</c:v>
                </c:pt>
                <c:pt idx="2">
                  <c:v>431239</c:v>
                </c:pt>
                <c:pt idx="3">
                  <c:v>415089</c:v>
                </c:pt>
                <c:pt idx="4">
                  <c:v>398659</c:v>
                </c:pt>
                <c:pt idx="5">
                  <c:v>237021</c:v>
                </c:pt>
                <c:pt idx="6">
                  <c:v>204583</c:v>
                </c:pt>
                <c:pt idx="7">
                  <c:v>181255</c:v>
                </c:pt>
              </c:numCache>
            </c:numRef>
          </c:bubbleSize>
          <c:bubble3D val="0"/>
          <c:extLst>
            <c:ext xmlns:c15="http://schemas.microsoft.com/office/drawing/2012/chart" uri="{02D57815-91ED-43cb-92C2-25804820EDAC}">
              <c15:datalabelsRange>
                <c15:f>Sheet1!$E$2:$E$10</c15:f>
                <c15:dlblRangeCache>
                  <c:ptCount val="9"/>
                  <c:pt idx="0">
                    <c:v>Ruinart</c:v>
                  </c:pt>
                  <c:pt idx="1">
                    <c:v>Deutz</c:v>
                  </c:pt>
                  <c:pt idx="2">
                    <c:v>Demoiselle</c:v>
                  </c:pt>
                  <c:pt idx="3">
                    <c:v>Nicolas</c:v>
                  </c:pt>
                  <c:pt idx="4">
                    <c:v>Laurent Perrier</c:v>
                  </c:pt>
                  <c:pt idx="5">
                    <c:v>Nicolas Feuillatte</c:v>
                  </c:pt>
                  <c:pt idx="6">
                    <c:v>Besserat De Bellefon</c:v>
                  </c:pt>
                  <c:pt idx="7">
                    <c:v>Malard</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10"/>
          <c:min val="2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83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887A2FF-DB80-49C4-BD04-5BFCF6C049E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FEDD226-12EE-4133-BAE0-0B0FB23682B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C04BF0D-21F5-45CA-88C8-5BE37E99A28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5C38D00-3E10-4097-807C-93F9A6B2E16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15439B5E-E8C4-4E0A-BD4A-C0C4FB83399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F478382-3A45-4CFC-8775-538FD18A20D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4E0C7147-CDD2-4BE6-9343-6D13134724C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85EB9351-63E3-466B-A404-B77F04659BD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6.5717</c:v>
                </c:pt>
                <c:pt idx="1">
                  <c:v>30.006599999999999</c:v>
                </c:pt>
                <c:pt idx="2">
                  <c:v>28.646999999999998</c:v>
                </c:pt>
                <c:pt idx="3">
                  <c:v>31.494800000000001</c:v>
                </c:pt>
                <c:pt idx="4">
                  <c:v>36.527700000000003</c:v>
                </c:pt>
                <c:pt idx="5">
                  <c:v>50.205800000000004</c:v>
                </c:pt>
                <c:pt idx="6">
                  <c:v>26.394300000000001</c:v>
                </c:pt>
                <c:pt idx="7">
                  <c:v>22.1768</c:v>
                </c:pt>
              </c:numCache>
            </c:numRef>
          </c:xVal>
          <c:yVal>
            <c:numRef>
              <c:f>Sheet1!$B$2:$B$9</c:f>
              <c:numCache>
                <c:formatCode>General</c:formatCode>
                <c:ptCount val="8"/>
                <c:pt idx="0">
                  <c:v>0.99</c:v>
                </c:pt>
                <c:pt idx="1">
                  <c:v>0.97499999999999998</c:v>
                </c:pt>
                <c:pt idx="2">
                  <c:v>0.95099999999999996</c:v>
                </c:pt>
                <c:pt idx="3">
                  <c:v>1.032</c:v>
                </c:pt>
                <c:pt idx="4">
                  <c:v>1.214</c:v>
                </c:pt>
                <c:pt idx="5">
                  <c:v>1.653</c:v>
                </c:pt>
                <c:pt idx="6">
                  <c:v>0.878</c:v>
                </c:pt>
                <c:pt idx="7">
                  <c:v>0.70399999999999996</c:v>
                </c:pt>
              </c:numCache>
            </c:numRef>
          </c:yVal>
          <c:bubbleSize>
            <c:numRef>
              <c:f>Sheet1!$C$2:$C$9</c:f>
              <c:numCache>
                <c:formatCode>General</c:formatCode>
                <c:ptCount val="8"/>
                <c:pt idx="0">
                  <c:v>11598081</c:v>
                </c:pt>
                <c:pt idx="1">
                  <c:v>3450576</c:v>
                </c:pt>
                <c:pt idx="2">
                  <c:v>3306117</c:v>
                </c:pt>
                <c:pt idx="3">
                  <c:v>3231524</c:v>
                </c:pt>
                <c:pt idx="4">
                  <c:v>2420106</c:v>
                </c:pt>
                <c:pt idx="5">
                  <c:v>2051560</c:v>
                </c:pt>
                <c:pt idx="6">
                  <c:v>1878563</c:v>
                </c:pt>
                <c:pt idx="7">
                  <c:v>1105137</c:v>
                </c:pt>
              </c:numCache>
            </c:numRef>
          </c:bubbleSize>
          <c:bubble3D val="0"/>
          <c:extLst>
            <c:ext xmlns:c15="http://schemas.microsoft.com/office/drawing/2012/chart" uri="{02D57815-91ED-43cb-92C2-25804820EDAC}">
              <c15:datalabelsRange>
                <c15:f>Sheet1!$E$2:$E$10</c15:f>
                <c15:dlblRangeCache>
                  <c:ptCount val="9"/>
                  <c:pt idx="0">
                    <c:v>Nicolas Feuillatte</c:v>
                  </c:pt>
                  <c:pt idx="1">
                    <c:v>Demoiselle</c:v>
                  </c:pt>
                  <c:pt idx="2">
                    <c:v>Canard Duchêne</c:v>
                  </c:pt>
                  <c:pt idx="3">
                    <c:v>Tsarine</c:v>
                  </c:pt>
                  <c:pt idx="4">
                    <c:v>Mumm</c:v>
                  </c:pt>
                  <c:pt idx="5">
                    <c:v>Moët &amp; Chandon</c:v>
                  </c:pt>
                  <c:pt idx="6">
                    <c:v>Alfred De Rothschild</c:v>
                  </c:pt>
                  <c:pt idx="7">
                    <c:v>De Castellan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0"/>
          <c:min val="1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853"/>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E4EF2FA-E783-455A-9381-64620938E48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F8CC03D-3283-456B-979B-64D1A173554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0402374-F065-4C9C-904D-95730C7F08D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6CB5271-2599-4F17-876C-154DC918A29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8667F52-3E08-4DD5-BD61-206FFA69D66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CCF0D9AC-E693-4B56-B707-7EE80D847DB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C8EDAD8-8FB9-4041-864A-F5ADA417641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7DE4262F-2BE4-4B9C-AA7E-772FCDBA276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89.978300000000004</c:v>
                </c:pt>
                <c:pt idx="1">
                  <c:v>51.580500000000001</c:v>
                </c:pt>
                <c:pt idx="2">
                  <c:v>37.562899999999999</c:v>
                </c:pt>
                <c:pt idx="3">
                  <c:v>26.687899999999999</c:v>
                </c:pt>
                <c:pt idx="4">
                  <c:v>80.448099999999997</c:v>
                </c:pt>
                <c:pt idx="5">
                  <c:v>37.557499999999997</c:v>
                </c:pt>
                <c:pt idx="6">
                  <c:v>40.275599999999997</c:v>
                </c:pt>
                <c:pt idx="7">
                  <c:v>35.996699999999997</c:v>
                </c:pt>
              </c:numCache>
            </c:numRef>
          </c:xVal>
          <c:yVal>
            <c:numRef>
              <c:f>Sheet1!$B$2:$B$9</c:f>
              <c:numCache>
                <c:formatCode>General</c:formatCode>
                <c:ptCount val="8"/>
                <c:pt idx="0">
                  <c:v>1.6459999999999999</c:v>
                </c:pt>
                <c:pt idx="1">
                  <c:v>1.054</c:v>
                </c:pt>
                <c:pt idx="2">
                  <c:v>0.66800000000000004</c:v>
                </c:pt>
                <c:pt idx="3">
                  <c:v>0.51300000000000001</c:v>
                </c:pt>
                <c:pt idx="4">
                  <c:v>1.43</c:v>
                </c:pt>
                <c:pt idx="5">
                  <c:v>0.66800000000000004</c:v>
                </c:pt>
                <c:pt idx="6">
                  <c:v>0.86699999999999999</c:v>
                </c:pt>
                <c:pt idx="7">
                  <c:v>0.64</c:v>
                </c:pt>
              </c:numCache>
            </c:numRef>
          </c:yVal>
          <c:bubbleSize>
            <c:numRef>
              <c:f>Sheet1!$C$2:$C$9</c:f>
              <c:numCache>
                <c:formatCode>General</c:formatCode>
                <c:ptCount val="8"/>
                <c:pt idx="0">
                  <c:v>480304</c:v>
                </c:pt>
                <c:pt idx="1">
                  <c:v>248876</c:v>
                </c:pt>
                <c:pt idx="2">
                  <c:v>192735</c:v>
                </c:pt>
                <c:pt idx="3">
                  <c:v>180357</c:v>
                </c:pt>
                <c:pt idx="4">
                  <c:v>149553</c:v>
                </c:pt>
                <c:pt idx="5">
                  <c:v>103471</c:v>
                </c:pt>
                <c:pt idx="6">
                  <c:v>96299</c:v>
                </c:pt>
                <c:pt idx="7">
                  <c:v>86320</c:v>
                </c:pt>
              </c:numCache>
            </c:numRef>
          </c:bubbleSize>
          <c:bubble3D val="0"/>
          <c:extLst>
            <c:ext xmlns:c15="http://schemas.microsoft.com/office/drawing/2012/chart" uri="{02D57815-91ED-43cb-92C2-25804820EDAC}">
              <c15:datalabelsRange>
                <c15:f>Sheet1!$E$2:$E$10</c15:f>
                <c15:dlblRangeCache>
                  <c:ptCount val="9"/>
                  <c:pt idx="0">
                    <c:v>Ruinart</c:v>
                  </c:pt>
                  <c:pt idx="1">
                    <c:v>Deutz</c:v>
                  </c:pt>
                  <c:pt idx="2">
                    <c:v>Demoiselle</c:v>
                  </c:pt>
                  <c:pt idx="3">
                    <c:v>Nicolas</c:v>
                  </c:pt>
                  <c:pt idx="4">
                    <c:v>Laurent Perrier</c:v>
                  </c:pt>
                  <c:pt idx="5">
                    <c:v>Nicolas Feuillatte</c:v>
                  </c:pt>
                  <c:pt idx="6">
                    <c:v>Besserat De Bellefon</c:v>
                  </c:pt>
                  <c:pt idx="7">
                    <c:v>Malard</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08"/>
          <c:min val="2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845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484BF3C-584C-46D9-B6D7-476D4AF5CB1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33D2282-EFA5-45E7-A715-A9DEE8EFFBB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7F2E50F-7C6D-4808-A5B3-76F5172ADB8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558C520-DABE-41EB-937D-671BAF6065B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365CD19-E3FD-47A0-9A20-A9FE102EF76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7C9ABF7-EB15-4C40-9ADA-99A467C8756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29779B7-5B9F-4F99-96DC-D83105B0B15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13266F16-5864-44CE-AE5C-06674B132A1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90.888499999999993</c:v>
                </c:pt>
                <c:pt idx="1">
                  <c:v>52.964500000000001</c:v>
                </c:pt>
                <c:pt idx="2">
                  <c:v>37.2455</c:v>
                </c:pt>
                <c:pt idx="3">
                  <c:v>26.510400000000001</c:v>
                </c:pt>
                <c:pt idx="4">
                  <c:v>81.043800000000005</c:v>
                </c:pt>
                <c:pt idx="5">
                  <c:v>37.565300000000001</c:v>
                </c:pt>
                <c:pt idx="6">
                  <c:v>41.234299999999998</c:v>
                </c:pt>
                <c:pt idx="7">
                  <c:v>36.067500000000003</c:v>
                </c:pt>
              </c:numCache>
            </c:numRef>
          </c:xVal>
          <c:yVal>
            <c:numRef>
              <c:f>Sheet1!$B$2:$B$9</c:f>
              <c:numCache>
                <c:formatCode>General</c:formatCode>
                <c:ptCount val="8"/>
                <c:pt idx="0">
                  <c:v>1.76</c:v>
                </c:pt>
                <c:pt idx="1">
                  <c:v>1.1359999999999999</c:v>
                </c:pt>
                <c:pt idx="2">
                  <c:v>0.71299999999999997</c:v>
                </c:pt>
                <c:pt idx="3">
                  <c:v>0.54100000000000004</c:v>
                </c:pt>
                <c:pt idx="4">
                  <c:v>1.5469999999999999</c:v>
                </c:pt>
                <c:pt idx="5">
                  <c:v>0.72099999999999997</c:v>
                </c:pt>
                <c:pt idx="6">
                  <c:v>0.93400000000000005</c:v>
                </c:pt>
                <c:pt idx="7">
                  <c:v>0.69499999999999995</c:v>
                </c:pt>
              </c:numCache>
            </c:numRef>
          </c:yVal>
          <c:bubbleSize>
            <c:numRef>
              <c:f>Sheet1!$C$2:$C$9</c:f>
              <c:numCache>
                <c:formatCode>General</c:formatCode>
                <c:ptCount val="8"/>
                <c:pt idx="0">
                  <c:v>262577</c:v>
                </c:pt>
                <c:pt idx="1">
                  <c:v>125314</c:v>
                </c:pt>
                <c:pt idx="2">
                  <c:v>109390</c:v>
                </c:pt>
                <c:pt idx="3">
                  <c:v>95729</c:v>
                </c:pt>
                <c:pt idx="4">
                  <c:v>68401</c:v>
                </c:pt>
                <c:pt idx="5">
                  <c:v>42261</c:v>
                </c:pt>
                <c:pt idx="6">
                  <c:v>40657</c:v>
                </c:pt>
                <c:pt idx="7">
                  <c:v>37943</c:v>
                </c:pt>
              </c:numCache>
            </c:numRef>
          </c:bubbleSize>
          <c:bubble3D val="0"/>
          <c:extLst>
            <c:ext xmlns:c15="http://schemas.microsoft.com/office/drawing/2012/chart" uri="{02D57815-91ED-43cb-92C2-25804820EDAC}">
              <c15:datalabelsRange>
                <c15:f>Sheet1!$E$2:$E$10</c15:f>
                <c15:dlblRangeCache>
                  <c:ptCount val="9"/>
                  <c:pt idx="0">
                    <c:v>Ruinart</c:v>
                  </c:pt>
                  <c:pt idx="1">
                    <c:v>Deutz</c:v>
                  </c:pt>
                  <c:pt idx="2">
                    <c:v>Demoiselle</c:v>
                  </c:pt>
                  <c:pt idx="3">
                    <c:v>Nicolas</c:v>
                  </c:pt>
                  <c:pt idx="4">
                    <c:v>Laurent Perrier</c:v>
                  </c:pt>
                  <c:pt idx="5">
                    <c:v>Nicolas Feuillatte</c:v>
                  </c:pt>
                  <c:pt idx="6">
                    <c:v>Besserat De Bellefon</c:v>
                  </c:pt>
                  <c:pt idx="7">
                    <c:v>Malard</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09"/>
          <c:min val="2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96"/>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FA48364-8523-41A5-9659-BBC1B09BA68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E0BEED8-E65D-47F0-9AAA-F6099EE8702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6EFFEBE-0579-4BD7-A1C9-7114658B338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7F742EC-28C4-45EC-9C12-70EDAE0B9F4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6CC9B43-60FE-49F4-A8BD-8FE753E14DF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AD052C3-0C39-47DF-90EF-0AB52C06A10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688449FD-C4E9-4F50-8580-88A7EF29384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4BEAF5CB-3C7D-4A83-AF8D-A4ADA5E6BD8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91.424999999999997</c:v>
                </c:pt>
                <c:pt idx="1">
                  <c:v>52.019799999999996</c:v>
                </c:pt>
                <c:pt idx="2">
                  <c:v>81.850300000000004</c:v>
                </c:pt>
                <c:pt idx="3">
                  <c:v>26.938700000000001</c:v>
                </c:pt>
                <c:pt idx="4">
                  <c:v>37.7181</c:v>
                </c:pt>
                <c:pt idx="5">
                  <c:v>37.875</c:v>
                </c:pt>
                <c:pt idx="6">
                  <c:v>41.338900000000002</c:v>
                </c:pt>
                <c:pt idx="7">
                  <c:v>51.2316</c:v>
                </c:pt>
              </c:numCache>
            </c:numRef>
          </c:xVal>
          <c:yVal>
            <c:numRef>
              <c:f>Sheet1!$B$2:$B$9</c:f>
              <c:numCache>
                <c:formatCode>General</c:formatCode>
                <c:ptCount val="8"/>
                <c:pt idx="0">
                  <c:v>1.6140000000000001</c:v>
                </c:pt>
                <c:pt idx="1">
                  <c:v>1.0329999999999999</c:v>
                </c:pt>
                <c:pt idx="2">
                  <c:v>1.4019999999999999</c:v>
                </c:pt>
                <c:pt idx="3">
                  <c:v>0.50600000000000001</c:v>
                </c:pt>
                <c:pt idx="4">
                  <c:v>0.64400000000000002</c:v>
                </c:pt>
                <c:pt idx="5">
                  <c:v>0.65300000000000002</c:v>
                </c:pt>
                <c:pt idx="6">
                  <c:v>0.85399999999999998</c:v>
                </c:pt>
                <c:pt idx="7">
                  <c:v>0.872</c:v>
                </c:pt>
              </c:numCache>
            </c:numRef>
          </c:yVal>
          <c:bubbleSize>
            <c:numRef>
              <c:f>Sheet1!$C$2:$C$9</c:f>
              <c:numCache>
                <c:formatCode>General</c:formatCode>
                <c:ptCount val="8"/>
                <c:pt idx="0">
                  <c:v>140703</c:v>
                </c:pt>
                <c:pt idx="1">
                  <c:v>71007</c:v>
                </c:pt>
                <c:pt idx="2">
                  <c:v>68345</c:v>
                </c:pt>
                <c:pt idx="3">
                  <c:v>42644</c:v>
                </c:pt>
                <c:pt idx="4">
                  <c:v>33720</c:v>
                </c:pt>
                <c:pt idx="5">
                  <c:v>32724</c:v>
                </c:pt>
                <c:pt idx="6">
                  <c:v>19884</c:v>
                </c:pt>
                <c:pt idx="7">
                  <c:v>18136</c:v>
                </c:pt>
              </c:numCache>
            </c:numRef>
          </c:bubbleSize>
          <c:bubble3D val="0"/>
          <c:extLst>
            <c:ext xmlns:c15="http://schemas.microsoft.com/office/drawing/2012/chart" uri="{02D57815-91ED-43cb-92C2-25804820EDAC}">
              <c15:datalabelsRange>
                <c15:f>Sheet1!$E$2:$E$10</c15:f>
                <c15:dlblRangeCache>
                  <c:ptCount val="9"/>
                  <c:pt idx="0">
                    <c:v>Ruinart</c:v>
                  </c:pt>
                  <c:pt idx="1">
                    <c:v>Deutz</c:v>
                  </c:pt>
                  <c:pt idx="2">
                    <c:v>Laurent Perrier</c:v>
                  </c:pt>
                  <c:pt idx="3">
                    <c:v>Nicolas</c:v>
                  </c:pt>
                  <c:pt idx="4">
                    <c:v>Nicolas Feuillatte</c:v>
                  </c:pt>
                  <c:pt idx="5">
                    <c:v>Demoiselle</c:v>
                  </c:pt>
                  <c:pt idx="6">
                    <c:v>Besserat De Bellefon</c:v>
                  </c:pt>
                  <c:pt idx="7">
                    <c:v>Pommer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10"/>
          <c:min val="2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8140000000000001"/>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A91EF56-1BC7-4CC8-8288-E7A075C7C7C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D8D660F-A1EA-46D3-A6F0-BDE073C0555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A87F32F-1320-4714-B8BF-6528873ADC2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7E31D65-93D6-4541-90DB-8D547270162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5E32EE8-C847-416F-9FCC-11D66E7F34B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F2F0D1C-CC6F-4C56-BF9A-419E5B7B901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E0CA527-EC14-4BD7-BBAB-C00A87F2878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843DC775-4964-4AFD-B3E7-C7148C3F959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91.372799999999998</c:v>
                </c:pt>
                <c:pt idx="1">
                  <c:v>644.48720000000003</c:v>
                </c:pt>
                <c:pt idx="2">
                  <c:v>53.254899999999999</c:v>
                </c:pt>
                <c:pt idx="3">
                  <c:v>80.4315</c:v>
                </c:pt>
                <c:pt idx="4">
                  <c:v>27.0364</c:v>
                </c:pt>
                <c:pt idx="5">
                  <c:v>38.076900000000002</c:v>
                </c:pt>
                <c:pt idx="6">
                  <c:v>634.11429999999996</c:v>
                </c:pt>
                <c:pt idx="7">
                  <c:v>37.879600000000003</c:v>
                </c:pt>
              </c:numCache>
            </c:numRef>
          </c:xVal>
          <c:yVal>
            <c:numRef>
              <c:f>Sheet1!$B$2:$B$9</c:f>
              <c:numCache>
                <c:formatCode>General</c:formatCode>
                <c:ptCount val="8"/>
                <c:pt idx="0">
                  <c:v>1.355</c:v>
                </c:pt>
                <c:pt idx="1">
                  <c:v>8.3819999999999997</c:v>
                </c:pt>
                <c:pt idx="2">
                  <c:v>0.85899999999999999</c:v>
                </c:pt>
                <c:pt idx="3">
                  <c:v>1.1399999999999999</c:v>
                </c:pt>
                <c:pt idx="4">
                  <c:v>0.40899999999999997</c:v>
                </c:pt>
                <c:pt idx="5">
                  <c:v>0.53700000000000003</c:v>
                </c:pt>
                <c:pt idx="6">
                  <c:v>9.4730000000000008</c:v>
                </c:pt>
                <c:pt idx="7">
                  <c:v>0.53500000000000003</c:v>
                </c:pt>
              </c:numCache>
            </c:numRef>
          </c:yVal>
          <c:bubbleSize>
            <c:numRef>
              <c:f>Sheet1!$C$2:$C$9</c:f>
              <c:numCache>
                <c:formatCode>General</c:formatCode>
                <c:ptCount val="8"/>
                <c:pt idx="0">
                  <c:v>111018</c:v>
                </c:pt>
                <c:pt idx="1">
                  <c:v>50270</c:v>
                </c:pt>
                <c:pt idx="2">
                  <c:v>43882</c:v>
                </c:pt>
                <c:pt idx="3">
                  <c:v>38768</c:v>
                </c:pt>
                <c:pt idx="4">
                  <c:v>26712</c:v>
                </c:pt>
                <c:pt idx="5">
                  <c:v>24750</c:v>
                </c:pt>
                <c:pt idx="6">
                  <c:v>22194</c:v>
                </c:pt>
                <c:pt idx="7">
                  <c:v>19508</c:v>
                </c:pt>
              </c:numCache>
            </c:numRef>
          </c:bubbleSize>
          <c:bubble3D val="0"/>
          <c:extLst>
            <c:ext xmlns:c15="http://schemas.microsoft.com/office/drawing/2012/chart" uri="{02D57815-91ED-43cb-92C2-25804820EDAC}">
              <c15:datalabelsRange>
                <c15:f>Sheet1!$E$2:$E$10</c15:f>
                <c15:dlblRangeCache>
                  <c:ptCount val="9"/>
                  <c:pt idx="0">
                    <c:v>Ruinart</c:v>
                  </c:pt>
                  <c:pt idx="1">
                    <c:v>Roederer</c:v>
                  </c:pt>
                  <c:pt idx="2">
                    <c:v>Deutz</c:v>
                  </c:pt>
                  <c:pt idx="3">
                    <c:v>Laurent Perrier</c:v>
                  </c:pt>
                  <c:pt idx="4">
                    <c:v>Nicolas</c:v>
                  </c:pt>
                  <c:pt idx="5">
                    <c:v>Demoiselle</c:v>
                  </c:pt>
                  <c:pt idx="6">
                    <c:v>Dom Perignon</c:v>
                  </c:pt>
                  <c:pt idx="7">
                    <c:v>Nicolas Feuillatt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73"/>
          <c:min val="2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9.673"/>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DC8A2DC-C439-4D66-B4BE-3E4A1EB7AA9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B362A0E-1D09-430C-85C6-1425F5D6C07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76DFF0D-1B7B-4AB5-82A3-79E9FBC6242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690DA75-20C8-43F6-AD5B-31A41A9BB06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ECD8EFA-F474-4337-8321-FB5C88714CE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7EBFA80-80D9-4C69-A706-0AB2B6420B5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51CC1227-307A-4D32-8DCD-85D7D3368AA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1EBAA9A8-7D58-4977-91A1-F51F3846EEB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94.533199999999994</c:v>
                </c:pt>
                <c:pt idx="1">
                  <c:v>56.6633</c:v>
                </c:pt>
                <c:pt idx="2">
                  <c:v>37.4512</c:v>
                </c:pt>
                <c:pt idx="3">
                  <c:v>27.365200000000002</c:v>
                </c:pt>
                <c:pt idx="4">
                  <c:v>82.421099999999996</c:v>
                </c:pt>
                <c:pt idx="5">
                  <c:v>38.498600000000003</c:v>
                </c:pt>
                <c:pt idx="6">
                  <c:v>42.989699999999999</c:v>
                </c:pt>
                <c:pt idx="7">
                  <c:v>37.436</c:v>
                </c:pt>
              </c:numCache>
            </c:numRef>
          </c:xVal>
          <c:yVal>
            <c:numRef>
              <c:f>Sheet1!$B$2:$B$9</c:f>
              <c:numCache>
                <c:formatCode>General</c:formatCode>
                <c:ptCount val="8"/>
                <c:pt idx="0">
                  <c:v>1.633</c:v>
                </c:pt>
                <c:pt idx="1">
                  <c:v>1.0780000000000001</c:v>
                </c:pt>
                <c:pt idx="2">
                  <c:v>0.64200000000000002</c:v>
                </c:pt>
                <c:pt idx="3">
                  <c:v>0.49299999999999999</c:v>
                </c:pt>
                <c:pt idx="4">
                  <c:v>1.3740000000000001</c:v>
                </c:pt>
                <c:pt idx="5">
                  <c:v>0.66900000000000004</c:v>
                </c:pt>
                <c:pt idx="6">
                  <c:v>0.85</c:v>
                </c:pt>
                <c:pt idx="7">
                  <c:v>0.63500000000000001</c:v>
                </c:pt>
              </c:numCache>
            </c:numRef>
          </c:yVal>
          <c:bubbleSize>
            <c:numRef>
              <c:f>Sheet1!$C$2:$C$9</c:f>
              <c:numCache>
                <c:formatCode>General</c:formatCode>
                <c:ptCount val="8"/>
                <c:pt idx="0">
                  <c:v>89712</c:v>
                </c:pt>
                <c:pt idx="1">
                  <c:v>39381</c:v>
                </c:pt>
                <c:pt idx="2">
                  <c:v>27639</c:v>
                </c:pt>
                <c:pt idx="3">
                  <c:v>19484</c:v>
                </c:pt>
                <c:pt idx="4">
                  <c:v>18792</c:v>
                </c:pt>
                <c:pt idx="5">
                  <c:v>13744</c:v>
                </c:pt>
                <c:pt idx="6">
                  <c:v>8340</c:v>
                </c:pt>
                <c:pt idx="7">
                  <c:v>7899</c:v>
                </c:pt>
              </c:numCache>
            </c:numRef>
          </c:bubbleSize>
          <c:bubble3D val="0"/>
          <c:extLst>
            <c:ext xmlns:c15="http://schemas.microsoft.com/office/drawing/2012/chart" uri="{02D57815-91ED-43cb-92C2-25804820EDAC}">
              <c15:datalabelsRange>
                <c15:f>Sheet1!$E$2:$E$10</c15:f>
                <c15:dlblRangeCache>
                  <c:ptCount val="9"/>
                  <c:pt idx="0">
                    <c:v>Ruinart</c:v>
                  </c:pt>
                  <c:pt idx="1">
                    <c:v>Deutz</c:v>
                  </c:pt>
                  <c:pt idx="2">
                    <c:v>Demoiselle</c:v>
                  </c:pt>
                  <c:pt idx="3">
                    <c:v>Nicolas</c:v>
                  </c:pt>
                  <c:pt idx="4">
                    <c:v>Laurent Perrier</c:v>
                  </c:pt>
                  <c:pt idx="5">
                    <c:v>Nicolas Feuillatte</c:v>
                  </c:pt>
                  <c:pt idx="6">
                    <c:v>Besserat De Bellefon</c:v>
                  </c:pt>
                  <c:pt idx="7">
                    <c:v>Malard</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13"/>
          <c:min val="2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833"/>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2932A73-F37E-44DA-A15E-83293B43E5F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68D14C8-2366-40C9-B160-227341F87CB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1D8300D-C752-4655-8162-B5FBB15D4AE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2F95A5E-10A8-44F0-B23E-3944089F650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EA5EBC3-37E5-4B4B-B3EB-15182786E44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2066B36-3BD0-4BA0-9F99-27F072D9B08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1087B939-0B11-459A-B85F-2F13FE76479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3A021C58-9200-4FDD-BA6F-04EF66B6209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90.459900000000005</c:v>
                </c:pt>
                <c:pt idx="1">
                  <c:v>52.298299999999998</c:v>
                </c:pt>
                <c:pt idx="2">
                  <c:v>37.457799999999999</c:v>
                </c:pt>
                <c:pt idx="3">
                  <c:v>26.686</c:v>
                </c:pt>
                <c:pt idx="4">
                  <c:v>80.477099999999993</c:v>
                </c:pt>
                <c:pt idx="5">
                  <c:v>37.464500000000001</c:v>
                </c:pt>
                <c:pt idx="6">
                  <c:v>40.722099999999998</c:v>
                </c:pt>
                <c:pt idx="7">
                  <c:v>36.009099999999997</c:v>
                </c:pt>
              </c:numCache>
            </c:numRef>
          </c:xVal>
          <c:yVal>
            <c:numRef>
              <c:f>Sheet1!$B$2:$B$9</c:f>
              <c:numCache>
                <c:formatCode>General</c:formatCode>
                <c:ptCount val="8"/>
                <c:pt idx="0">
                  <c:v>1.6060000000000001</c:v>
                </c:pt>
                <c:pt idx="1">
                  <c:v>1.0249999999999999</c:v>
                </c:pt>
                <c:pt idx="2">
                  <c:v>0.64900000000000002</c:v>
                </c:pt>
                <c:pt idx="3">
                  <c:v>0.499</c:v>
                </c:pt>
                <c:pt idx="4">
                  <c:v>1.393</c:v>
                </c:pt>
                <c:pt idx="5">
                  <c:v>0.64900000000000002</c:v>
                </c:pt>
                <c:pt idx="6">
                  <c:v>0.83799999999999997</c:v>
                </c:pt>
                <c:pt idx="7">
                  <c:v>0.624</c:v>
                </c:pt>
              </c:numCache>
            </c:numRef>
          </c:yVal>
          <c:bubbleSize>
            <c:numRef>
              <c:f>Sheet1!$C$2:$C$9</c:f>
              <c:numCache>
                <c:formatCode>General</c:formatCode>
                <c:ptCount val="8"/>
                <c:pt idx="0">
                  <c:v>846795</c:v>
                </c:pt>
                <c:pt idx="1">
                  <c:v>409757</c:v>
                </c:pt>
                <c:pt idx="2">
                  <c:v>299063</c:v>
                </c:pt>
                <c:pt idx="3">
                  <c:v>268461</c:v>
                </c:pt>
                <c:pt idx="4">
                  <c:v>258734</c:v>
                </c:pt>
                <c:pt idx="5">
                  <c:v>163645</c:v>
                </c:pt>
                <c:pt idx="6">
                  <c:v>140369</c:v>
                </c:pt>
                <c:pt idx="7">
                  <c:v>130497</c:v>
                </c:pt>
              </c:numCache>
            </c:numRef>
          </c:bubbleSize>
          <c:bubble3D val="0"/>
          <c:extLst>
            <c:ext xmlns:c15="http://schemas.microsoft.com/office/drawing/2012/chart" uri="{02D57815-91ED-43cb-92C2-25804820EDAC}">
              <c15:datalabelsRange>
                <c15:f>Sheet1!$E$2:$E$10</c15:f>
                <c15:dlblRangeCache>
                  <c:ptCount val="9"/>
                  <c:pt idx="0">
                    <c:v>Ruinart</c:v>
                  </c:pt>
                  <c:pt idx="1">
                    <c:v>Deutz</c:v>
                  </c:pt>
                  <c:pt idx="2">
                    <c:v>Demoiselle</c:v>
                  </c:pt>
                  <c:pt idx="3">
                    <c:v>Nicolas</c:v>
                  </c:pt>
                  <c:pt idx="4">
                    <c:v>Laurent Perrier</c:v>
                  </c:pt>
                  <c:pt idx="5">
                    <c:v>Nicolas Feuillatte</c:v>
                  </c:pt>
                  <c:pt idx="6">
                    <c:v>Besserat De Bellefon</c:v>
                  </c:pt>
                  <c:pt idx="7">
                    <c:v>Malard</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09"/>
          <c:min val="2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806"/>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4DF0286A-56D7-4639-BB63-6B7016B3279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53F27A38-8C11-438B-9A38-F673906915F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BFCD8862-70DB-4FEA-9544-E6CBD0B96BD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60359313-CFDA-4323-8982-62D26C887D6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D9AE3954-58A3-42E9-9BED-E76DC19BDA4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FB7F03D9-9C41-4594-B37D-A3DC345ACE0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B865B05D-32EF-49B7-B79D-AB3226591AA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0B98D078-A65B-4EA0-AF8E-472B846720A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11.437099999999999</c:v>
                </c:pt>
                <c:pt idx="1">
                  <c:v>12.776999999999999</c:v>
                </c:pt>
                <c:pt idx="2">
                  <c:v>17.389700000000001</c:v>
                </c:pt>
                <c:pt idx="3">
                  <c:v>9.0905000000000005</c:v>
                </c:pt>
                <c:pt idx="4">
                  <c:v>11.3963</c:v>
                </c:pt>
                <c:pt idx="5">
                  <c:v>11.78</c:v>
                </c:pt>
                <c:pt idx="6">
                  <c:v>13.4511</c:v>
                </c:pt>
                <c:pt idx="7">
                  <c:v>5.7374999999999998</c:v>
                </c:pt>
              </c:numCache>
            </c:numRef>
          </c:xVal>
          <c:yVal>
            <c:numRef>
              <c:f>Sheet1!$B$2:$B$9</c:f>
              <c:numCache>
                <c:formatCode>General</c:formatCode>
                <c:ptCount val="8"/>
                <c:pt idx="0">
                  <c:v>1.079</c:v>
                </c:pt>
                <c:pt idx="1">
                  <c:v>1.206</c:v>
                </c:pt>
                <c:pt idx="2">
                  <c:v>1.641</c:v>
                </c:pt>
                <c:pt idx="3">
                  <c:v>0.85699999999999998</c:v>
                </c:pt>
                <c:pt idx="4">
                  <c:v>1.075</c:v>
                </c:pt>
                <c:pt idx="5">
                  <c:v>1.0640000000000001</c:v>
                </c:pt>
                <c:pt idx="6">
                  <c:v>1.2689999999999999</c:v>
                </c:pt>
                <c:pt idx="7">
                  <c:v>0.54100000000000004</c:v>
                </c:pt>
              </c:numCache>
            </c:numRef>
          </c:yVal>
          <c:bubbleSize>
            <c:numRef>
              <c:f>Sheet1!$C$2:$C$9</c:f>
              <c:numCache>
                <c:formatCode>General</c:formatCode>
                <c:ptCount val="8"/>
                <c:pt idx="0">
                  <c:v>428822</c:v>
                </c:pt>
                <c:pt idx="1">
                  <c:v>352518</c:v>
                </c:pt>
                <c:pt idx="2">
                  <c:v>237909</c:v>
                </c:pt>
                <c:pt idx="3">
                  <c:v>237189</c:v>
                </c:pt>
                <c:pt idx="4">
                  <c:v>224598</c:v>
                </c:pt>
                <c:pt idx="5">
                  <c:v>209943</c:v>
                </c:pt>
                <c:pt idx="6">
                  <c:v>122782</c:v>
                </c:pt>
                <c:pt idx="7">
                  <c:v>62527</c:v>
                </c:pt>
              </c:numCache>
            </c:numRef>
          </c:bubbleSize>
          <c:bubble3D val="0"/>
          <c:extLst>
            <c:ext xmlns:c15="http://schemas.microsoft.com/office/drawing/2012/chart" uri="{02D57815-91ED-43cb-92C2-25804820EDAC}">
              <c15:datalabelsRange>
                <c15:f>Sheet1!$E$2:$E$10</c15:f>
                <c15:dlblRangeCache>
                  <c:ptCount val="9"/>
                  <c:pt idx="0">
                    <c:v>Bottega</c:v>
                  </c:pt>
                  <c:pt idx="1">
                    <c:v>Patriarche</c:v>
                  </c:pt>
                  <c:pt idx="2">
                    <c:v>Mure</c:v>
                  </c:pt>
                  <c:pt idx="3">
                    <c:v>Savian</c:v>
                  </c:pt>
                  <c:pt idx="4">
                    <c:v>Chateau Moncontour</c:v>
                  </c:pt>
                  <c:pt idx="5">
                    <c:v>Bouvet-Ladubay</c:v>
                  </c:pt>
                  <c:pt idx="6">
                    <c:v>De Chanceny</c:v>
                  </c:pt>
                  <c:pt idx="7">
                    <c:v>Kriter</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
          <c:min val="5"/>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AB1A78D-96F0-4715-A351-DD7C68FD619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FA91455-21B6-4A72-A05A-AFE7B230699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474AD89-5331-435D-95DD-7AF40FEE745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206D16A-B36F-4194-9267-07AE2E34CB3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FC1FA4C-30EE-4397-8322-8514563ED72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7D8F265-3F0E-4DB8-8C64-52E09CCDDDC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3B1A868D-A4CA-4791-9D97-42C8C8E0FFD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91DCD5B9-8A61-45BE-96F4-9A68DA7BCBD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93.240300000000005</c:v>
                </c:pt>
                <c:pt idx="1">
                  <c:v>81.262900000000002</c:v>
                </c:pt>
                <c:pt idx="2">
                  <c:v>53.312800000000003</c:v>
                </c:pt>
                <c:pt idx="3">
                  <c:v>27.181899999999999</c:v>
                </c:pt>
                <c:pt idx="4">
                  <c:v>37.2483</c:v>
                </c:pt>
                <c:pt idx="5">
                  <c:v>37.9467</c:v>
                </c:pt>
                <c:pt idx="6">
                  <c:v>50.933100000000003</c:v>
                </c:pt>
                <c:pt idx="7">
                  <c:v>41.847900000000003</c:v>
                </c:pt>
              </c:numCache>
            </c:numRef>
          </c:xVal>
          <c:yVal>
            <c:numRef>
              <c:f>Sheet1!$B$2:$B$9</c:f>
              <c:numCache>
                <c:formatCode>General</c:formatCode>
                <c:ptCount val="8"/>
                <c:pt idx="0">
                  <c:v>1.6</c:v>
                </c:pt>
                <c:pt idx="1">
                  <c:v>1.4039999999999999</c:v>
                </c:pt>
                <c:pt idx="2">
                  <c:v>1.024</c:v>
                </c:pt>
                <c:pt idx="3">
                  <c:v>0.48799999999999999</c:v>
                </c:pt>
                <c:pt idx="4">
                  <c:v>0.63500000000000001</c:v>
                </c:pt>
                <c:pt idx="5">
                  <c:v>0.65400000000000003</c:v>
                </c:pt>
                <c:pt idx="6">
                  <c:v>0.85899999999999999</c:v>
                </c:pt>
                <c:pt idx="7">
                  <c:v>0.83299999999999996</c:v>
                </c:pt>
              </c:numCache>
            </c:numRef>
          </c:yVal>
          <c:bubbleSize>
            <c:numRef>
              <c:f>Sheet1!$C$2:$C$9</c:f>
              <c:numCache>
                <c:formatCode>General</c:formatCode>
                <c:ptCount val="8"/>
                <c:pt idx="0">
                  <c:v>165688</c:v>
                </c:pt>
                <c:pt idx="1">
                  <c:v>63060</c:v>
                </c:pt>
                <c:pt idx="2">
                  <c:v>58964</c:v>
                </c:pt>
                <c:pt idx="3">
                  <c:v>44823</c:v>
                </c:pt>
                <c:pt idx="4">
                  <c:v>43655</c:v>
                </c:pt>
                <c:pt idx="5">
                  <c:v>23489</c:v>
                </c:pt>
                <c:pt idx="6">
                  <c:v>18285</c:v>
                </c:pt>
                <c:pt idx="7">
                  <c:v>16237</c:v>
                </c:pt>
              </c:numCache>
            </c:numRef>
          </c:bubbleSize>
          <c:bubble3D val="0"/>
          <c:extLst>
            <c:ext xmlns:c15="http://schemas.microsoft.com/office/drawing/2012/chart" uri="{02D57815-91ED-43cb-92C2-25804820EDAC}">
              <c15:datalabelsRange>
                <c15:f>Sheet1!$E$2:$E$10</c15:f>
                <c15:dlblRangeCache>
                  <c:ptCount val="9"/>
                  <c:pt idx="0">
                    <c:v>Ruinart</c:v>
                  </c:pt>
                  <c:pt idx="1">
                    <c:v>Laurent Perrier</c:v>
                  </c:pt>
                  <c:pt idx="2">
                    <c:v>Deutz</c:v>
                  </c:pt>
                  <c:pt idx="3">
                    <c:v>Nicolas</c:v>
                  </c:pt>
                  <c:pt idx="4">
                    <c:v>Demoiselle</c:v>
                  </c:pt>
                  <c:pt idx="5">
                    <c:v>Nicolas Feuillatte</c:v>
                  </c:pt>
                  <c:pt idx="6">
                    <c:v>Pommery</c:v>
                  </c:pt>
                  <c:pt idx="7">
                    <c:v>Besserat De Bellefo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12"/>
          <c:min val="2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8"/>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72E5413-5D43-4D67-9EA8-FAFE48B48CA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A5FD2BE-0467-4A57-8046-5940FEF20E1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D810D75-626F-40D1-8A1B-2A60137D4A9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52F9502-A985-417C-A1F1-54550FE30BD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07F3DBA-D1B2-41B6-A336-79F18910DD5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29197A0-F49C-4C7A-8425-58ED7343639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3C03BCEC-FA11-479B-B220-9217F3C68A0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7B7C050C-375C-4958-90F2-C3F576D5AF4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93.163300000000007</c:v>
                </c:pt>
                <c:pt idx="1">
                  <c:v>55.341099999999997</c:v>
                </c:pt>
                <c:pt idx="2">
                  <c:v>27.214600000000001</c:v>
                </c:pt>
                <c:pt idx="3">
                  <c:v>82.220100000000002</c:v>
                </c:pt>
                <c:pt idx="4">
                  <c:v>37.666699999999999</c:v>
                </c:pt>
                <c:pt idx="5">
                  <c:v>38.341000000000001</c:v>
                </c:pt>
                <c:pt idx="6">
                  <c:v>42.3598</c:v>
                </c:pt>
                <c:pt idx="7">
                  <c:v>51.7834</c:v>
                </c:pt>
              </c:numCache>
            </c:numRef>
          </c:xVal>
          <c:yVal>
            <c:numRef>
              <c:f>Sheet1!$B$2:$B$9</c:f>
              <c:numCache>
                <c:formatCode>General</c:formatCode>
                <c:ptCount val="8"/>
                <c:pt idx="0">
                  <c:v>1.6890000000000001</c:v>
                </c:pt>
                <c:pt idx="1">
                  <c:v>1.1259999999999999</c:v>
                </c:pt>
                <c:pt idx="2">
                  <c:v>0.52200000000000002</c:v>
                </c:pt>
                <c:pt idx="3">
                  <c:v>1.4670000000000001</c:v>
                </c:pt>
                <c:pt idx="4">
                  <c:v>0.67900000000000005</c:v>
                </c:pt>
                <c:pt idx="5">
                  <c:v>0.69199999999999995</c:v>
                </c:pt>
                <c:pt idx="6">
                  <c:v>0.92</c:v>
                </c:pt>
                <c:pt idx="7">
                  <c:v>0.92</c:v>
                </c:pt>
              </c:numCache>
            </c:numRef>
          </c:yVal>
          <c:bubbleSize>
            <c:numRef>
              <c:f>Sheet1!$C$2:$C$9</c:f>
              <c:numCache>
                <c:formatCode>General</c:formatCode>
                <c:ptCount val="8"/>
                <c:pt idx="0">
                  <c:v>77605</c:v>
                </c:pt>
                <c:pt idx="1">
                  <c:v>40399</c:v>
                </c:pt>
                <c:pt idx="2">
                  <c:v>26507</c:v>
                </c:pt>
                <c:pt idx="3">
                  <c:v>22035</c:v>
                </c:pt>
                <c:pt idx="4">
                  <c:v>20340</c:v>
                </c:pt>
                <c:pt idx="5">
                  <c:v>16755</c:v>
                </c:pt>
                <c:pt idx="6">
                  <c:v>11183</c:v>
                </c:pt>
                <c:pt idx="7">
                  <c:v>8130</c:v>
                </c:pt>
              </c:numCache>
            </c:numRef>
          </c:bubbleSize>
          <c:bubble3D val="0"/>
          <c:extLst>
            <c:ext xmlns:c15="http://schemas.microsoft.com/office/drawing/2012/chart" uri="{02D57815-91ED-43cb-92C2-25804820EDAC}">
              <c15:datalabelsRange>
                <c15:f>Sheet1!$E$2:$E$10</c15:f>
                <c15:dlblRangeCache>
                  <c:ptCount val="9"/>
                  <c:pt idx="0">
                    <c:v>Ruinart</c:v>
                  </c:pt>
                  <c:pt idx="1">
                    <c:v>Deutz</c:v>
                  </c:pt>
                  <c:pt idx="2">
                    <c:v>Nicolas</c:v>
                  </c:pt>
                  <c:pt idx="3">
                    <c:v>Laurent Perrier</c:v>
                  </c:pt>
                  <c:pt idx="4">
                    <c:v>Demoiselle</c:v>
                  </c:pt>
                  <c:pt idx="5">
                    <c:v>Nicolas Feuillatte</c:v>
                  </c:pt>
                  <c:pt idx="6">
                    <c:v>Besserat De Bellefon</c:v>
                  </c:pt>
                  <c:pt idx="7">
                    <c:v>Pommer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12"/>
          <c:min val="2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88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EE25E6B-7EDD-4DA8-A12A-AAEB1AB4524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E466502-E9C5-4454-8189-854494E6E61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627E46E-46DD-449E-B0DE-6AFE985D250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90B5D48-9129-4307-BDFF-2C2A1BE8CF9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6A3D61A-4253-4CC7-881B-DA8789AC460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BF36321-9E47-47B4-9A79-73F6A87E2FD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37861CAB-429A-46A1-B50E-33D0F19F9F0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6D518EE4-7DBE-4293-B61B-9051225CF62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91.431899999999999</c:v>
                </c:pt>
                <c:pt idx="1">
                  <c:v>53.874099999999999</c:v>
                </c:pt>
                <c:pt idx="2">
                  <c:v>26.968</c:v>
                </c:pt>
                <c:pt idx="3">
                  <c:v>38.4514</c:v>
                </c:pt>
                <c:pt idx="4">
                  <c:v>83.289900000000003</c:v>
                </c:pt>
                <c:pt idx="5">
                  <c:v>46.578899999999997</c:v>
                </c:pt>
                <c:pt idx="6">
                  <c:v>37.1111</c:v>
                </c:pt>
                <c:pt idx="7">
                  <c:v>52.4298</c:v>
                </c:pt>
              </c:numCache>
            </c:numRef>
          </c:xVal>
          <c:yVal>
            <c:numRef>
              <c:f>Sheet1!$B$2:$B$9</c:f>
              <c:numCache>
                <c:formatCode>General</c:formatCode>
                <c:ptCount val="8"/>
                <c:pt idx="0">
                  <c:v>1.77</c:v>
                </c:pt>
                <c:pt idx="1">
                  <c:v>1.131</c:v>
                </c:pt>
                <c:pt idx="2">
                  <c:v>0.53300000000000003</c:v>
                </c:pt>
                <c:pt idx="3">
                  <c:v>0.71599999999999997</c:v>
                </c:pt>
                <c:pt idx="4">
                  <c:v>1.552</c:v>
                </c:pt>
                <c:pt idx="5">
                  <c:v>0.93400000000000005</c:v>
                </c:pt>
                <c:pt idx="6">
                  <c:v>0.70199999999999996</c:v>
                </c:pt>
                <c:pt idx="7">
                  <c:v>0.97599999999999998</c:v>
                </c:pt>
              </c:numCache>
            </c:numRef>
          </c:yVal>
          <c:bubbleSize>
            <c:numRef>
              <c:f>Sheet1!$C$2:$C$9</c:f>
              <c:numCache>
                <c:formatCode>General</c:formatCode>
                <c:ptCount val="8"/>
                <c:pt idx="0">
                  <c:v>39590</c:v>
                </c:pt>
                <c:pt idx="1">
                  <c:v>22681</c:v>
                </c:pt>
                <c:pt idx="2">
                  <c:v>15156</c:v>
                </c:pt>
                <c:pt idx="3">
                  <c:v>12266</c:v>
                </c:pt>
                <c:pt idx="4">
                  <c:v>11494</c:v>
                </c:pt>
                <c:pt idx="5">
                  <c:v>7965</c:v>
                </c:pt>
                <c:pt idx="6">
                  <c:v>7014</c:v>
                </c:pt>
                <c:pt idx="7">
                  <c:v>6344</c:v>
                </c:pt>
              </c:numCache>
            </c:numRef>
          </c:bubbleSize>
          <c:bubble3D val="0"/>
          <c:extLst>
            <c:ext xmlns:c15="http://schemas.microsoft.com/office/drawing/2012/chart" uri="{02D57815-91ED-43cb-92C2-25804820EDAC}">
              <c15:datalabelsRange>
                <c15:f>Sheet1!$E$2:$E$10</c15:f>
                <c15:dlblRangeCache>
                  <c:ptCount val="9"/>
                  <c:pt idx="0">
                    <c:v>Ruinart</c:v>
                  </c:pt>
                  <c:pt idx="1">
                    <c:v>Deutz</c:v>
                  </c:pt>
                  <c:pt idx="2">
                    <c:v>Nicolas</c:v>
                  </c:pt>
                  <c:pt idx="3">
                    <c:v>Demoiselle</c:v>
                  </c:pt>
                  <c:pt idx="4">
                    <c:v>Laurent Perrier</c:v>
                  </c:pt>
                  <c:pt idx="5">
                    <c:v>Besserat De Bellefon</c:v>
                  </c:pt>
                  <c:pt idx="6">
                    <c:v>Malard</c:v>
                  </c:pt>
                  <c:pt idx="7">
                    <c:v>Pommer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10"/>
          <c:min val="2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97"/>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4DE0F83-8EF3-4280-8C97-34D658180F7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683BA40-3C9D-425B-9EB2-609CAC503BD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27AEEF3-4D1A-4C7F-99CF-D15881493A5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F0CE7C7-B0E6-4BFF-8C2D-5203DA75CD5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9D4443D-660E-45E9-9EB0-AECA8587870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1A28A0E-C849-44EC-A3CF-CB82738892C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60FF0D23-62DD-4C91-ABCF-22CA622BA35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BEE65999-9492-4BE1-93BF-372DADE9A37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94.599299999999999</c:v>
                </c:pt>
                <c:pt idx="1">
                  <c:v>58.336399999999998</c:v>
                </c:pt>
                <c:pt idx="2">
                  <c:v>25.557099999999998</c:v>
                </c:pt>
                <c:pt idx="3">
                  <c:v>37.690100000000001</c:v>
                </c:pt>
                <c:pt idx="4">
                  <c:v>84.796300000000002</c:v>
                </c:pt>
                <c:pt idx="5">
                  <c:v>35.964500000000001</c:v>
                </c:pt>
                <c:pt idx="6">
                  <c:v>37.8874</c:v>
                </c:pt>
                <c:pt idx="7">
                  <c:v>52.653799999999997</c:v>
                </c:pt>
              </c:numCache>
            </c:numRef>
          </c:xVal>
          <c:yVal>
            <c:numRef>
              <c:f>Sheet1!$B$2:$B$9</c:f>
              <c:numCache>
                <c:formatCode>General</c:formatCode>
                <c:ptCount val="8"/>
                <c:pt idx="0">
                  <c:v>1.92</c:v>
                </c:pt>
                <c:pt idx="1">
                  <c:v>1.36</c:v>
                </c:pt>
                <c:pt idx="2">
                  <c:v>0.55500000000000005</c:v>
                </c:pt>
                <c:pt idx="3">
                  <c:v>0.78700000000000003</c:v>
                </c:pt>
                <c:pt idx="4">
                  <c:v>1.655</c:v>
                </c:pt>
                <c:pt idx="5">
                  <c:v>0.749</c:v>
                </c:pt>
                <c:pt idx="6">
                  <c:v>0.72899999999999998</c:v>
                </c:pt>
                <c:pt idx="7">
                  <c:v>1.0640000000000001</c:v>
                </c:pt>
              </c:numCache>
            </c:numRef>
          </c:yVal>
          <c:bubbleSize>
            <c:numRef>
              <c:f>Sheet1!$C$2:$C$9</c:f>
              <c:numCache>
                <c:formatCode>General</c:formatCode>
                <c:ptCount val="8"/>
                <c:pt idx="0">
                  <c:v>26677</c:v>
                </c:pt>
                <c:pt idx="1">
                  <c:v>19076</c:v>
                </c:pt>
                <c:pt idx="2">
                  <c:v>18810</c:v>
                </c:pt>
                <c:pt idx="3">
                  <c:v>11797</c:v>
                </c:pt>
                <c:pt idx="4">
                  <c:v>9158</c:v>
                </c:pt>
                <c:pt idx="5">
                  <c:v>7085</c:v>
                </c:pt>
                <c:pt idx="6">
                  <c:v>5721</c:v>
                </c:pt>
                <c:pt idx="7">
                  <c:v>5476</c:v>
                </c:pt>
              </c:numCache>
            </c:numRef>
          </c:bubbleSize>
          <c:bubble3D val="0"/>
          <c:extLst>
            <c:ext xmlns:c15="http://schemas.microsoft.com/office/drawing/2012/chart" uri="{02D57815-91ED-43cb-92C2-25804820EDAC}">
              <c15:datalabelsRange>
                <c15:f>Sheet1!$E$2:$E$10</c15:f>
                <c15:dlblRangeCache>
                  <c:ptCount val="9"/>
                  <c:pt idx="0">
                    <c:v>Ruinart</c:v>
                  </c:pt>
                  <c:pt idx="1">
                    <c:v>Deutz</c:v>
                  </c:pt>
                  <c:pt idx="2">
                    <c:v>Nicolas</c:v>
                  </c:pt>
                  <c:pt idx="3">
                    <c:v>Demoiselle</c:v>
                  </c:pt>
                  <c:pt idx="4">
                    <c:v>Laurent Perrier</c:v>
                  </c:pt>
                  <c:pt idx="5">
                    <c:v>Malard</c:v>
                  </c:pt>
                  <c:pt idx="6">
                    <c:v>Nicolas Feuillatte</c:v>
                  </c:pt>
                  <c:pt idx="7">
                    <c:v>Pommer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14"/>
          <c:min val="2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12"/>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5DBC1C7-C716-4740-ABD0-0740457B505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6280496-2A4F-4892-A642-CFA64C154F5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46F103E-3B0B-4009-BE44-63A10B38519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5BDA067-D9A8-49D5-8FC7-D6609BC5F07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A0A6C2C-72EB-4D64-BD02-F82124B4749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8F6E6D8-AB12-4B59-9EDC-DC4C4BC7707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70EA2839-9C45-479B-907B-F744BF2977A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379FF0FC-EF69-43D7-AAA5-9AFB1C98028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91.851299999999995</c:v>
                </c:pt>
                <c:pt idx="1">
                  <c:v>53.107500000000002</c:v>
                </c:pt>
                <c:pt idx="2">
                  <c:v>80.259200000000007</c:v>
                </c:pt>
                <c:pt idx="3">
                  <c:v>37.256500000000003</c:v>
                </c:pt>
                <c:pt idx="4">
                  <c:v>26.4526</c:v>
                </c:pt>
                <c:pt idx="5">
                  <c:v>557.5847</c:v>
                </c:pt>
                <c:pt idx="6">
                  <c:v>626.5625</c:v>
                </c:pt>
                <c:pt idx="7">
                  <c:v>37.585900000000002</c:v>
                </c:pt>
              </c:numCache>
            </c:numRef>
          </c:xVal>
          <c:yVal>
            <c:numRef>
              <c:f>Sheet1!$B$2:$B$9</c:f>
              <c:numCache>
                <c:formatCode>General</c:formatCode>
                <c:ptCount val="8"/>
                <c:pt idx="0">
                  <c:v>1.4450000000000001</c:v>
                </c:pt>
                <c:pt idx="1">
                  <c:v>0.92800000000000005</c:v>
                </c:pt>
                <c:pt idx="2">
                  <c:v>1.2370000000000001</c:v>
                </c:pt>
                <c:pt idx="3">
                  <c:v>0.57299999999999995</c:v>
                </c:pt>
                <c:pt idx="4">
                  <c:v>0.438</c:v>
                </c:pt>
                <c:pt idx="5">
                  <c:v>8.5380000000000003</c:v>
                </c:pt>
                <c:pt idx="6">
                  <c:v>9.4710000000000001</c:v>
                </c:pt>
                <c:pt idx="7">
                  <c:v>0.57999999999999996</c:v>
                </c:pt>
              </c:numCache>
            </c:numRef>
          </c:yVal>
          <c:bubbleSize>
            <c:numRef>
              <c:f>Sheet1!$C$2:$C$9</c:f>
              <c:numCache>
                <c:formatCode>General</c:formatCode>
                <c:ptCount val="8"/>
                <c:pt idx="0">
                  <c:v>384857</c:v>
                </c:pt>
                <c:pt idx="1">
                  <c:v>195595</c:v>
                </c:pt>
                <c:pt idx="2">
                  <c:v>146473</c:v>
                </c:pt>
                <c:pt idx="3">
                  <c:v>120413</c:v>
                </c:pt>
                <c:pt idx="4">
                  <c:v>108588</c:v>
                </c:pt>
                <c:pt idx="5">
                  <c:v>102038</c:v>
                </c:pt>
                <c:pt idx="6">
                  <c:v>90225</c:v>
                </c:pt>
                <c:pt idx="7">
                  <c:v>75435</c:v>
                </c:pt>
              </c:numCache>
            </c:numRef>
          </c:bubbleSize>
          <c:bubble3D val="0"/>
          <c:extLst>
            <c:ext xmlns:c15="http://schemas.microsoft.com/office/drawing/2012/chart" uri="{02D57815-91ED-43cb-92C2-25804820EDAC}">
              <c15:datalabelsRange>
                <c15:f>Sheet1!$E$2:$E$10</c15:f>
                <c15:dlblRangeCache>
                  <c:ptCount val="9"/>
                  <c:pt idx="0">
                    <c:v>Ruinart</c:v>
                  </c:pt>
                  <c:pt idx="1">
                    <c:v>Deutz</c:v>
                  </c:pt>
                  <c:pt idx="2">
                    <c:v>Laurent Perrier</c:v>
                  </c:pt>
                  <c:pt idx="3">
                    <c:v>Demoiselle</c:v>
                  </c:pt>
                  <c:pt idx="4">
                    <c:v>Nicolas</c:v>
                  </c:pt>
                  <c:pt idx="5">
                    <c:v>Dom Perignon</c:v>
                  </c:pt>
                  <c:pt idx="6">
                    <c:v>Roederer</c:v>
                  </c:pt>
                  <c:pt idx="7">
                    <c:v>Nicolas Feuillatt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52"/>
          <c:min val="2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9.6709999999999994"/>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1D4882B-84E8-464C-868B-13291AB6BC8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1B86146-8E7B-49AA-B32C-265C2FC42A4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5E7D126-CEC2-4F41-8E24-17AA1C83BCF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A1D2622-36B9-4477-B9C3-3002D307DF7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602DCC9-1A29-44DD-B1CA-080738EECF5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E95BA8E-7CDB-4405-9B8C-40AB6B2758F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F9A90A4-BC67-49F3-AC35-944243E5AFB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5AAC28F4-5F45-48AD-AAE8-AA3F7A1171C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91.436000000000007</c:v>
                </c:pt>
                <c:pt idx="1">
                  <c:v>52.058999999999997</c:v>
                </c:pt>
                <c:pt idx="2">
                  <c:v>37.6539</c:v>
                </c:pt>
                <c:pt idx="3">
                  <c:v>80.916899999999998</c:v>
                </c:pt>
                <c:pt idx="4">
                  <c:v>26.9497</c:v>
                </c:pt>
                <c:pt idx="5">
                  <c:v>37.5413</c:v>
                </c:pt>
                <c:pt idx="6">
                  <c:v>41.015999999999998</c:v>
                </c:pt>
                <c:pt idx="7">
                  <c:v>36.271999999999998</c:v>
                </c:pt>
              </c:numCache>
            </c:numRef>
          </c:xVal>
          <c:yVal>
            <c:numRef>
              <c:f>Sheet1!$B$2:$B$9</c:f>
              <c:numCache>
                <c:formatCode>General</c:formatCode>
                <c:ptCount val="8"/>
                <c:pt idx="0">
                  <c:v>1.7410000000000001</c:v>
                </c:pt>
                <c:pt idx="1">
                  <c:v>1.1279999999999999</c:v>
                </c:pt>
                <c:pt idx="2">
                  <c:v>0.70199999999999996</c:v>
                </c:pt>
                <c:pt idx="3">
                  <c:v>1.5149999999999999</c:v>
                </c:pt>
                <c:pt idx="4">
                  <c:v>0.53900000000000003</c:v>
                </c:pt>
                <c:pt idx="5">
                  <c:v>0.70699999999999996</c:v>
                </c:pt>
                <c:pt idx="6">
                  <c:v>0.91500000000000004</c:v>
                </c:pt>
                <c:pt idx="7">
                  <c:v>0.67700000000000005</c:v>
                </c:pt>
              </c:numCache>
            </c:numRef>
          </c:yVal>
          <c:bubbleSize>
            <c:numRef>
              <c:f>Sheet1!$C$2:$C$9</c:f>
              <c:numCache>
                <c:formatCode>General</c:formatCode>
                <c:ptCount val="8"/>
                <c:pt idx="0">
                  <c:v>167785</c:v>
                </c:pt>
                <c:pt idx="1">
                  <c:v>84648</c:v>
                </c:pt>
                <c:pt idx="2">
                  <c:v>62995</c:v>
                </c:pt>
                <c:pt idx="3">
                  <c:v>60364</c:v>
                </c:pt>
                <c:pt idx="4">
                  <c:v>57807</c:v>
                </c:pt>
                <c:pt idx="5">
                  <c:v>33637</c:v>
                </c:pt>
                <c:pt idx="6">
                  <c:v>30721</c:v>
                </c:pt>
                <c:pt idx="7">
                  <c:v>27603</c:v>
                </c:pt>
              </c:numCache>
            </c:numRef>
          </c:bubbleSize>
          <c:bubble3D val="0"/>
          <c:extLst>
            <c:ext xmlns:c15="http://schemas.microsoft.com/office/drawing/2012/chart" uri="{02D57815-91ED-43cb-92C2-25804820EDAC}">
              <c15:datalabelsRange>
                <c15:f>Sheet1!$E$2:$E$10</c15:f>
                <c15:dlblRangeCache>
                  <c:ptCount val="9"/>
                  <c:pt idx="0">
                    <c:v>Ruinart</c:v>
                  </c:pt>
                  <c:pt idx="1">
                    <c:v>Deutz</c:v>
                  </c:pt>
                  <c:pt idx="2">
                    <c:v>Demoiselle</c:v>
                  </c:pt>
                  <c:pt idx="3">
                    <c:v>Laurent Perrier</c:v>
                  </c:pt>
                  <c:pt idx="4">
                    <c:v>Nicolas</c:v>
                  </c:pt>
                  <c:pt idx="5">
                    <c:v>Nicolas Feuillatte</c:v>
                  </c:pt>
                  <c:pt idx="6">
                    <c:v>Besserat De Bellefon</c:v>
                  </c:pt>
                  <c:pt idx="7">
                    <c:v>Malard</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10"/>
          <c:min val="2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9410000000000001"/>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0D6BB07-4E90-4012-B28B-813107168BB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B85432C-57D3-402D-9E96-67381A01AB1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8DFC52A-D24F-4367-BCBC-FFD684C7D90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C0DF386-C5CB-4AA8-B0A8-EA27B07F7DD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9425EA0-430D-4B34-90F6-D3184BB1C59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C4BBC42-4B12-49E5-B017-1D0CA949B84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4B07FB5D-233D-4F31-9056-8B656DABD51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12B22B75-62BB-4983-8E65-09B88EDB9C7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90.765900000000002</c:v>
                </c:pt>
                <c:pt idx="1">
                  <c:v>52.744999999999997</c:v>
                </c:pt>
                <c:pt idx="2">
                  <c:v>37.506500000000003</c:v>
                </c:pt>
                <c:pt idx="3">
                  <c:v>27.058199999999999</c:v>
                </c:pt>
                <c:pt idx="4">
                  <c:v>81.447900000000004</c:v>
                </c:pt>
                <c:pt idx="5">
                  <c:v>37.611499999999999</c:v>
                </c:pt>
                <c:pt idx="6">
                  <c:v>41.043500000000002</c:v>
                </c:pt>
                <c:pt idx="7">
                  <c:v>36.133699999999997</c:v>
                </c:pt>
              </c:numCache>
            </c:numRef>
          </c:xVal>
          <c:yVal>
            <c:numRef>
              <c:f>Sheet1!$B$2:$B$9</c:f>
              <c:numCache>
                <c:formatCode>General</c:formatCode>
                <c:ptCount val="8"/>
                <c:pt idx="0">
                  <c:v>1.7350000000000001</c:v>
                </c:pt>
                <c:pt idx="1">
                  <c:v>1.0980000000000001</c:v>
                </c:pt>
                <c:pt idx="2">
                  <c:v>0.69799999999999995</c:v>
                </c:pt>
                <c:pt idx="3">
                  <c:v>0.54200000000000004</c:v>
                </c:pt>
                <c:pt idx="4">
                  <c:v>1.5089999999999999</c:v>
                </c:pt>
                <c:pt idx="5">
                  <c:v>0.70199999999999996</c:v>
                </c:pt>
                <c:pt idx="6">
                  <c:v>0.91600000000000004</c:v>
                </c:pt>
                <c:pt idx="7">
                  <c:v>0.67400000000000004</c:v>
                </c:pt>
              </c:numCache>
            </c:numRef>
          </c:yVal>
          <c:bubbleSize>
            <c:numRef>
              <c:f>Sheet1!$C$2:$C$9</c:f>
              <c:numCache>
                <c:formatCode>General</c:formatCode>
                <c:ptCount val="8"/>
                <c:pt idx="0">
                  <c:v>277653</c:v>
                </c:pt>
                <c:pt idx="1">
                  <c:v>140671</c:v>
                </c:pt>
                <c:pt idx="2">
                  <c:v>112332</c:v>
                </c:pt>
                <c:pt idx="3">
                  <c:v>93973</c:v>
                </c:pt>
                <c:pt idx="4">
                  <c:v>83647</c:v>
                </c:pt>
                <c:pt idx="5">
                  <c:v>53145</c:v>
                </c:pt>
                <c:pt idx="6">
                  <c:v>45271</c:v>
                </c:pt>
                <c:pt idx="7">
                  <c:v>41337</c:v>
                </c:pt>
              </c:numCache>
            </c:numRef>
          </c:bubbleSize>
          <c:bubble3D val="0"/>
          <c:extLst>
            <c:ext xmlns:c15="http://schemas.microsoft.com/office/drawing/2012/chart" uri="{02D57815-91ED-43cb-92C2-25804820EDAC}">
              <c15:datalabelsRange>
                <c15:f>Sheet1!$E$2:$E$10</c15:f>
                <c15:dlblRangeCache>
                  <c:ptCount val="9"/>
                  <c:pt idx="0">
                    <c:v>Ruinart</c:v>
                  </c:pt>
                  <c:pt idx="1">
                    <c:v>Deutz</c:v>
                  </c:pt>
                  <c:pt idx="2">
                    <c:v>Demoiselle</c:v>
                  </c:pt>
                  <c:pt idx="3">
                    <c:v>Nicolas</c:v>
                  </c:pt>
                  <c:pt idx="4">
                    <c:v>Laurent Perrier</c:v>
                  </c:pt>
                  <c:pt idx="5">
                    <c:v>Nicolas Feuillatte</c:v>
                  </c:pt>
                  <c:pt idx="6">
                    <c:v>Besserat De Bellefon</c:v>
                  </c:pt>
                  <c:pt idx="7">
                    <c:v>Malard</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09"/>
          <c:min val="2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9350000000000001"/>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39075B3-1BD2-4420-9708-E850F8F7029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916E23A-1B18-43CD-95D7-A4C8B5D82C5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ABE3727-5560-487F-BF91-FEBB0B23C89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727B624-1BE1-48DC-A5CF-023F7FB5C64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3C3FE0E-8D36-48D7-B7EF-6A955DA3F60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480E23B-092D-4A7E-844E-74107A4730E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7C0093F5-2860-4446-8E51-98D99C407E0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434C83CB-9CA4-4068-8270-9882A94743F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90.509</c:v>
                </c:pt>
                <c:pt idx="1">
                  <c:v>52.050600000000003</c:v>
                </c:pt>
                <c:pt idx="2">
                  <c:v>27.031600000000001</c:v>
                </c:pt>
                <c:pt idx="3">
                  <c:v>37.606999999999999</c:v>
                </c:pt>
                <c:pt idx="4">
                  <c:v>81.073999999999998</c:v>
                </c:pt>
                <c:pt idx="5">
                  <c:v>37.692500000000003</c:v>
                </c:pt>
                <c:pt idx="6">
                  <c:v>40.941499999999998</c:v>
                </c:pt>
                <c:pt idx="7">
                  <c:v>36.332299999999996</c:v>
                </c:pt>
              </c:numCache>
            </c:numRef>
          </c:xVal>
          <c:yVal>
            <c:numRef>
              <c:f>Sheet1!$B$2:$B$9</c:f>
              <c:numCache>
                <c:formatCode>General</c:formatCode>
                <c:ptCount val="8"/>
                <c:pt idx="0">
                  <c:v>1.738</c:v>
                </c:pt>
                <c:pt idx="1">
                  <c:v>1.1140000000000001</c:v>
                </c:pt>
                <c:pt idx="2">
                  <c:v>0.53900000000000003</c:v>
                </c:pt>
                <c:pt idx="3">
                  <c:v>0.70799999999999996</c:v>
                </c:pt>
                <c:pt idx="4">
                  <c:v>1.5169999999999999</c:v>
                </c:pt>
                <c:pt idx="5">
                  <c:v>0.71</c:v>
                </c:pt>
                <c:pt idx="6">
                  <c:v>0.92800000000000005</c:v>
                </c:pt>
                <c:pt idx="7">
                  <c:v>0.68500000000000005</c:v>
                </c:pt>
              </c:numCache>
            </c:numRef>
          </c:yVal>
          <c:bubbleSize>
            <c:numRef>
              <c:f>Sheet1!$C$2:$C$9</c:f>
              <c:numCache>
                <c:formatCode>General</c:formatCode>
                <c:ptCount val="8"/>
                <c:pt idx="0">
                  <c:v>225639</c:v>
                </c:pt>
                <c:pt idx="1">
                  <c:v>89423</c:v>
                </c:pt>
                <c:pt idx="2">
                  <c:v>79662</c:v>
                </c:pt>
                <c:pt idx="3">
                  <c:v>66602</c:v>
                </c:pt>
                <c:pt idx="4">
                  <c:v>54806</c:v>
                </c:pt>
                <c:pt idx="5">
                  <c:v>37881</c:v>
                </c:pt>
                <c:pt idx="6">
                  <c:v>36397</c:v>
                </c:pt>
                <c:pt idx="7">
                  <c:v>33571</c:v>
                </c:pt>
              </c:numCache>
            </c:numRef>
          </c:bubbleSize>
          <c:bubble3D val="0"/>
          <c:extLst>
            <c:ext xmlns:c15="http://schemas.microsoft.com/office/drawing/2012/chart" uri="{02D57815-91ED-43cb-92C2-25804820EDAC}">
              <c15:datalabelsRange>
                <c15:f>Sheet1!$E$2:$E$10</c15:f>
                <c15:dlblRangeCache>
                  <c:ptCount val="9"/>
                  <c:pt idx="0">
                    <c:v>Ruinart</c:v>
                  </c:pt>
                  <c:pt idx="1">
                    <c:v>Deutz</c:v>
                  </c:pt>
                  <c:pt idx="2">
                    <c:v>Nicolas</c:v>
                  </c:pt>
                  <c:pt idx="3">
                    <c:v>Demoiselle</c:v>
                  </c:pt>
                  <c:pt idx="4">
                    <c:v>Laurent Perrier</c:v>
                  </c:pt>
                  <c:pt idx="5">
                    <c:v>Nicolas Feuillatte</c:v>
                  </c:pt>
                  <c:pt idx="6">
                    <c:v>Besserat De Bellefon</c:v>
                  </c:pt>
                  <c:pt idx="7">
                    <c:v>Malard</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09"/>
          <c:min val="2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937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CAC3E0E-3FC2-4988-BCD4-5D8FE456DBA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A57A91E-653F-40B0-A4F0-6CC0808170A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0B7A579-0A4D-4EF8-B965-C78215E177B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A8080B5-03A2-42D4-B9BC-1B00255C3AD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A44DF5C-BF57-49B8-AF99-C44C22833E4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9A33D0E-1FF4-45FE-9148-B3941CE7757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6E539C18-424A-4445-9854-01AD55D3281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33821E73-E8D5-4598-86A5-34C9A729E10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91.327299999999994</c:v>
                </c:pt>
                <c:pt idx="1">
                  <c:v>53.070300000000003</c:v>
                </c:pt>
                <c:pt idx="2">
                  <c:v>26.328800000000001</c:v>
                </c:pt>
                <c:pt idx="3">
                  <c:v>37.6845</c:v>
                </c:pt>
                <c:pt idx="4">
                  <c:v>81.751900000000006</c:v>
                </c:pt>
                <c:pt idx="5">
                  <c:v>37.932200000000002</c:v>
                </c:pt>
                <c:pt idx="6">
                  <c:v>36.190100000000001</c:v>
                </c:pt>
                <c:pt idx="7">
                  <c:v>41.236199999999997</c:v>
                </c:pt>
              </c:numCache>
            </c:numRef>
          </c:xVal>
          <c:yVal>
            <c:numRef>
              <c:f>Sheet1!$B$2:$B$9</c:f>
              <c:numCache>
                <c:formatCode>General</c:formatCode>
                <c:ptCount val="8"/>
                <c:pt idx="0">
                  <c:v>1.7669999999999999</c:v>
                </c:pt>
                <c:pt idx="1">
                  <c:v>1.131</c:v>
                </c:pt>
                <c:pt idx="2">
                  <c:v>0.53800000000000003</c:v>
                </c:pt>
                <c:pt idx="3">
                  <c:v>0.71899999999999997</c:v>
                </c:pt>
                <c:pt idx="4">
                  <c:v>1.554</c:v>
                </c:pt>
                <c:pt idx="5">
                  <c:v>0.72399999999999998</c:v>
                </c:pt>
                <c:pt idx="6">
                  <c:v>0.69599999999999995</c:v>
                </c:pt>
                <c:pt idx="7">
                  <c:v>0.93200000000000005</c:v>
                </c:pt>
              </c:numCache>
            </c:numRef>
          </c:yVal>
          <c:bubbleSize>
            <c:numRef>
              <c:f>Sheet1!$C$2:$C$9</c:f>
              <c:numCache>
                <c:formatCode>General</c:formatCode>
                <c:ptCount val="8"/>
                <c:pt idx="0">
                  <c:v>206491</c:v>
                </c:pt>
                <c:pt idx="1">
                  <c:v>87619</c:v>
                </c:pt>
                <c:pt idx="2">
                  <c:v>75116</c:v>
                </c:pt>
                <c:pt idx="3">
                  <c:v>68925</c:v>
                </c:pt>
                <c:pt idx="4">
                  <c:v>53384</c:v>
                </c:pt>
                <c:pt idx="5">
                  <c:v>36946</c:v>
                </c:pt>
                <c:pt idx="6">
                  <c:v>32933</c:v>
                </c:pt>
                <c:pt idx="7">
                  <c:v>31422</c:v>
                </c:pt>
              </c:numCache>
            </c:numRef>
          </c:bubbleSize>
          <c:bubble3D val="0"/>
          <c:extLst>
            <c:ext xmlns:c15="http://schemas.microsoft.com/office/drawing/2012/chart" uri="{02D57815-91ED-43cb-92C2-25804820EDAC}">
              <c15:datalabelsRange>
                <c15:f>Sheet1!$E$2:$E$10</c15:f>
                <c15:dlblRangeCache>
                  <c:ptCount val="9"/>
                  <c:pt idx="0">
                    <c:v>Ruinart</c:v>
                  </c:pt>
                  <c:pt idx="1">
                    <c:v>Deutz</c:v>
                  </c:pt>
                  <c:pt idx="2">
                    <c:v>Nicolas</c:v>
                  </c:pt>
                  <c:pt idx="3">
                    <c:v>Demoiselle</c:v>
                  </c:pt>
                  <c:pt idx="4">
                    <c:v>Laurent Perrier</c:v>
                  </c:pt>
                  <c:pt idx="5">
                    <c:v>Nicolas Feuillatte</c:v>
                  </c:pt>
                  <c:pt idx="6">
                    <c:v>Malard</c:v>
                  </c:pt>
                  <c:pt idx="7">
                    <c:v>Besserat De Bellefo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10"/>
          <c:min val="2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966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975782C-FC00-4D10-A2AD-E35B0E6AAB9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55E2C76-9815-4AE1-BD6A-416BD17D5D3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39CB891-CE36-4489-8D7E-F15D544B053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F7BC8D9-AA27-4B9F-AF52-F010D898412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7625BBD-616F-4981-B08B-AF4DFA5B5FE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A870241-BCDC-41F7-81D9-6F28BF86C1E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6B01DFED-F15F-4FA0-9D5D-DEA98500965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BDA1E918-1653-4E34-9FBF-8C7919D5D9C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8.1654999999999998</c:v>
                </c:pt>
                <c:pt idx="1">
                  <c:v>7.0598000000000001</c:v>
                </c:pt>
                <c:pt idx="2">
                  <c:v>8.4002999999999997</c:v>
                </c:pt>
                <c:pt idx="3">
                  <c:v>7.6973000000000003</c:v>
                </c:pt>
                <c:pt idx="4">
                  <c:v>9.7827999999999999</c:v>
                </c:pt>
                <c:pt idx="5">
                  <c:v>7.3342999999999998</c:v>
                </c:pt>
                <c:pt idx="6">
                  <c:v>7.7112999999999996</c:v>
                </c:pt>
                <c:pt idx="7">
                  <c:v>12.7386</c:v>
                </c:pt>
              </c:numCache>
            </c:numRef>
          </c:xVal>
          <c:yVal>
            <c:numRef>
              <c:f>Sheet1!$B$2:$B$9</c:f>
              <c:numCache>
                <c:formatCode>General</c:formatCode>
                <c:ptCount val="8"/>
                <c:pt idx="0">
                  <c:v>0.995</c:v>
                </c:pt>
                <c:pt idx="1">
                  <c:v>0.95799999999999996</c:v>
                </c:pt>
                <c:pt idx="2">
                  <c:v>1.0389999999999999</c:v>
                </c:pt>
                <c:pt idx="3">
                  <c:v>1.0349999999999999</c:v>
                </c:pt>
                <c:pt idx="4">
                  <c:v>1.1910000000000001</c:v>
                </c:pt>
                <c:pt idx="5">
                  <c:v>1.0309999999999999</c:v>
                </c:pt>
                <c:pt idx="6">
                  <c:v>1.0840000000000001</c:v>
                </c:pt>
                <c:pt idx="7">
                  <c:v>1.792</c:v>
                </c:pt>
              </c:numCache>
            </c:numRef>
          </c:yVal>
          <c:bubbleSize>
            <c:numRef>
              <c:f>Sheet1!$C$2:$C$9</c:f>
              <c:numCache>
                <c:formatCode>General</c:formatCode>
                <c:ptCount val="8"/>
                <c:pt idx="0">
                  <c:v>15897650</c:v>
                </c:pt>
                <c:pt idx="1">
                  <c:v>12258120</c:v>
                </c:pt>
                <c:pt idx="2">
                  <c:v>4177323</c:v>
                </c:pt>
                <c:pt idx="3">
                  <c:v>3025266</c:v>
                </c:pt>
                <c:pt idx="4">
                  <c:v>1797924</c:v>
                </c:pt>
                <c:pt idx="5">
                  <c:v>932508</c:v>
                </c:pt>
                <c:pt idx="6">
                  <c:v>550341</c:v>
                </c:pt>
                <c:pt idx="7">
                  <c:v>506817</c:v>
                </c:pt>
              </c:numCache>
            </c:numRef>
          </c:bubbleSize>
          <c:bubble3D val="0"/>
          <c:extLst>
            <c:ext xmlns:c15="http://schemas.microsoft.com/office/drawing/2012/chart" uri="{02D57815-91ED-43cb-92C2-25804820EDAC}">
              <c15:datalabelsRange>
                <c15:f>Sheet1!$E$2:$E$10</c15:f>
                <c15:dlblRangeCache>
                  <c:ptCount val="9"/>
                  <c:pt idx="0">
                    <c:v>Veuve Ambal</c:v>
                  </c:pt>
                  <c:pt idx="1">
                    <c:v>Mdd</c:v>
                  </c:pt>
                  <c:pt idx="2">
                    <c:v>Couvent Des Visitandines</c:v>
                  </c:pt>
                  <c:pt idx="3">
                    <c:v>Moillard</c:v>
                  </c:pt>
                  <c:pt idx="4">
                    <c:v>Louis Bouillot</c:v>
                  </c:pt>
                  <c:pt idx="5">
                    <c:v>Valenger</c:v>
                  </c:pt>
                  <c:pt idx="6">
                    <c:v>Caves De Lugny</c:v>
                  </c:pt>
                  <c:pt idx="7">
                    <c:v>Patriarch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5"/>
          <c:min val="6"/>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992"/>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2519231D-F8E5-4F49-9751-E1C9DC372DD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7963E104-0E34-449C-A6A4-D2D40608F23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D871-46D6-BBFE-7C00E0D51738}"/>
                </c:ext>
              </c:extLst>
            </c:dLbl>
            <c:dLbl>
              <c:idx val="3"/>
              <c:tx>
                <c:rich>
                  <a:bodyPr/>
                  <a:lstStyle/>
                  <a:p>
                    <a:fld id="{C2E89963-1234-459B-ACD3-57CD140C95B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D871-46D6-BBFE-7C00E0D51738}"/>
                </c:ext>
              </c:extLst>
            </c:dLbl>
            <c:dLbl>
              <c:idx val="4"/>
              <c:tx>
                <c:rich>
                  <a:bodyPr/>
                  <a:lstStyle/>
                  <a:p>
                    <a:fld id="{5FE99140-B112-47FF-AA3C-7E8FCFDAB8F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D871-46D6-BBFE-7C00E0D51738}"/>
                </c:ext>
              </c:extLst>
            </c:dLbl>
            <c:dLbl>
              <c:idx val="5"/>
              <c:tx>
                <c:rich>
                  <a:bodyPr/>
                  <a:lstStyle/>
                  <a:p>
                    <a:fld id="{F148956D-5F4A-449D-BB30-82767367D8C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71-46D6-BBFE-7C00E0D51738}"/>
                </c:ext>
              </c:extLst>
            </c:dLbl>
            <c:dLbl>
              <c:idx val="6"/>
              <c:tx>
                <c:rich>
                  <a:bodyPr/>
                  <a:lstStyle/>
                  <a:p>
                    <a:fld id="{48CCDB64-7F20-4957-984E-A23F327C84D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71-46D6-BBFE-7C00E0D51738}"/>
                </c:ext>
              </c:extLst>
            </c:dLbl>
            <c:dLbl>
              <c:idx val="7"/>
              <c:tx>
                <c:rich>
                  <a:bodyPr/>
                  <a:lstStyle/>
                  <a:p>
                    <a:fld id="{8013AF4B-6955-437A-8A2F-E78806DEFEA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71-46D6-BBFE-7C00E0D51738}"/>
                </c:ext>
              </c:extLst>
            </c:dLbl>
            <c:dLbl>
              <c:idx val="8"/>
              <c:tx>
                <c:rich>
                  <a:bodyPr/>
                  <a:lstStyle/>
                  <a:p>
                    <a:fld id="{72351C61-31BC-40C7-ACB8-9F80F2679F5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29.011900000000001</c:v>
                </c:pt>
                <c:pt idx="1">
                  <c:v>11.3827</c:v>
                </c:pt>
              </c:numCache>
            </c:numRef>
          </c:xVal>
          <c:yVal>
            <c:numRef>
              <c:f>Sheet1!$B$2:$B$3</c:f>
              <c:numCache>
                <c:formatCode>General</c:formatCode>
                <c:ptCount val="2"/>
                <c:pt idx="0">
                  <c:v>1.6539999999999999</c:v>
                </c:pt>
                <c:pt idx="1">
                  <c:v>0.64900000000000002</c:v>
                </c:pt>
              </c:numCache>
            </c:numRef>
          </c:yVal>
          <c:bubbleSize>
            <c:numRef>
              <c:f>Sheet1!$C$2:$C$3</c:f>
              <c:numCache>
                <c:formatCode>General</c:formatCode>
                <c:ptCount val="2"/>
                <c:pt idx="0">
                  <c:v>237317</c:v>
                </c:pt>
                <c:pt idx="1">
                  <c:v>154292</c:v>
                </c:pt>
              </c:numCache>
            </c:numRef>
          </c:bubbleSize>
          <c:bubble3D val="0"/>
          <c:extLst>
            <c:ext xmlns:c15="http://schemas.microsoft.com/office/drawing/2012/chart" uri="{02D57815-91ED-43cb-92C2-25804820EDAC}">
              <c15:datalabelsRange>
                <c15:f>Sheet1!$E$2:$E$10</c15:f>
                <c15:dlblRangeCache>
                  <c:ptCount val="9"/>
                  <c:pt idx="0">
                    <c:v>De Chanceny</c:v>
                  </c:pt>
                  <c:pt idx="1">
                    <c:v>Lyre's</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5"/>
          <c:min val="9"/>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D8B264C-E73F-4484-9D12-5711B83EF76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BD572B04-1AA4-4843-BD22-5F0E0905EA2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62537329-AF16-4F6F-9DE9-BC587AF55A3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AFE36A50-C500-4561-9E7F-B4AA440E368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54335BC2-0F88-415C-A6C8-B915EBDB237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6A827B26-0152-4F5A-9AE1-C9F1741D1C6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54F0641D-B992-4616-91A1-0A4042197DA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C6CC183D-3AFB-4350-B7F5-748184843D0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2.7646</c:v>
                </c:pt>
              </c:numCache>
            </c:numRef>
          </c:xVal>
          <c:yVal>
            <c:numRef>
              <c:f>Sheet1!$B$2:$B$2</c:f>
              <c:numCache>
                <c:formatCode>General</c:formatCode>
                <c:ptCount val="1"/>
                <c:pt idx="0">
                  <c:v>0.99399999999999999</c:v>
                </c:pt>
              </c:numCache>
            </c:numRef>
          </c:yVal>
          <c:bubbleSize>
            <c:numRef>
              <c:f>Sheet1!$C$2:$C$2</c:f>
              <c:numCache>
                <c:formatCode>General</c:formatCode>
                <c:ptCount val="1"/>
                <c:pt idx="0">
                  <c:v>507318</c:v>
                </c:pt>
              </c:numCache>
            </c:numRef>
          </c:bubbleSize>
          <c:bubble3D val="0"/>
          <c:extLst>
            <c:ext xmlns:c15="http://schemas.microsoft.com/office/drawing/2012/chart" uri="{02D57815-91ED-43cb-92C2-25804820EDAC}">
              <c15:datalabelsRange>
                <c15:f>Sheet1!$E$2:$E$10</c15:f>
                <c15:dlblRangeCache>
                  <c:ptCount val="9"/>
                  <c:pt idx="0">
                    <c:v>Patriarch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5"/>
          <c:min val="1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194"/>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322E0FA-CC60-4986-BC57-B22F5539D95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982D1F7-3733-4CDF-ADAE-DB87EAD806D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EAB3F4C-D81D-408F-A691-3B67F84934D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5613E64-D9F1-447C-8174-B00E6110BA6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F975539-AF0F-4DE4-BF59-C0461085270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F039EA8A-0383-4F1C-AC92-2E77031DCCB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514EE39A-80FC-4EC4-B4CB-31AF77356E6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0137547F-7CF9-49ED-854D-DF2DF51E1C6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8.1654999999999998</c:v>
                </c:pt>
                <c:pt idx="1">
                  <c:v>7.0598000000000001</c:v>
                </c:pt>
                <c:pt idx="2">
                  <c:v>8.4002999999999997</c:v>
                </c:pt>
                <c:pt idx="3">
                  <c:v>7.6973000000000003</c:v>
                </c:pt>
                <c:pt idx="4">
                  <c:v>9.7827999999999999</c:v>
                </c:pt>
                <c:pt idx="5">
                  <c:v>7.3342999999999998</c:v>
                </c:pt>
                <c:pt idx="6">
                  <c:v>7.7112999999999996</c:v>
                </c:pt>
              </c:numCache>
            </c:numRef>
          </c:xVal>
          <c:yVal>
            <c:numRef>
              <c:f>Sheet1!$B$2:$B$8</c:f>
              <c:numCache>
                <c:formatCode>General</c:formatCode>
                <c:ptCount val="7"/>
                <c:pt idx="0">
                  <c:v>1.0009999999999999</c:v>
                </c:pt>
                <c:pt idx="1">
                  <c:v>0.96399999999999997</c:v>
                </c:pt>
                <c:pt idx="2">
                  <c:v>1.0449999999999999</c:v>
                </c:pt>
                <c:pt idx="3">
                  <c:v>1.0409999999999999</c:v>
                </c:pt>
                <c:pt idx="4">
                  <c:v>1.198</c:v>
                </c:pt>
                <c:pt idx="5">
                  <c:v>1.0369999999999999</c:v>
                </c:pt>
                <c:pt idx="6">
                  <c:v>1.0900000000000001</c:v>
                </c:pt>
              </c:numCache>
            </c:numRef>
          </c:yVal>
          <c:bubbleSize>
            <c:numRef>
              <c:f>Sheet1!$C$2:$C$8</c:f>
              <c:numCache>
                <c:formatCode>General</c:formatCode>
                <c:ptCount val="7"/>
                <c:pt idx="0">
                  <c:v>15897650</c:v>
                </c:pt>
                <c:pt idx="1">
                  <c:v>12258120</c:v>
                </c:pt>
                <c:pt idx="2">
                  <c:v>4177323</c:v>
                </c:pt>
                <c:pt idx="3">
                  <c:v>3025266</c:v>
                </c:pt>
                <c:pt idx="4">
                  <c:v>1797924</c:v>
                </c:pt>
                <c:pt idx="5">
                  <c:v>932508</c:v>
                </c:pt>
                <c:pt idx="6">
                  <c:v>550341</c:v>
                </c:pt>
              </c:numCache>
            </c:numRef>
          </c:bubbleSize>
          <c:bubble3D val="0"/>
          <c:extLst>
            <c:ext xmlns:c15="http://schemas.microsoft.com/office/drawing/2012/chart" uri="{02D57815-91ED-43cb-92C2-25804820EDAC}">
              <c15:datalabelsRange>
                <c15:f>Sheet1!$E$2:$E$10</c15:f>
                <c15:dlblRangeCache>
                  <c:ptCount val="9"/>
                  <c:pt idx="0">
                    <c:v>Veuve Ambal</c:v>
                  </c:pt>
                  <c:pt idx="1">
                    <c:v>Mdd</c:v>
                  </c:pt>
                  <c:pt idx="2">
                    <c:v>Couvent Des Visitandines</c:v>
                  </c:pt>
                  <c:pt idx="3">
                    <c:v>Moillard</c:v>
                  </c:pt>
                  <c:pt idx="4">
                    <c:v>Louis Bouillot</c:v>
                  </c:pt>
                  <c:pt idx="5">
                    <c:v>Valenger</c:v>
                  </c:pt>
                  <c:pt idx="6">
                    <c:v>Caves De Lugn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2"/>
          <c:min val="6"/>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397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8EDFD3A-A8B1-48AB-9AAA-9F7A402531C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C63FBE6A-8C59-4F9B-A34C-9CCDFE1EEF4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D0454E0D-0645-46EC-B36E-F17E5246C00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86791625-7F59-46FF-B0CC-12F0C7867F0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12791791-7BA7-48DB-98A6-008E700BDBC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6FEF58E1-2732-4CED-AF70-EACA400DE55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BF975DD3-9A95-496E-BF01-8B4ACFAD3B2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2E9B2808-B246-4B8C-8D3E-2F5B0EE8782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2.753</c:v>
                </c:pt>
              </c:numCache>
            </c:numRef>
          </c:xVal>
          <c:yVal>
            <c:numRef>
              <c:f>Sheet1!$B$2:$B$2</c:f>
              <c:numCache>
                <c:formatCode>General</c:formatCode>
                <c:ptCount val="1"/>
                <c:pt idx="0">
                  <c:v>1</c:v>
                </c:pt>
              </c:numCache>
            </c:numRef>
          </c:yVal>
          <c:bubbleSize>
            <c:numRef>
              <c:f>Sheet1!$C$2:$C$2</c:f>
              <c:numCache>
                <c:formatCode>General</c:formatCode>
                <c:ptCount val="1"/>
                <c:pt idx="0">
                  <c:v>231659</c:v>
                </c:pt>
              </c:numCache>
            </c:numRef>
          </c:bubbleSize>
          <c:bubble3D val="0"/>
          <c:extLst>
            <c:ext xmlns:c15="http://schemas.microsoft.com/office/drawing/2012/chart" uri="{02D57815-91ED-43cb-92C2-25804820EDAC}">
              <c15:datalabelsRange>
                <c15:f>Sheet1!$E$2:$E$10</c15:f>
                <c15:dlblRangeCache>
                  <c:ptCount val="9"/>
                  <c:pt idx="0">
                    <c:v>Patriarch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5"/>
          <c:min val="1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E4E6646-05E1-4561-921E-B6765502E74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0B749628-E99F-4A2C-81DC-61E7F8A2514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8E0948DE-B79B-4A95-8957-8C1A6E88A45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907F289B-F561-4749-B3BC-573CF9AC391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FA7C5406-5395-453D-9726-0CA22F7A860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7C7B70F2-0C9B-449F-AF73-3B8CD2143C3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F0528A2D-BADC-4F26-BE49-A0F42692566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07570DB9-FA5C-460D-ADF9-97E6A0AAF34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2.745100000000001</c:v>
                </c:pt>
              </c:numCache>
            </c:numRef>
          </c:xVal>
          <c:yVal>
            <c:numRef>
              <c:f>Sheet1!$B$2:$B$2</c:f>
              <c:numCache>
                <c:formatCode>General</c:formatCode>
                <c:ptCount val="1"/>
                <c:pt idx="0">
                  <c:v>0.98799999999999999</c:v>
                </c:pt>
              </c:numCache>
            </c:numRef>
          </c:yVal>
          <c:bubbleSize>
            <c:numRef>
              <c:f>Sheet1!$C$2:$C$2</c:f>
              <c:numCache>
                <c:formatCode>General</c:formatCode>
                <c:ptCount val="1"/>
                <c:pt idx="0">
                  <c:v>115254</c:v>
                </c:pt>
              </c:numCache>
            </c:numRef>
          </c:bubbleSize>
          <c:bubble3D val="0"/>
          <c:extLst>
            <c:ext xmlns:c15="http://schemas.microsoft.com/office/drawing/2012/chart" uri="{02D57815-91ED-43cb-92C2-25804820EDAC}">
              <c15:datalabelsRange>
                <c15:f>Sheet1!$E$2:$E$10</c15:f>
                <c15:dlblRangeCache>
                  <c:ptCount val="9"/>
                  <c:pt idx="0">
                    <c:v>Patriarch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5"/>
          <c:min val="1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187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DB8CCAF-428F-4262-A89B-E77B045AA2D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122DA1B2-2AE6-4ACF-B381-700BCCACB91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E17BE760-D749-4965-9026-7BA3A46C851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8C93A69B-C71E-420F-92E9-068B20A0141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57858360-2157-4452-B644-B7978A27D97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83D3B375-FB35-4954-9A7A-8DEBC027535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6DC00FC3-C19F-4353-8817-60637151CFC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6A6D452D-1444-4704-AC8D-D85AE2BCCA7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3.021599999999999</c:v>
                </c:pt>
              </c:numCache>
            </c:numRef>
          </c:xVal>
          <c:yVal>
            <c:numRef>
              <c:f>Sheet1!$B$2:$B$2</c:f>
              <c:numCache>
                <c:formatCode>General</c:formatCode>
                <c:ptCount val="1"/>
                <c:pt idx="0">
                  <c:v>1</c:v>
                </c:pt>
              </c:numCache>
            </c:numRef>
          </c:yVal>
          <c:bubbleSize>
            <c:numRef>
              <c:f>Sheet1!$C$2:$C$2</c:f>
              <c:numCache>
                <c:formatCode>General</c:formatCode>
                <c:ptCount val="1"/>
                <c:pt idx="0">
                  <c:v>56722</c:v>
                </c:pt>
              </c:numCache>
            </c:numRef>
          </c:bubbleSize>
          <c:bubble3D val="0"/>
          <c:extLst>
            <c:ext xmlns:c15="http://schemas.microsoft.com/office/drawing/2012/chart" uri="{02D57815-91ED-43cb-92C2-25804820EDAC}">
              <c15:datalabelsRange>
                <c15:f>Sheet1!$E$2:$E$10</c15:f>
                <c15:dlblRangeCache>
                  <c:ptCount val="9"/>
                  <c:pt idx="0">
                    <c:v>Patriarch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6"/>
          <c:min val="1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34CFA13-48D6-4E85-B021-BAE1B15B818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6FD5D142-6F37-41EE-99B2-3AD4D6AF2C2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CED40734-D73C-43EC-BC05-02FDA6B9A82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CCB23659-62C0-4A36-908F-B9DB234006D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F5A58442-A8CB-4E59-B527-3429ACAF8F3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2D3DF2A2-6504-4A9F-A413-D01F965AC6E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4F7405A2-2079-48BC-ABDF-C279CC27481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8089CC10-56B0-4753-88B7-EB7D281636B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2.857200000000001</c:v>
                </c:pt>
              </c:numCache>
            </c:numRef>
          </c:xVal>
          <c:yVal>
            <c:numRef>
              <c:f>Sheet1!$B$2:$B$2</c:f>
              <c:numCache>
                <c:formatCode>General</c:formatCode>
                <c:ptCount val="1"/>
                <c:pt idx="0">
                  <c:v>1</c:v>
                </c:pt>
              </c:numCache>
            </c:numRef>
          </c:yVal>
          <c:bubbleSize>
            <c:numRef>
              <c:f>Sheet1!$C$2:$C$2</c:f>
              <c:numCache>
                <c:formatCode>General</c:formatCode>
                <c:ptCount val="1"/>
                <c:pt idx="0">
                  <c:v>24043</c:v>
                </c:pt>
              </c:numCache>
            </c:numRef>
          </c:bubbleSize>
          <c:bubble3D val="0"/>
          <c:extLst>
            <c:ext xmlns:c15="http://schemas.microsoft.com/office/drawing/2012/chart" uri="{02D57815-91ED-43cb-92C2-25804820EDAC}">
              <c15:datalabelsRange>
                <c15:f>Sheet1!$E$2:$E$10</c15:f>
                <c15:dlblRangeCache>
                  <c:ptCount val="9"/>
                  <c:pt idx="0">
                    <c:v>Patriarch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5"/>
          <c:min val="1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4383CE9-D9EA-465A-9969-918DB5D24F0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D97884DC-3D99-4F2D-90B8-FB42C436DC1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695DF7EE-3FC0-4F1A-B95B-239D648DCEA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5AFE1023-A113-4E78-B5FC-D0BFE97927A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2E7CB4A5-6905-4B1D-B649-A98A48C0F1B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2015DE31-92C8-4DD3-95F2-260C63344AE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8E213532-CD2F-4DF6-9F87-DD0231BCF35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7D4ACB7B-F483-4EB1-8B51-97DC95A1C20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2.435700000000001</c:v>
                </c:pt>
              </c:numCache>
            </c:numRef>
          </c:xVal>
          <c:yVal>
            <c:numRef>
              <c:f>Sheet1!$B$2:$B$2</c:f>
              <c:numCache>
                <c:formatCode>General</c:formatCode>
                <c:ptCount val="1"/>
                <c:pt idx="0">
                  <c:v>1</c:v>
                </c:pt>
              </c:numCache>
            </c:numRef>
          </c:yVal>
          <c:bubbleSize>
            <c:numRef>
              <c:f>Sheet1!$C$2:$C$2</c:f>
              <c:numCache>
                <c:formatCode>General</c:formatCode>
                <c:ptCount val="1"/>
                <c:pt idx="0">
                  <c:v>20606</c:v>
                </c:pt>
              </c:numCache>
            </c:numRef>
          </c:bubbleSize>
          <c:bubble3D val="0"/>
          <c:extLst>
            <c:ext xmlns:c15="http://schemas.microsoft.com/office/drawing/2012/chart" uri="{02D57815-91ED-43cb-92C2-25804820EDAC}">
              <c15:datalabelsRange>
                <c15:f>Sheet1!$E$2:$E$10</c15:f>
                <c15:dlblRangeCache>
                  <c:ptCount val="9"/>
                  <c:pt idx="0">
                    <c:v>Patriarch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5"/>
          <c:min val="1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BAC541E-AD84-4E98-A8D1-B52BD405C14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71597E83-EBEA-41A9-AD6F-B768E849FD7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01DB6554-B515-4B34-A1EC-0B13C10DB48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1F639487-B840-4559-83A0-45CEAA63E10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33AC03E3-EBAD-4EB1-8E39-603F7321654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7C8A60F9-4C56-44FC-A586-98EAF6CB014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F17575D6-C670-41F7-AB6A-7A9B44A2808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0DE1A59B-2A7A-4E34-AFC4-C564658E262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2.776999999999999</c:v>
                </c:pt>
              </c:numCache>
            </c:numRef>
          </c:xVal>
          <c:yVal>
            <c:numRef>
              <c:f>Sheet1!$B$2:$B$2</c:f>
              <c:numCache>
                <c:formatCode>General</c:formatCode>
                <c:ptCount val="1"/>
                <c:pt idx="0">
                  <c:v>1</c:v>
                </c:pt>
              </c:numCache>
            </c:numRef>
          </c:yVal>
          <c:bubbleSize>
            <c:numRef>
              <c:f>Sheet1!$C$2:$C$2</c:f>
              <c:numCache>
                <c:formatCode>General</c:formatCode>
                <c:ptCount val="1"/>
                <c:pt idx="0">
                  <c:v>352518</c:v>
                </c:pt>
              </c:numCache>
            </c:numRef>
          </c:bubbleSize>
          <c:bubble3D val="0"/>
          <c:extLst>
            <c:ext xmlns:c15="http://schemas.microsoft.com/office/drawing/2012/chart" uri="{02D57815-91ED-43cb-92C2-25804820EDAC}">
              <c15:datalabelsRange>
                <c15:f>Sheet1!$E$2:$E$10</c15:f>
                <c15:dlblRangeCache>
                  <c:ptCount val="9"/>
                  <c:pt idx="0">
                    <c:v>Patriarch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5"/>
          <c:min val="1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05CB1BD-68B3-4BFF-B305-089172631C1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9C16D732-6650-4621-8DE5-A2D6DC1A604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183A2613-E0C0-4680-8939-00E5AC054F9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E8539C13-D94C-4441-B5A9-809F25A708B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5CA9D81E-5D0A-4840-8DE9-28311F143F0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4B229F61-B6E6-4F16-B0AE-7532518E1F8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77D797A7-BBA5-431A-952C-F2B8023272A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B38E007E-70F7-4BED-BE54-ECF192DDA84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2.8293</c:v>
                </c:pt>
              </c:numCache>
            </c:numRef>
          </c:xVal>
          <c:yVal>
            <c:numRef>
              <c:f>Sheet1!$B$2:$B$2</c:f>
              <c:numCache>
                <c:formatCode>General</c:formatCode>
                <c:ptCount val="1"/>
                <c:pt idx="0">
                  <c:v>1</c:v>
                </c:pt>
              </c:numCache>
            </c:numRef>
          </c:yVal>
          <c:bubbleSize>
            <c:numRef>
              <c:f>Sheet1!$C$2:$C$2</c:f>
              <c:numCache>
                <c:formatCode>General</c:formatCode>
                <c:ptCount val="1"/>
                <c:pt idx="0">
                  <c:v>39373</c:v>
                </c:pt>
              </c:numCache>
            </c:numRef>
          </c:bubbleSize>
          <c:bubble3D val="0"/>
          <c:extLst>
            <c:ext xmlns:c15="http://schemas.microsoft.com/office/drawing/2012/chart" uri="{02D57815-91ED-43cb-92C2-25804820EDAC}">
              <c15:datalabelsRange>
                <c15:f>Sheet1!$E$2:$E$10</c15:f>
                <c15:dlblRangeCache>
                  <c:ptCount val="9"/>
                  <c:pt idx="0">
                    <c:v>Patriarch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5"/>
          <c:min val="1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32B1D21-B0CA-4168-A998-5C6D522EB15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6F920222-F6C9-40F5-96AD-18993B80184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187F84F4-178C-401E-81BD-8B72B8DC468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867E2C53-EC7E-4EEE-B6D9-DFF1C8036FF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B7EDB822-DD1C-4679-8B0C-A1853143459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0548C172-9815-443D-A2D1-722FD490D77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E254B71F-15F5-43CC-BEBA-7E5E415E99D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3A3795E6-7FC8-4E27-9C5C-6221831D020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2.6144</c:v>
                </c:pt>
              </c:numCache>
            </c:numRef>
          </c:xVal>
          <c:yVal>
            <c:numRef>
              <c:f>Sheet1!$B$2:$B$2</c:f>
              <c:numCache>
                <c:formatCode>General</c:formatCode>
                <c:ptCount val="1"/>
                <c:pt idx="0">
                  <c:v>1</c:v>
                </c:pt>
              </c:numCache>
            </c:numRef>
          </c:yVal>
          <c:bubbleSize>
            <c:numRef>
              <c:f>Sheet1!$C$2:$C$2</c:f>
              <c:numCache>
                <c:formatCode>General</c:formatCode>
                <c:ptCount val="1"/>
                <c:pt idx="0">
                  <c:v>33731</c:v>
                </c:pt>
              </c:numCache>
            </c:numRef>
          </c:bubbleSize>
          <c:bubble3D val="0"/>
          <c:extLst>
            <c:ext xmlns:c15="http://schemas.microsoft.com/office/drawing/2012/chart" uri="{02D57815-91ED-43cb-92C2-25804820EDAC}">
              <c15:datalabelsRange>
                <c15:f>Sheet1!$E$2:$E$10</c15:f>
                <c15:dlblRangeCache>
                  <c:ptCount val="9"/>
                  <c:pt idx="0">
                    <c:v>Patriarch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5"/>
          <c:min val="1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587D089-98A0-4A71-949E-086307C6C51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F63BB83-FDFB-40C4-ABC3-665DF269880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9D304A9-BF19-4264-BD43-E8BCB8A2EF7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93895BA-4498-4830-836E-1A1AB7AFB8F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911B134-35CB-4555-97F8-2909DC0A683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D33D0A2-F5D7-41D0-914A-10F9FB0009B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8316DA7F-51F0-4E82-9B52-3538A47E45D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059E8F01-754A-4573-8BBF-F87A01DBAD0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72.902299999999997</c:v>
                </c:pt>
                <c:pt idx="1">
                  <c:v>23.632999999999999</c:v>
                </c:pt>
                <c:pt idx="2">
                  <c:v>51.113900000000001</c:v>
                </c:pt>
                <c:pt idx="3">
                  <c:v>54.3947</c:v>
                </c:pt>
                <c:pt idx="4">
                  <c:v>84.752200000000002</c:v>
                </c:pt>
                <c:pt idx="5">
                  <c:v>29.332599999999999</c:v>
                </c:pt>
                <c:pt idx="6">
                  <c:v>31.468499999999999</c:v>
                </c:pt>
                <c:pt idx="7">
                  <c:v>273.90089999999998</c:v>
                </c:pt>
              </c:numCache>
            </c:numRef>
          </c:xVal>
          <c:yVal>
            <c:numRef>
              <c:f>Sheet1!$B$2:$B$9</c:f>
              <c:numCache>
                <c:formatCode>General</c:formatCode>
                <c:ptCount val="8"/>
                <c:pt idx="0">
                  <c:v>1.5569999999999999</c:v>
                </c:pt>
                <c:pt idx="1">
                  <c:v>0.51700000000000002</c:v>
                </c:pt>
                <c:pt idx="2">
                  <c:v>1.0720000000000001</c:v>
                </c:pt>
                <c:pt idx="3">
                  <c:v>1.073</c:v>
                </c:pt>
                <c:pt idx="4">
                  <c:v>1.726</c:v>
                </c:pt>
                <c:pt idx="5">
                  <c:v>0.64400000000000002</c:v>
                </c:pt>
                <c:pt idx="6">
                  <c:v>0.69099999999999995</c:v>
                </c:pt>
                <c:pt idx="7">
                  <c:v>5.7939999999999996</c:v>
                </c:pt>
              </c:numCache>
            </c:numRef>
          </c:yVal>
          <c:bubbleSize>
            <c:numRef>
              <c:f>Sheet1!$C$2:$C$9</c:f>
              <c:numCache>
                <c:formatCode>General</c:formatCode>
                <c:ptCount val="8"/>
                <c:pt idx="0">
                  <c:v>1905667</c:v>
                </c:pt>
                <c:pt idx="1">
                  <c:v>630859</c:v>
                </c:pt>
                <c:pt idx="2">
                  <c:v>491358</c:v>
                </c:pt>
                <c:pt idx="3">
                  <c:v>344699</c:v>
                </c:pt>
                <c:pt idx="4">
                  <c:v>234933</c:v>
                </c:pt>
                <c:pt idx="5">
                  <c:v>217736</c:v>
                </c:pt>
                <c:pt idx="6">
                  <c:v>211311</c:v>
                </c:pt>
                <c:pt idx="7">
                  <c:v>187896</c:v>
                </c:pt>
              </c:numCache>
            </c:numRef>
          </c:bubbleSize>
          <c:bubble3D val="0"/>
          <c:extLst>
            <c:ext xmlns:c15="http://schemas.microsoft.com/office/drawing/2012/chart" uri="{02D57815-91ED-43cb-92C2-25804820EDAC}">
              <c15:datalabelsRange>
                <c15:f>Sheet1!$E$2:$E$10</c15:f>
                <c15:dlblRangeCache>
                  <c:ptCount val="9"/>
                  <c:pt idx="0">
                    <c:v>Ruinart</c:v>
                  </c:pt>
                  <c:pt idx="1">
                    <c:v>Nicolas</c:v>
                  </c:pt>
                  <c:pt idx="2">
                    <c:v>Deutz</c:v>
                  </c:pt>
                  <c:pt idx="3">
                    <c:v>Laurent Perrier</c:v>
                  </c:pt>
                  <c:pt idx="4">
                    <c:v>Roederer</c:v>
                  </c:pt>
                  <c:pt idx="5">
                    <c:v>Heidsieck &amp; Co Monopole</c:v>
                  </c:pt>
                  <c:pt idx="6">
                    <c:v>Malard</c:v>
                  </c:pt>
                  <c:pt idx="7">
                    <c:v>Dom Perigno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29"/>
          <c:min val="19"/>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DBA4DA9-C7E6-4F68-960B-A9DDF902406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256F663C-73F2-4964-B52C-460F2869830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8B1D0650-6B0A-433B-90C9-66655C63A9D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12F287E3-AA9F-4B5B-A119-7B59185D607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1B4670BB-BC3F-4220-A0C0-C0F27C579E5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3E2FDFC5-62ED-491D-B0BA-E5DC9664033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33252A78-1858-40A0-BB7F-84191B5DF5D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A1DAACA4-2F57-4F01-B8D9-E58C7BD9438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2.6576</c:v>
                </c:pt>
              </c:numCache>
            </c:numRef>
          </c:xVal>
          <c:yVal>
            <c:numRef>
              <c:f>Sheet1!$B$2:$B$2</c:f>
              <c:numCache>
                <c:formatCode>General</c:formatCode>
                <c:ptCount val="1"/>
                <c:pt idx="0">
                  <c:v>1</c:v>
                </c:pt>
              </c:numCache>
            </c:numRef>
          </c:yVal>
          <c:bubbleSize>
            <c:numRef>
              <c:f>Sheet1!$C$2:$C$2</c:f>
              <c:numCache>
                <c:formatCode>General</c:formatCode>
                <c:ptCount val="1"/>
                <c:pt idx="0">
                  <c:v>14860</c:v>
                </c:pt>
              </c:numCache>
            </c:numRef>
          </c:bubbleSize>
          <c:bubble3D val="0"/>
          <c:extLst>
            <c:ext xmlns:c15="http://schemas.microsoft.com/office/drawing/2012/chart" uri="{02D57815-91ED-43cb-92C2-25804820EDAC}">
              <c15:datalabelsRange>
                <c15:f>Sheet1!$E$2:$E$10</c15:f>
                <c15:dlblRangeCache>
                  <c:ptCount val="9"/>
                  <c:pt idx="0">
                    <c:v>Patriarch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5"/>
          <c:min val="1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CB35C07-583C-4A4F-A0EC-02883AB8915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698D61F3-66BC-43B3-9E1E-BBF12B60791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56FEC8AB-D3CB-4747-A8C4-85AA31CBAAC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BA2CE00D-0077-4E73-8A7C-0EFC8F8AB0A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D82870DB-2C80-4920-9EED-FF2AB69926C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95D74BCB-FEF3-44F8-A643-927200B34D5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01F59117-FE12-4DA8-B9D1-61B5B75CAB7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05777B6C-465C-430D-89D2-9DC8FF968B6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2.973800000000001</c:v>
                </c:pt>
              </c:numCache>
            </c:numRef>
          </c:xVal>
          <c:yVal>
            <c:numRef>
              <c:f>Sheet1!$B$2:$B$2</c:f>
              <c:numCache>
                <c:formatCode>General</c:formatCode>
                <c:ptCount val="1"/>
                <c:pt idx="0">
                  <c:v>1</c:v>
                </c:pt>
              </c:numCache>
            </c:numRef>
          </c:yVal>
          <c:bubbleSize>
            <c:numRef>
              <c:f>Sheet1!$C$2:$C$2</c:f>
              <c:numCache>
                <c:formatCode>General</c:formatCode>
                <c:ptCount val="1"/>
                <c:pt idx="0">
                  <c:v>3957</c:v>
                </c:pt>
              </c:numCache>
            </c:numRef>
          </c:bubbleSize>
          <c:bubble3D val="0"/>
          <c:extLst>
            <c:ext xmlns:c15="http://schemas.microsoft.com/office/drawing/2012/chart" uri="{02D57815-91ED-43cb-92C2-25804820EDAC}">
              <c15:datalabelsRange>
                <c15:f>Sheet1!$E$2:$E$10</c15:f>
                <c15:dlblRangeCache>
                  <c:ptCount val="9"/>
                  <c:pt idx="0">
                    <c:v>Patriarch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6"/>
          <c:min val="1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0C91D1E-C352-472A-8C8C-9A9364EA0DD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48CE68C9-BAE8-444F-AAA2-A52E697BAD8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9496ED60-3F56-4D62-B237-A522AACD862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10230152-9E18-4577-8002-10564E26D17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781F78DD-460E-4143-A0D6-B622587A1CA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E2196F3D-E72D-4D5E-A78A-617D7D8A9DA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18C890FD-8B0C-425F-82B8-845FE30653C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FB653994-EA09-48A2-9D67-37D35D823E9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2.7675</c:v>
                </c:pt>
              </c:numCache>
            </c:numRef>
          </c:xVal>
          <c:yVal>
            <c:numRef>
              <c:f>Sheet1!$B$2:$B$2</c:f>
              <c:numCache>
                <c:formatCode>General</c:formatCode>
                <c:ptCount val="1"/>
                <c:pt idx="0">
                  <c:v>1</c:v>
                </c:pt>
              </c:numCache>
            </c:numRef>
          </c:yVal>
          <c:bubbleSize>
            <c:numRef>
              <c:f>Sheet1!$C$2:$C$2</c:f>
              <c:numCache>
                <c:formatCode>General</c:formatCode>
                <c:ptCount val="1"/>
                <c:pt idx="0">
                  <c:v>123577</c:v>
                </c:pt>
              </c:numCache>
            </c:numRef>
          </c:bubbleSize>
          <c:bubble3D val="0"/>
          <c:extLst>
            <c:ext xmlns:c15="http://schemas.microsoft.com/office/drawing/2012/chart" uri="{02D57815-91ED-43cb-92C2-25804820EDAC}">
              <c15:datalabelsRange>
                <c15:f>Sheet1!$E$2:$E$10</c15:f>
                <c15:dlblRangeCache>
                  <c:ptCount val="9"/>
                  <c:pt idx="0">
                    <c:v>Patriarch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5"/>
          <c:min val="1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3EE440C-A8ED-447C-AE09-5F2909AE548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1AFF6558-78C9-4EBC-91AC-489AD8AB756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2F83EE85-D30F-4929-854D-091CFEA18C0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70F6F951-DC86-46D8-9CF9-3293D6B6312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FDC40D07-2BF6-47F6-A7A7-B93DC029667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C9147825-3AF7-4254-834E-77B9752CAD5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3B41F35B-51F9-4518-87BC-9D8799EC3B8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54CDF6AB-7826-4B38-BA90-1E696EEFDAB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2.7821</c:v>
                </c:pt>
              </c:numCache>
            </c:numRef>
          </c:xVal>
          <c:yVal>
            <c:numRef>
              <c:f>Sheet1!$B$2:$B$2</c:f>
              <c:numCache>
                <c:formatCode>General</c:formatCode>
                <c:ptCount val="1"/>
                <c:pt idx="0">
                  <c:v>1</c:v>
                </c:pt>
              </c:numCache>
            </c:numRef>
          </c:yVal>
          <c:bubbleSize>
            <c:numRef>
              <c:f>Sheet1!$C$2:$C$2</c:f>
              <c:numCache>
                <c:formatCode>General</c:formatCode>
                <c:ptCount val="1"/>
                <c:pt idx="0">
                  <c:v>74724</c:v>
                </c:pt>
              </c:numCache>
            </c:numRef>
          </c:bubbleSize>
          <c:bubble3D val="0"/>
          <c:extLst>
            <c:ext xmlns:c15="http://schemas.microsoft.com/office/drawing/2012/chart" uri="{02D57815-91ED-43cb-92C2-25804820EDAC}">
              <c15:datalabelsRange>
                <c15:f>Sheet1!$E$2:$E$10</c15:f>
                <c15:dlblRangeCache>
                  <c:ptCount val="9"/>
                  <c:pt idx="0">
                    <c:v>Patriarch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5"/>
          <c:min val="1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4FE9AF7-CB33-45A4-ADA2-A808CBF2585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F3924B31-23A8-4707-8247-859BBBDE470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04418400-3958-4C09-B29E-EC7E7D80ABA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9169650A-DF17-4D95-BAF0-8ED4ADCA84E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F86C0893-1A4B-49E2-AAD1-700CDA40A9E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ED90471C-95C6-4247-9BF8-38D4CB9CA2E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D7DBDC90-0ADA-46C5-8E30-B4CADA4BFAC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D57F80F5-959E-4191-BA35-9AF43AA8B7B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2.696099999999999</c:v>
                </c:pt>
              </c:numCache>
            </c:numRef>
          </c:xVal>
          <c:yVal>
            <c:numRef>
              <c:f>Sheet1!$B$2:$B$2</c:f>
              <c:numCache>
                <c:formatCode>General</c:formatCode>
                <c:ptCount val="1"/>
                <c:pt idx="0">
                  <c:v>1</c:v>
                </c:pt>
              </c:numCache>
            </c:numRef>
          </c:yVal>
          <c:bubbleSize>
            <c:numRef>
              <c:f>Sheet1!$C$2:$C$2</c:f>
              <c:numCache>
                <c:formatCode>General</c:formatCode>
                <c:ptCount val="1"/>
                <c:pt idx="0">
                  <c:v>111713</c:v>
                </c:pt>
              </c:numCache>
            </c:numRef>
          </c:bubbleSize>
          <c:bubble3D val="0"/>
          <c:extLst>
            <c:ext xmlns:c15="http://schemas.microsoft.com/office/drawing/2012/chart" uri="{02D57815-91ED-43cb-92C2-25804820EDAC}">
              <c15:datalabelsRange>
                <c15:f>Sheet1!$E$2:$E$10</c15:f>
                <c15:dlblRangeCache>
                  <c:ptCount val="9"/>
                  <c:pt idx="0">
                    <c:v>Patriarch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5"/>
          <c:min val="1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69A3D70-73F2-44AE-A5FE-8D8E0BB8473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AAAEC553-4EFB-46AA-AFD3-98CD68CD734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10FFE03F-4E2F-4A56-A464-4602DB52FF0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AFE191D2-347E-44A7-AA3A-1E47A61F009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03D2CCF2-29C7-4C6A-BE5C-D65247DC481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3AE9D96C-AA55-4E7D-97EF-0DB722F804D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3C958568-01D3-40BC-A425-ECDE305FB51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EC1309D2-265E-4D51-9C7B-5E4CF91D9A6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2.751099999999999</c:v>
                </c:pt>
              </c:numCache>
            </c:numRef>
          </c:xVal>
          <c:yVal>
            <c:numRef>
              <c:f>Sheet1!$B$2:$B$2</c:f>
              <c:numCache>
                <c:formatCode>General</c:formatCode>
                <c:ptCount val="1"/>
                <c:pt idx="0">
                  <c:v>0.97599999999999998</c:v>
                </c:pt>
              </c:numCache>
            </c:numRef>
          </c:yVal>
          <c:bubbleSize>
            <c:numRef>
              <c:f>Sheet1!$C$2:$C$2</c:f>
              <c:numCache>
                <c:formatCode>General</c:formatCode>
                <c:ptCount val="1"/>
                <c:pt idx="0">
                  <c:v>99140</c:v>
                </c:pt>
              </c:numCache>
            </c:numRef>
          </c:bubbleSize>
          <c:bubble3D val="0"/>
          <c:extLst>
            <c:ext xmlns:c15="http://schemas.microsoft.com/office/drawing/2012/chart" uri="{02D57815-91ED-43cb-92C2-25804820EDAC}">
              <c15:datalabelsRange>
                <c15:f>Sheet1!$E$2:$E$10</c15:f>
                <c15:dlblRangeCache>
                  <c:ptCount val="9"/>
                  <c:pt idx="0">
                    <c:v>Patriarch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5"/>
          <c:min val="1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175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B527834-0F9F-4606-A0B7-B32E7B96CC9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F3A58B36-D0D7-4EB2-9E1B-2421EC655D3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DE95144A-A04B-4B01-8007-3C52A5BDB71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5C9510E2-6048-45D1-8F47-D05DF1AEF6B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DDC01738-4291-48C3-8F40-84F32D95B32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BCA1924A-EB97-48EF-B19B-7E776F8FB34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4B74CD01-425E-4421-9A33-0D541ACE3DE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4C74E879-BE65-4768-8EE3-6AEA7CE653E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2.7788</c:v>
                </c:pt>
              </c:numCache>
            </c:numRef>
          </c:xVal>
          <c:yVal>
            <c:numRef>
              <c:f>Sheet1!$B$2:$B$2</c:f>
              <c:numCache>
                <c:formatCode>General</c:formatCode>
                <c:ptCount val="1"/>
                <c:pt idx="0">
                  <c:v>0.997</c:v>
                </c:pt>
              </c:numCache>
            </c:numRef>
          </c:yVal>
          <c:bubbleSize>
            <c:numRef>
              <c:f>Sheet1!$C$2:$C$2</c:f>
              <c:numCache>
                <c:formatCode>General</c:formatCode>
                <c:ptCount val="1"/>
                <c:pt idx="0">
                  <c:v>98192</c:v>
                </c:pt>
              </c:numCache>
            </c:numRef>
          </c:bubbleSize>
          <c:bubble3D val="0"/>
          <c:extLst>
            <c:ext xmlns:c15="http://schemas.microsoft.com/office/drawing/2012/chart" uri="{02D57815-91ED-43cb-92C2-25804820EDAC}">
              <c15:datalabelsRange>
                <c15:f>Sheet1!$E$2:$E$10</c15:f>
                <c15:dlblRangeCache>
                  <c:ptCount val="9"/>
                  <c:pt idx="0">
                    <c:v>Patriarch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5"/>
          <c:min val="1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1970000000000001"/>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462CFE2-70BC-48C1-9129-9CF6A8862E4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5BF43F8-3744-4F18-AB54-57BEA9FE5BE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9F7D86F-7A57-43C2-9ACC-612F4B90045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5D4A29E-1748-4F96-BF9A-2AC55D9863D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5F1ABB72-022E-4992-A9C1-2CE24F76787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02AF5F8-3F14-4890-A1DC-BD337EE5139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38DDD8E7-48E2-4F4F-91D2-1C0A82F9800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CCC5076B-2E64-41D6-8124-19B2FB4C332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6.9976000000000003</c:v>
                </c:pt>
                <c:pt idx="1">
                  <c:v>5.4188999999999998</c:v>
                </c:pt>
                <c:pt idx="2">
                  <c:v>6.3528000000000002</c:v>
                </c:pt>
                <c:pt idx="3">
                  <c:v>6.7249999999999996</c:v>
                </c:pt>
                <c:pt idx="4">
                  <c:v>7.1329000000000002</c:v>
                </c:pt>
                <c:pt idx="5">
                  <c:v>6.0354999999999999</c:v>
                </c:pt>
                <c:pt idx="6">
                  <c:v>7.5696000000000003</c:v>
                </c:pt>
                <c:pt idx="7">
                  <c:v>5.5134999999999996</c:v>
                </c:pt>
              </c:numCache>
            </c:numRef>
          </c:xVal>
          <c:yVal>
            <c:numRef>
              <c:f>Sheet1!$B$2:$B$9</c:f>
              <c:numCache>
                <c:formatCode>General</c:formatCode>
                <c:ptCount val="8"/>
                <c:pt idx="0">
                  <c:v>1.149</c:v>
                </c:pt>
                <c:pt idx="1">
                  <c:v>0.82099999999999995</c:v>
                </c:pt>
                <c:pt idx="2">
                  <c:v>0.97099999999999997</c:v>
                </c:pt>
                <c:pt idx="3">
                  <c:v>1.097</c:v>
                </c:pt>
                <c:pt idx="4">
                  <c:v>1.0580000000000001</c:v>
                </c:pt>
                <c:pt idx="5">
                  <c:v>0.95699999999999996</c:v>
                </c:pt>
                <c:pt idx="6">
                  <c:v>1.0629999999999999</c:v>
                </c:pt>
                <c:pt idx="7">
                  <c:v>0.89300000000000002</c:v>
                </c:pt>
              </c:numCache>
            </c:numRef>
          </c:yVal>
          <c:bubbleSize>
            <c:numRef>
              <c:f>Sheet1!$C$2:$C$9</c:f>
              <c:numCache>
                <c:formatCode>General</c:formatCode>
                <c:ptCount val="8"/>
                <c:pt idx="0">
                  <c:v>26217786</c:v>
                </c:pt>
                <c:pt idx="1">
                  <c:v>25627765</c:v>
                </c:pt>
                <c:pt idx="2">
                  <c:v>21170443</c:v>
                </c:pt>
                <c:pt idx="3">
                  <c:v>15294585</c:v>
                </c:pt>
                <c:pt idx="4">
                  <c:v>12946978</c:v>
                </c:pt>
                <c:pt idx="5">
                  <c:v>5219639</c:v>
                </c:pt>
                <c:pt idx="6">
                  <c:v>3730611</c:v>
                </c:pt>
                <c:pt idx="7">
                  <c:v>3036504</c:v>
                </c:pt>
              </c:numCache>
            </c:numRef>
          </c:bubbleSize>
          <c:bubble3D val="0"/>
          <c:extLst>
            <c:ext xmlns:c15="http://schemas.microsoft.com/office/drawing/2012/chart" uri="{02D57815-91ED-43cb-92C2-25804820EDAC}">
              <c15:datalabelsRange>
                <c15:f>Sheet1!$E$2:$E$10</c15:f>
                <c15:dlblRangeCache>
                  <c:ptCount val="9"/>
                  <c:pt idx="0">
                    <c:v>Riccadonna</c:v>
                  </c:pt>
                  <c:pt idx="1">
                    <c:v>Mdd</c:v>
                  </c:pt>
                  <c:pt idx="2">
                    <c:v>Vilaveroni</c:v>
                  </c:pt>
                  <c:pt idx="3">
                    <c:v>Perlino</c:v>
                  </c:pt>
                  <c:pt idx="4">
                    <c:v>Mionetto</c:v>
                  </c:pt>
                  <c:pt idx="5">
                    <c:v>Signore Giuseppe</c:v>
                  </c:pt>
                  <c:pt idx="6">
                    <c:v>Maschio</c:v>
                  </c:pt>
                  <c:pt idx="7">
                    <c:v>Nobrand</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9"/>
          <c:min val="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34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977F1BE-B085-4062-ABD5-68BDAB7D56F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E824298-5985-4858-8090-CC1C1F71F13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6DA3D97-9CAE-4146-875D-B6B370D2778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1BE5D2B2-A33F-4BE3-9344-44F1246EC79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E70FC251-9D8F-492B-8B14-8C46C28A1F1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C2127F4F-33E8-4777-A68F-8DC5B21F8E2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3F650D63-904D-43FA-9CC1-1414FD5A8A9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C599D89B-8CB6-47B2-A53A-353D28B494A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1.451499999999999</c:v>
                </c:pt>
                <c:pt idx="1">
                  <c:v>9.1104000000000003</c:v>
                </c:pt>
                <c:pt idx="2">
                  <c:v>11.444699999999999</c:v>
                </c:pt>
              </c:numCache>
            </c:numRef>
          </c:xVal>
          <c:yVal>
            <c:numRef>
              <c:f>Sheet1!$B$2:$B$4</c:f>
              <c:numCache>
                <c:formatCode>General</c:formatCode>
                <c:ptCount val="3"/>
                <c:pt idx="0">
                  <c:v>1.278</c:v>
                </c:pt>
                <c:pt idx="1">
                  <c:v>1.0169999999999999</c:v>
                </c:pt>
                <c:pt idx="2">
                  <c:v>1.077</c:v>
                </c:pt>
              </c:numCache>
            </c:numRef>
          </c:yVal>
          <c:bubbleSize>
            <c:numRef>
              <c:f>Sheet1!$C$2:$C$4</c:f>
              <c:numCache>
                <c:formatCode>General</c:formatCode>
                <c:ptCount val="3"/>
                <c:pt idx="0">
                  <c:v>607538</c:v>
                </c:pt>
                <c:pt idx="1">
                  <c:v>323774</c:v>
                </c:pt>
                <c:pt idx="2">
                  <c:v>90905</c:v>
                </c:pt>
              </c:numCache>
            </c:numRef>
          </c:bubbleSize>
          <c:bubble3D val="0"/>
          <c:extLst>
            <c:ext xmlns:c15="http://schemas.microsoft.com/office/drawing/2012/chart" uri="{02D57815-91ED-43cb-92C2-25804820EDAC}">
              <c15:datalabelsRange>
                <c15:f>Sheet1!$E$2:$E$10</c15:f>
                <c15:dlblRangeCache>
                  <c:ptCount val="9"/>
                  <c:pt idx="0">
                    <c:v>Bottega</c:v>
                  </c:pt>
                  <c:pt idx="1">
                    <c:v>Savian</c:v>
                  </c:pt>
                  <c:pt idx="2">
                    <c:v>Contarini</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4"/>
          <c:min val="7"/>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478"/>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24233F9-8DBC-4121-A844-9F73EF36D2A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FCEA721-EEFD-4C8F-A64B-A5FFEEAA394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8C53058-8B10-46CC-BE81-5D8A701C183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A765F9A-BF8F-4462-B96A-C6526D92733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4386ABD-9CBA-49A6-8804-52685B16CDB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975C971-37B5-4DF9-AAD2-443775014BA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2B1E544F-2AB2-4B0C-847B-136813697CF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2860212F-1D29-465D-94AF-75F320A5068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6.9976000000000003</c:v>
                </c:pt>
                <c:pt idx="1">
                  <c:v>5.4188999999999998</c:v>
                </c:pt>
                <c:pt idx="2">
                  <c:v>6.3528000000000002</c:v>
                </c:pt>
                <c:pt idx="3">
                  <c:v>6.7249999999999996</c:v>
                </c:pt>
                <c:pt idx="4">
                  <c:v>7.1329000000000002</c:v>
                </c:pt>
                <c:pt idx="5">
                  <c:v>6.0354999999999999</c:v>
                </c:pt>
                <c:pt idx="6">
                  <c:v>7.5696000000000003</c:v>
                </c:pt>
                <c:pt idx="7">
                  <c:v>5.5134999999999996</c:v>
                </c:pt>
              </c:numCache>
            </c:numRef>
          </c:xVal>
          <c:yVal>
            <c:numRef>
              <c:f>Sheet1!$B$2:$B$9</c:f>
              <c:numCache>
                <c:formatCode>General</c:formatCode>
                <c:ptCount val="8"/>
                <c:pt idx="0">
                  <c:v>1.1539999999999999</c:v>
                </c:pt>
                <c:pt idx="1">
                  <c:v>0.82399999999999995</c:v>
                </c:pt>
                <c:pt idx="2">
                  <c:v>0.97499999999999998</c:v>
                </c:pt>
                <c:pt idx="3">
                  <c:v>1.1020000000000001</c:v>
                </c:pt>
                <c:pt idx="4">
                  <c:v>1.0620000000000001</c:v>
                </c:pt>
                <c:pt idx="5">
                  <c:v>0.96099999999999997</c:v>
                </c:pt>
                <c:pt idx="6">
                  <c:v>1.0680000000000001</c:v>
                </c:pt>
                <c:pt idx="7">
                  <c:v>0.89600000000000002</c:v>
                </c:pt>
              </c:numCache>
            </c:numRef>
          </c:yVal>
          <c:bubbleSize>
            <c:numRef>
              <c:f>Sheet1!$C$2:$C$9</c:f>
              <c:numCache>
                <c:formatCode>General</c:formatCode>
                <c:ptCount val="8"/>
                <c:pt idx="0">
                  <c:v>26217786</c:v>
                </c:pt>
                <c:pt idx="1">
                  <c:v>25627765</c:v>
                </c:pt>
                <c:pt idx="2">
                  <c:v>21162718</c:v>
                </c:pt>
                <c:pt idx="3">
                  <c:v>15294585</c:v>
                </c:pt>
                <c:pt idx="4">
                  <c:v>12946978</c:v>
                </c:pt>
                <c:pt idx="5">
                  <c:v>5219639</c:v>
                </c:pt>
                <c:pt idx="6">
                  <c:v>3730611</c:v>
                </c:pt>
                <c:pt idx="7">
                  <c:v>3036504</c:v>
                </c:pt>
              </c:numCache>
            </c:numRef>
          </c:bubbleSize>
          <c:bubble3D val="0"/>
          <c:extLst>
            <c:ext xmlns:c15="http://schemas.microsoft.com/office/drawing/2012/chart" uri="{02D57815-91ED-43cb-92C2-25804820EDAC}">
              <c15:datalabelsRange>
                <c15:f>Sheet1!$E$2:$E$10</c15:f>
                <c15:dlblRangeCache>
                  <c:ptCount val="9"/>
                  <c:pt idx="0">
                    <c:v>Riccadonna</c:v>
                  </c:pt>
                  <c:pt idx="1">
                    <c:v>Mdd</c:v>
                  </c:pt>
                  <c:pt idx="2">
                    <c:v>Vilaveroni</c:v>
                  </c:pt>
                  <c:pt idx="3">
                    <c:v>Perlino</c:v>
                  </c:pt>
                  <c:pt idx="4">
                    <c:v>Mionetto</c:v>
                  </c:pt>
                  <c:pt idx="5">
                    <c:v>Signore Giuseppe</c:v>
                  </c:pt>
                  <c:pt idx="6">
                    <c:v>Maschio</c:v>
                  </c:pt>
                  <c:pt idx="7">
                    <c:v>Nobrand</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9"/>
          <c:min val="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353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D80D9CAB-3104-43EF-9900-622DF82192F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12DF75F5-39F9-4D96-A430-18E420DFD99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2A00A223-0080-4A12-AE38-2F4BFB3D0E2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E73FF73D-236F-4FB3-830F-45F00302E02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0D810FF0-6FB0-49FF-8245-05D3905006A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B383FE3F-83D6-4819-8E70-BBC533D3E8A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CFCB5E66-AA03-4F31-B1D4-7CC9A41D4B3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E74321A3-A78E-40CC-8918-87EB1E07DF1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11.4709</c:v>
                </c:pt>
                <c:pt idx="1">
                  <c:v>12.8293</c:v>
                </c:pt>
                <c:pt idx="2">
                  <c:v>9.1577000000000002</c:v>
                </c:pt>
                <c:pt idx="3">
                  <c:v>17.518999999999998</c:v>
                </c:pt>
                <c:pt idx="4">
                  <c:v>11.9748</c:v>
                </c:pt>
                <c:pt idx="5">
                  <c:v>11.4427</c:v>
                </c:pt>
                <c:pt idx="6">
                  <c:v>13.5473</c:v>
                </c:pt>
                <c:pt idx="7">
                  <c:v>11.4771</c:v>
                </c:pt>
              </c:numCache>
            </c:numRef>
          </c:xVal>
          <c:yVal>
            <c:numRef>
              <c:f>Sheet1!$B$2:$B$9</c:f>
              <c:numCache>
                <c:formatCode>General</c:formatCode>
                <c:ptCount val="8"/>
                <c:pt idx="0">
                  <c:v>1.123</c:v>
                </c:pt>
                <c:pt idx="1">
                  <c:v>1.2569999999999999</c:v>
                </c:pt>
                <c:pt idx="2">
                  <c:v>0.89700000000000002</c:v>
                </c:pt>
                <c:pt idx="3">
                  <c:v>1.714</c:v>
                </c:pt>
                <c:pt idx="4">
                  <c:v>1.105</c:v>
                </c:pt>
                <c:pt idx="5">
                  <c:v>1.1160000000000001</c:v>
                </c:pt>
                <c:pt idx="6">
                  <c:v>1.327</c:v>
                </c:pt>
                <c:pt idx="7">
                  <c:v>0.93799999999999994</c:v>
                </c:pt>
              </c:numCache>
            </c:numRef>
          </c:yVal>
          <c:bubbleSize>
            <c:numRef>
              <c:f>Sheet1!$C$2:$C$9</c:f>
              <c:numCache>
                <c:formatCode>General</c:formatCode>
                <c:ptCount val="8"/>
                <c:pt idx="0">
                  <c:v>78289</c:v>
                </c:pt>
                <c:pt idx="1">
                  <c:v>39373</c:v>
                </c:pt>
                <c:pt idx="2">
                  <c:v>32061</c:v>
                </c:pt>
                <c:pt idx="3">
                  <c:v>22179</c:v>
                </c:pt>
                <c:pt idx="4">
                  <c:v>16609</c:v>
                </c:pt>
                <c:pt idx="5">
                  <c:v>12072</c:v>
                </c:pt>
                <c:pt idx="6">
                  <c:v>8589</c:v>
                </c:pt>
                <c:pt idx="7">
                  <c:v>8252</c:v>
                </c:pt>
              </c:numCache>
            </c:numRef>
          </c:bubbleSize>
          <c:bubble3D val="0"/>
          <c:extLst>
            <c:ext xmlns:c15="http://schemas.microsoft.com/office/drawing/2012/chart" uri="{02D57815-91ED-43cb-92C2-25804820EDAC}">
              <c15:datalabelsRange>
                <c15:f>Sheet1!$E$2:$E$10</c15:f>
                <c15:dlblRangeCache>
                  <c:ptCount val="9"/>
                  <c:pt idx="0">
                    <c:v>Bottega</c:v>
                  </c:pt>
                  <c:pt idx="1">
                    <c:v>Patriarche</c:v>
                  </c:pt>
                  <c:pt idx="2">
                    <c:v>Savian</c:v>
                  </c:pt>
                  <c:pt idx="3">
                    <c:v>Mure</c:v>
                  </c:pt>
                  <c:pt idx="4">
                    <c:v>Bouvet-Ladubay</c:v>
                  </c:pt>
                  <c:pt idx="5">
                    <c:v>Chateau Moncontour</c:v>
                  </c:pt>
                  <c:pt idx="6">
                    <c:v>De Chanceny</c:v>
                  </c:pt>
                  <c:pt idx="7">
                    <c:v>Contarini</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
          <c:min val="7"/>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72029FA-B2BC-43F6-AE9D-2CACF343991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E06A9F8-CF2C-44B0-9006-1D64A767489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4F9A09E-7231-4BD3-BF0F-D8EEBAA4955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BA9418DE-31C4-4487-BA11-51E744A3F46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049C968D-068D-4DDC-B9FF-7ADCCD3F2CB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866361B5-BFB6-4ED6-A3CC-2A059C6D257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559E08EE-A707-472C-B682-F04B8940846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CA46CEB4-F020-498D-95D6-255330297D3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1.4527</c:v>
                </c:pt>
                <c:pt idx="1">
                  <c:v>9.0898000000000003</c:v>
                </c:pt>
                <c:pt idx="2">
                  <c:v>11.3033</c:v>
                </c:pt>
              </c:numCache>
            </c:numRef>
          </c:xVal>
          <c:yVal>
            <c:numRef>
              <c:f>Sheet1!$B$2:$B$4</c:f>
              <c:numCache>
                <c:formatCode>General</c:formatCode>
                <c:ptCount val="3"/>
                <c:pt idx="0">
                  <c:v>1.2749999999999999</c:v>
                </c:pt>
                <c:pt idx="1">
                  <c:v>1.012</c:v>
                </c:pt>
                <c:pt idx="2">
                  <c:v>1.0740000000000001</c:v>
                </c:pt>
              </c:numCache>
            </c:numRef>
          </c:yVal>
          <c:bubbleSize>
            <c:numRef>
              <c:f>Sheet1!$C$2:$C$4</c:f>
              <c:numCache>
                <c:formatCode>General</c:formatCode>
                <c:ptCount val="3"/>
                <c:pt idx="0">
                  <c:v>290933</c:v>
                </c:pt>
                <c:pt idx="1">
                  <c:v>172107</c:v>
                </c:pt>
                <c:pt idx="2">
                  <c:v>43710</c:v>
                </c:pt>
              </c:numCache>
            </c:numRef>
          </c:bubbleSize>
          <c:bubble3D val="0"/>
          <c:extLst>
            <c:ext xmlns:c15="http://schemas.microsoft.com/office/drawing/2012/chart" uri="{02D57815-91ED-43cb-92C2-25804820EDAC}">
              <c15:datalabelsRange>
                <c15:f>Sheet1!$E$2:$E$10</c15:f>
                <c15:dlblRangeCache>
                  <c:ptCount val="9"/>
                  <c:pt idx="0">
                    <c:v>Bottega</c:v>
                  </c:pt>
                  <c:pt idx="1">
                    <c:v>Savian</c:v>
                  </c:pt>
                  <c:pt idx="2">
                    <c:v>Contarini</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4"/>
          <c:min val="7"/>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474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0CBC950-DD88-4ABD-85E2-E876A9160B7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B53C9FC-226B-4E28-8975-6023754D494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E14F66B-4B58-40B1-BD8E-9A18185C8B9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734C68C7-E0A4-4643-9FE0-9E0729A3C57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2871A7ED-351F-4E14-BE58-C9B7550C38D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F2264E1C-7F9D-4164-9B29-DAD1BC9AC05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A993BC0B-09B9-44FA-B07A-15BF724D57C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FC75B940-EF24-40EE-971B-418E1C270A3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1.3698</c:v>
                </c:pt>
                <c:pt idx="1">
                  <c:v>9.0983000000000001</c:v>
                </c:pt>
                <c:pt idx="2">
                  <c:v>11.728</c:v>
                </c:pt>
              </c:numCache>
            </c:numRef>
          </c:xVal>
          <c:yVal>
            <c:numRef>
              <c:f>Sheet1!$B$2:$B$4</c:f>
              <c:numCache>
                <c:formatCode>General</c:formatCode>
                <c:ptCount val="3"/>
                <c:pt idx="0">
                  <c:v>1.2749999999999999</c:v>
                </c:pt>
                <c:pt idx="1">
                  <c:v>1.022</c:v>
                </c:pt>
                <c:pt idx="2">
                  <c:v>1.083</c:v>
                </c:pt>
              </c:numCache>
            </c:numRef>
          </c:yVal>
          <c:bubbleSize>
            <c:numRef>
              <c:f>Sheet1!$C$2:$C$4</c:f>
              <c:numCache>
                <c:formatCode>General</c:formatCode>
                <c:ptCount val="3"/>
                <c:pt idx="0">
                  <c:v>108729</c:v>
                </c:pt>
                <c:pt idx="1">
                  <c:v>55136</c:v>
                </c:pt>
                <c:pt idx="2">
                  <c:v>17287</c:v>
                </c:pt>
              </c:numCache>
            </c:numRef>
          </c:bubbleSize>
          <c:bubble3D val="0"/>
          <c:extLst>
            <c:ext xmlns:c15="http://schemas.microsoft.com/office/drawing/2012/chart" uri="{02D57815-91ED-43cb-92C2-25804820EDAC}">
              <c15:datalabelsRange>
                <c15:f>Sheet1!$E$2:$E$10</c15:f>
                <c15:dlblRangeCache>
                  <c:ptCount val="9"/>
                  <c:pt idx="0">
                    <c:v>Bottega</c:v>
                  </c:pt>
                  <c:pt idx="1">
                    <c:v>Savian</c:v>
                  </c:pt>
                  <c:pt idx="2">
                    <c:v>Contarini</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4"/>
          <c:min val="7"/>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474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3B986FC-9E30-48B3-A566-989359087C1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AB87980-FFF5-4DD2-B453-02E1EF1A50E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1F0DB6F-18C4-411A-A3FC-BECC60F11AD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66A0F388-E8D3-4854-90E9-88D32C6F214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8B28AC12-A861-496A-A5FD-608466F2859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69901897-017D-4726-A1DC-A9A09CB19E7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AA5D8D24-5EA6-460F-A5D7-FA191403806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6051F951-356D-4578-8177-ACC4A26D1C6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1.425599999999999</c:v>
                </c:pt>
                <c:pt idx="1">
                  <c:v>9.1058000000000003</c:v>
                </c:pt>
                <c:pt idx="2">
                  <c:v>11.3514</c:v>
                </c:pt>
              </c:numCache>
            </c:numRef>
          </c:xVal>
          <c:yVal>
            <c:numRef>
              <c:f>Sheet1!$B$2:$B$4</c:f>
              <c:numCache>
                <c:formatCode>General</c:formatCode>
                <c:ptCount val="3"/>
                <c:pt idx="0">
                  <c:v>1.256</c:v>
                </c:pt>
                <c:pt idx="1">
                  <c:v>1.002</c:v>
                </c:pt>
                <c:pt idx="2">
                  <c:v>1.0620000000000001</c:v>
                </c:pt>
              </c:numCache>
            </c:numRef>
          </c:yVal>
          <c:bubbleSize>
            <c:numRef>
              <c:f>Sheet1!$C$2:$C$4</c:f>
              <c:numCache>
                <c:formatCode>General</c:formatCode>
                <c:ptCount val="3"/>
                <c:pt idx="0">
                  <c:v>75203</c:v>
                </c:pt>
                <c:pt idx="1">
                  <c:v>40348</c:v>
                </c:pt>
                <c:pt idx="2">
                  <c:v>9206</c:v>
                </c:pt>
              </c:numCache>
            </c:numRef>
          </c:bubbleSize>
          <c:bubble3D val="0"/>
          <c:extLst>
            <c:ext xmlns:c15="http://schemas.microsoft.com/office/drawing/2012/chart" uri="{02D57815-91ED-43cb-92C2-25804820EDAC}">
              <c15:datalabelsRange>
                <c15:f>Sheet1!$E$2:$E$10</c15:f>
                <c15:dlblRangeCache>
                  <c:ptCount val="9"/>
                  <c:pt idx="0">
                    <c:v>Bottega</c:v>
                  </c:pt>
                  <c:pt idx="1">
                    <c:v>Savian</c:v>
                  </c:pt>
                  <c:pt idx="2">
                    <c:v>Contarini</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4"/>
          <c:min val="7"/>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456"/>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0E03327-F9D8-4F5E-81E7-72B78B38C80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71EFD9D-AC2B-4943-8894-FBF4E837E1E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E278890-F9F2-44F9-A71E-7E306CB0980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A835251A-FC04-4414-8BCE-CE42575C136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B8E6F875-CC88-4294-A3D3-B4F2E98F7B7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954D0DE3-A8BA-4AB3-B602-B1508636B10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4E449F29-2306-4C8C-BC1E-A61046BB53B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31515457-46E0-4C93-A2B2-AC75FA21BE5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1.524699999999999</c:v>
                </c:pt>
                <c:pt idx="1">
                  <c:v>9.1434999999999995</c:v>
                </c:pt>
                <c:pt idx="2">
                  <c:v>11.5547</c:v>
                </c:pt>
              </c:numCache>
            </c:numRef>
          </c:xVal>
          <c:yVal>
            <c:numRef>
              <c:f>Sheet1!$B$2:$B$4</c:f>
              <c:numCache>
                <c:formatCode>General</c:formatCode>
                <c:ptCount val="3"/>
                <c:pt idx="0">
                  <c:v>1.258</c:v>
                </c:pt>
                <c:pt idx="1">
                  <c:v>1.0009999999999999</c:v>
                </c:pt>
                <c:pt idx="2">
                  <c:v>1.06</c:v>
                </c:pt>
              </c:numCache>
            </c:numRef>
          </c:yVal>
          <c:bubbleSize>
            <c:numRef>
              <c:f>Sheet1!$C$2:$C$4</c:f>
              <c:numCache>
                <c:formatCode>General</c:formatCode>
                <c:ptCount val="3"/>
                <c:pt idx="0">
                  <c:v>34574</c:v>
                </c:pt>
                <c:pt idx="1">
                  <c:v>19558</c:v>
                </c:pt>
                <c:pt idx="2">
                  <c:v>4437</c:v>
                </c:pt>
              </c:numCache>
            </c:numRef>
          </c:bubbleSize>
          <c:bubble3D val="0"/>
          <c:extLst>
            <c:ext xmlns:c15="http://schemas.microsoft.com/office/drawing/2012/chart" uri="{02D57815-91ED-43cb-92C2-25804820EDAC}">
              <c15:datalabelsRange>
                <c15:f>Sheet1!$E$2:$E$10</c15:f>
                <c15:dlblRangeCache>
                  <c:ptCount val="9"/>
                  <c:pt idx="0">
                    <c:v>Bottega</c:v>
                  </c:pt>
                  <c:pt idx="1">
                    <c:v>Savian</c:v>
                  </c:pt>
                  <c:pt idx="2">
                    <c:v>Contarini</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4"/>
          <c:min val="7"/>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458"/>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3E6A5CC-DFB5-49F6-890A-EF544CE336C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58038A1-85F6-4B28-B3F0-67CCF4BD321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8A69868-1735-44D9-8012-B7D6CA9F66A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17B1FA4-6FA3-494B-8A62-DD34609BA46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EFD4574B-F41D-44AB-B570-434642A6A7A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9BD2AFE7-8627-4CB8-8275-6FA38B1B692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C149718D-D132-4D22-8AB1-630CCAB108B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2CD35C14-FB33-472E-A50E-B3970F48B7B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11.4154</c:v>
                </c:pt>
                <c:pt idx="1">
                  <c:v>9.2040000000000006</c:v>
                </c:pt>
                <c:pt idx="2">
                  <c:v>12.408200000000001</c:v>
                </c:pt>
                <c:pt idx="3">
                  <c:v>6.5754999999999999</c:v>
                </c:pt>
              </c:numCache>
            </c:numRef>
          </c:xVal>
          <c:yVal>
            <c:numRef>
              <c:f>Sheet1!$B$2:$B$5</c:f>
              <c:numCache>
                <c:formatCode>General</c:formatCode>
                <c:ptCount val="4"/>
                <c:pt idx="0">
                  <c:v>1.325</c:v>
                </c:pt>
                <c:pt idx="1">
                  <c:v>1.06</c:v>
                </c:pt>
                <c:pt idx="2">
                  <c:v>1.109</c:v>
                </c:pt>
                <c:pt idx="3">
                  <c:v>0.73799999999999999</c:v>
                </c:pt>
              </c:numCache>
            </c:numRef>
          </c:yVal>
          <c:bubbleSize>
            <c:numRef>
              <c:f>Sheet1!$C$2:$C$5</c:f>
              <c:numCache>
                <c:formatCode>General</c:formatCode>
                <c:ptCount val="4"/>
                <c:pt idx="0">
                  <c:v>29406</c:v>
                </c:pt>
                <c:pt idx="1">
                  <c:v>12361</c:v>
                </c:pt>
                <c:pt idx="2">
                  <c:v>5472</c:v>
                </c:pt>
                <c:pt idx="3">
                  <c:v>2525</c:v>
                </c:pt>
              </c:numCache>
            </c:numRef>
          </c:bubbleSize>
          <c:bubble3D val="0"/>
          <c:extLst>
            <c:ext xmlns:c15="http://schemas.microsoft.com/office/drawing/2012/chart" uri="{02D57815-91ED-43cb-92C2-25804820EDAC}">
              <c15:datalabelsRange>
                <c15:f>Sheet1!$E$2:$E$10</c15:f>
                <c15:dlblRangeCache>
                  <c:ptCount val="9"/>
                  <c:pt idx="0">
                    <c:v>Bottega</c:v>
                  </c:pt>
                  <c:pt idx="1">
                    <c:v>Savian</c:v>
                  </c:pt>
                  <c:pt idx="2">
                    <c:v>Contarini</c:v>
                  </c:pt>
                  <c:pt idx="3">
                    <c:v>Vilaveroni</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5"/>
          <c:min val="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24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E47931A-2EF8-4662-A55B-48A1F6269D9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8060229-F156-4058-9737-B2FC9F48FAC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CE2E253-956E-4B36-8DE2-0B62512F9D8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BA15D7ED-BB2F-4341-92C1-10739FAAE7D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E635E8C0-FA54-4884-8B3A-48E325F8452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21D1CFF1-6EB6-429C-A70B-310F6C4EE54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3A83D994-330A-4C41-83AD-6C4692CEDF8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78C33D6E-E456-453E-B24E-976EA68E0DF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1.437099999999999</c:v>
                </c:pt>
                <c:pt idx="1">
                  <c:v>9.0905000000000005</c:v>
                </c:pt>
                <c:pt idx="2">
                  <c:v>11.5092</c:v>
                </c:pt>
              </c:numCache>
            </c:numRef>
          </c:xVal>
          <c:yVal>
            <c:numRef>
              <c:f>Sheet1!$B$2:$B$4</c:f>
              <c:numCache>
                <c:formatCode>General</c:formatCode>
                <c:ptCount val="3"/>
                <c:pt idx="0">
                  <c:v>1.264</c:v>
                </c:pt>
                <c:pt idx="1">
                  <c:v>1.0049999999999999</c:v>
                </c:pt>
                <c:pt idx="2">
                  <c:v>1.0629999999999999</c:v>
                </c:pt>
              </c:numCache>
            </c:numRef>
          </c:yVal>
          <c:bubbleSize>
            <c:numRef>
              <c:f>Sheet1!$C$2:$C$4</c:f>
              <c:numCache>
                <c:formatCode>General</c:formatCode>
                <c:ptCount val="3"/>
                <c:pt idx="0">
                  <c:v>428822</c:v>
                </c:pt>
                <c:pt idx="1">
                  <c:v>237189</c:v>
                </c:pt>
                <c:pt idx="2">
                  <c:v>61275</c:v>
                </c:pt>
              </c:numCache>
            </c:numRef>
          </c:bubbleSize>
          <c:bubble3D val="0"/>
          <c:extLst>
            <c:ext xmlns:c15="http://schemas.microsoft.com/office/drawing/2012/chart" uri="{02D57815-91ED-43cb-92C2-25804820EDAC}">
              <c15:datalabelsRange>
                <c15:f>Sheet1!$E$2:$E$10</c15:f>
                <c15:dlblRangeCache>
                  <c:ptCount val="9"/>
                  <c:pt idx="0">
                    <c:v>Bottega</c:v>
                  </c:pt>
                  <c:pt idx="1">
                    <c:v>Savian</c:v>
                  </c:pt>
                  <c:pt idx="2">
                    <c:v>Contarini</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4"/>
          <c:min val="7"/>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464"/>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07B50BC-EF10-4DC6-A3B4-4E6C9E401FF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B80239F-D91B-4E9E-BD27-2658CE67937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5950B0A-D7AA-4989-8CCD-1007438C799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48965413-2BCC-4441-85CD-46DE7A9DCF4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98489169-119B-4593-AB2B-5E15D270F67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48B8B7F3-BDA8-4AEA-A67B-630289A74D8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C676FF3C-DA87-4B21-9886-BC1DD45246B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C991F167-CE0A-4B84-B4E0-A2EBE079FD9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1.4709</c:v>
                </c:pt>
                <c:pt idx="1">
                  <c:v>9.1577000000000002</c:v>
                </c:pt>
                <c:pt idx="2">
                  <c:v>11.4771</c:v>
                </c:pt>
              </c:numCache>
            </c:numRef>
          </c:xVal>
          <c:yVal>
            <c:numRef>
              <c:f>Sheet1!$B$2:$B$4</c:f>
              <c:numCache>
                <c:formatCode>General</c:formatCode>
                <c:ptCount val="3"/>
                <c:pt idx="0">
                  <c:v>1.272</c:v>
                </c:pt>
                <c:pt idx="1">
                  <c:v>1.016</c:v>
                </c:pt>
                <c:pt idx="2">
                  <c:v>1.0620000000000001</c:v>
                </c:pt>
              </c:numCache>
            </c:numRef>
          </c:yVal>
          <c:bubbleSize>
            <c:numRef>
              <c:f>Sheet1!$C$2:$C$4</c:f>
              <c:numCache>
                <c:formatCode>General</c:formatCode>
                <c:ptCount val="3"/>
                <c:pt idx="0">
                  <c:v>78289</c:v>
                </c:pt>
                <c:pt idx="1">
                  <c:v>32061</c:v>
                </c:pt>
                <c:pt idx="2">
                  <c:v>8252</c:v>
                </c:pt>
              </c:numCache>
            </c:numRef>
          </c:bubbleSize>
          <c:bubble3D val="0"/>
          <c:extLst>
            <c:ext xmlns:c15="http://schemas.microsoft.com/office/drawing/2012/chart" uri="{02D57815-91ED-43cb-92C2-25804820EDAC}">
              <c15:datalabelsRange>
                <c15:f>Sheet1!$E$2:$E$10</c15:f>
                <c15:dlblRangeCache>
                  <c:ptCount val="9"/>
                  <c:pt idx="0">
                    <c:v>Bottega</c:v>
                  </c:pt>
                  <c:pt idx="1">
                    <c:v>Savian</c:v>
                  </c:pt>
                  <c:pt idx="2">
                    <c:v>Contarini</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4"/>
          <c:min val="7"/>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472"/>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41F1BD8-6AB9-4554-BF6B-C09177931B6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9B10A0C-947E-4BFE-8DBC-644C2A960A1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00F8F14-FA9E-4B90-9142-9EBF73D24BB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2B8FCCF-D8BD-4D20-8929-97AEDE48677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30BA39FE-C5D4-4BF7-B060-5D855C08A5B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36701AEC-5A1E-4F9B-8D04-71461392120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0E6E37B5-F45C-4388-8DB6-EF57C6AC4E9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9C4DE978-44DE-430A-AE7C-204B118B6C8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11.4886</c:v>
                </c:pt>
                <c:pt idx="1">
                  <c:v>9.1776</c:v>
                </c:pt>
                <c:pt idx="2">
                  <c:v>11.551</c:v>
                </c:pt>
                <c:pt idx="3">
                  <c:v>6.4760999999999997</c:v>
                </c:pt>
              </c:numCache>
            </c:numRef>
          </c:xVal>
          <c:yVal>
            <c:numRef>
              <c:f>Sheet1!$B$2:$B$5</c:f>
              <c:numCache>
                <c:formatCode>General</c:formatCode>
                <c:ptCount val="4"/>
                <c:pt idx="0">
                  <c:v>1.3320000000000001</c:v>
                </c:pt>
                <c:pt idx="1">
                  <c:v>1.0660000000000001</c:v>
                </c:pt>
                <c:pt idx="2">
                  <c:v>1.119</c:v>
                </c:pt>
                <c:pt idx="3">
                  <c:v>0.749</c:v>
                </c:pt>
              </c:numCache>
            </c:numRef>
          </c:yVal>
          <c:bubbleSize>
            <c:numRef>
              <c:f>Sheet1!$C$2:$C$5</c:f>
              <c:numCache>
                <c:formatCode>General</c:formatCode>
                <c:ptCount val="4"/>
                <c:pt idx="0">
                  <c:v>41175</c:v>
                </c:pt>
                <c:pt idx="1">
                  <c:v>22788</c:v>
                </c:pt>
                <c:pt idx="2">
                  <c:v>8259</c:v>
                </c:pt>
                <c:pt idx="3">
                  <c:v>7726</c:v>
                </c:pt>
              </c:numCache>
            </c:numRef>
          </c:bubbleSize>
          <c:bubble3D val="0"/>
          <c:extLst>
            <c:ext xmlns:c15="http://schemas.microsoft.com/office/drawing/2012/chart" uri="{02D57815-91ED-43cb-92C2-25804820EDAC}">
              <c15:datalabelsRange>
                <c15:f>Sheet1!$E$2:$E$10</c15:f>
                <c15:dlblRangeCache>
                  <c:ptCount val="9"/>
                  <c:pt idx="0">
                    <c:v>Bottega</c:v>
                  </c:pt>
                  <c:pt idx="1">
                    <c:v>Savian</c:v>
                  </c:pt>
                  <c:pt idx="2">
                    <c:v>Contarini</c:v>
                  </c:pt>
                  <c:pt idx="3">
                    <c:v>Vilaveroni</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4"/>
          <c:min val="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32"/>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C4606D8-9A72-4485-833E-98902DE56AC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68F9848-239F-4E0C-A220-8BE67AAAAEC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08715AF-C3AE-4FB6-8A4B-E6D069FEEC1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0278FFBB-78B1-4290-A59C-85B06D1B536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893A7A3D-9349-491D-A49D-802D99E7C5B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8F0AD492-08C5-41F2-8C2A-212F92685C4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F0A08DC0-82CF-4A9D-B2F0-A5E0F50A927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8CB7CEC2-8C2A-4F72-879E-3A3D3F893B3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1.490399999999999</c:v>
                </c:pt>
                <c:pt idx="1">
                  <c:v>9.1667000000000005</c:v>
                </c:pt>
                <c:pt idx="2">
                  <c:v>10.4292</c:v>
                </c:pt>
              </c:numCache>
            </c:numRef>
          </c:xVal>
          <c:yVal>
            <c:numRef>
              <c:f>Sheet1!$B$2:$B$4</c:f>
              <c:numCache>
                <c:formatCode>General</c:formatCode>
                <c:ptCount val="3"/>
                <c:pt idx="0">
                  <c:v>1.3240000000000001</c:v>
                </c:pt>
                <c:pt idx="1">
                  <c:v>1.06</c:v>
                </c:pt>
                <c:pt idx="2">
                  <c:v>1.145</c:v>
                </c:pt>
              </c:numCache>
            </c:numRef>
          </c:yVal>
          <c:bubbleSize>
            <c:numRef>
              <c:f>Sheet1!$C$2:$C$4</c:f>
              <c:numCache>
                <c:formatCode>General</c:formatCode>
                <c:ptCount val="3"/>
                <c:pt idx="0">
                  <c:v>13214</c:v>
                </c:pt>
                <c:pt idx="1">
                  <c:v>5555</c:v>
                </c:pt>
                <c:pt idx="2">
                  <c:v>2284</c:v>
                </c:pt>
              </c:numCache>
            </c:numRef>
          </c:bubbleSize>
          <c:bubble3D val="0"/>
          <c:extLst>
            <c:ext xmlns:c15="http://schemas.microsoft.com/office/drawing/2012/chart" uri="{02D57815-91ED-43cb-92C2-25804820EDAC}">
              <c15:datalabelsRange>
                <c15:f>Sheet1!$E$2:$E$10</c15:f>
                <c15:dlblRangeCache>
                  <c:ptCount val="9"/>
                  <c:pt idx="0">
                    <c:v>Bottega</c:v>
                  </c:pt>
                  <c:pt idx="1">
                    <c:v>Savian</c:v>
                  </c:pt>
                  <c:pt idx="2">
                    <c:v>Contarini</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4"/>
          <c:min val="7"/>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24"/>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3E2BF17-B364-4654-A285-F6CD1B1F955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E41410E-3551-4BFE-B8CF-6D582865FD6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9C445C6-C3EC-49A6-9FBB-EA4174D87D1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F9F79B9C-AD32-4E4A-A98B-D5A5D6B9824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66BFEA75-8DCC-4385-8D46-4EF79289313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D5D4D3C3-92E1-427A-BD63-6FE97773C09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7D7DE25C-2731-4DDE-A7B2-D149A750EE8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BF11AD52-D0BA-4020-A5F2-1A69119510A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9.0344999999999995</c:v>
                </c:pt>
                <c:pt idx="1">
                  <c:v>11.645300000000001</c:v>
                </c:pt>
                <c:pt idx="2">
                  <c:v>11.3782</c:v>
                </c:pt>
              </c:numCache>
            </c:numRef>
          </c:xVal>
          <c:yVal>
            <c:numRef>
              <c:f>Sheet1!$B$2:$B$4</c:f>
              <c:numCache>
                <c:formatCode>General</c:formatCode>
                <c:ptCount val="3"/>
                <c:pt idx="0">
                  <c:v>1.079</c:v>
                </c:pt>
                <c:pt idx="1">
                  <c:v>1.337</c:v>
                </c:pt>
                <c:pt idx="2">
                  <c:v>1.115</c:v>
                </c:pt>
              </c:numCache>
            </c:numRef>
          </c:yVal>
          <c:bubbleSize>
            <c:numRef>
              <c:f>Sheet1!$C$2:$C$4</c:f>
              <c:numCache>
                <c:formatCode>General</c:formatCode>
                <c:ptCount val="3"/>
                <c:pt idx="0">
                  <c:v>3930</c:v>
                </c:pt>
                <c:pt idx="1">
                  <c:v>3447</c:v>
                </c:pt>
                <c:pt idx="2">
                  <c:v>1775</c:v>
                </c:pt>
              </c:numCache>
            </c:numRef>
          </c:bubbleSize>
          <c:bubble3D val="0"/>
          <c:extLst>
            <c:ext xmlns:c15="http://schemas.microsoft.com/office/drawing/2012/chart" uri="{02D57815-91ED-43cb-92C2-25804820EDAC}">
              <c15:datalabelsRange>
                <c15:f>Sheet1!$E$2:$E$10</c15:f>
                <c15:dlblRangeCache>
                  <c:ptCount val="9"/>
                  <c:pt idx="0">
                    <c:v>Savian</c:v>
                  </c:pt>
                  <c:pt idx="1">
                    <c:v>Bottega</c:v>
                  </c:pt>
                  <c:pt idx="2">
                    <c:v>Contarini</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4"/>
          <c:min val="7"/>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36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51B334E6-BDF8-4FEF-8F60-89CE8DD8B34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6DCFCAEF-231B-47C5-AFA1-C8D820A443B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D871-46D6-BBFE-7C00E0D51738}"/>
                </c:ext>
              </c:extLst>
            </c:dLbl>
            <c:dLbl>
              <c:idx val="3"/>
              <c:tx>
                <c:rich>
                  <a:bodyPr/>
                  <a:lstStyle/>
                  <a:p>
                    <a:fld id="{A732CB07-C5EA-473C-BBAC-18BDB592228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D871-46D6-BBFE-7C00E0D51738}"/>
                </c:ext>
              </c:extLst>
            </c:dLbl>
            <c:dLbl>
              <c:idx val="4"/>
              <c:tx>
                <c:rich>
                  <a:bodyPr/>
                  <a:lstStyle/>
                  <a:p>
                    <a:fld id="{45353B70-78E3-4301-9F97-99A42683B77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D871-46D6-BBFE-7C00E0D51738}"/>
                </c:ext>
              </c:extLst>
            </c:dLbl>
            <c:dLbl>
              <c:idx val="5"/>
              <c:tx>
                <c:rich>
                  <a:bodyPr/>
                  <a:lstStyle/>
                  <a:p>
                    <a:fld id="{21D9E2AA-B89A-4CA9-8149-175B8270EDC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71-46D6-BBFE-7C00E0D51738}"/>
                </c:ext>
              </c:extLst>
            </c:dLbl>
            <c:dLbl>
              <c:idx val="6"/>
              <c:tx>
                <c:rich>
                  <a:bodyPr/>
                  <a:lstStyle/>
                  <a:p>
                    <a:fld id="{F5BD6C6C-41CB-43DA-A69F-4CD8FD3C294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71-46D6-BBFE-7C00E0D51738}"/>
                </c:ext>
              </c:extLst>
            </c:dLbl>
            <c:dLbl>
              <c:idx val="7"/>
              <c:tx>
                <c:rich>
                  <a:bodyPr/>
                  <a:lstStyle/>
                  <a:p>
                    <a:fld id="{C745DDA4-121E-4B3E-A28D-AFAD259B0C6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71-46D6-BBFE-7C00E0D51738}"/>
                </c:ext>
              </c:extLst>
            </c:dLbl>
            <c:dLbl>
              <c:idx val="8"/>
              <c:tx>
                <c:rich>
                  <a:bodyPr/>
                  <a:lstStyle/>
                  <a:p>
                    <a:fld id="{AD13CDB9-6AB1-46A4-A690-DC0A0E97D2C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29.1084</c:v>
                </c:pt>
                <c:pt idx="1">
                  <c:v>11.2789</c:v>
                </c:pt>
              </c:numCache>
            </c:numRef>
          </c:xVal>
          <c:yVal>
            <c:numRef>
              <c:f>Sheet1!$B$2:$B$3</c:f>
              <c:numCache>
                <c:formatCode>General</c:formatCode>
                <c:ptCount val="2"/>
                <c:pt idx="0">
                  <c:v>1.6479999999999999</c:v>
                </c:pt>
                <c:pt idx="1">
                  <c:v>0.63400000000000001</c:v>
                </c:pt>
              </c:numCache>
            </c:numRef>
          </c:yVal>
          <c:bubbleSize>
            <c:numRef>
              <c:f>Sheet1!$C$2:$C$3</c:f>
              <c:numCache>
                <c:formatCode>General</c:formatCode>
                <c:ptCount val="2"/>
                <c:pt idx="0">
                  <c:v>26576</c:v>
                </c:pt>
                <c:pt idx="1">
                  <c:v>15813</c:v>
                </c:pt>
              </c:numCache>
            </c:numRef>
          </c:bubbleSize>
          <c:bubble3D val="0"/>
          <c:extLst>
            <c:ext xmlns:c15="http://schemas.microsoft.com/office/drawing/2012/chart" uri="{02D57815-91ED-43cb-92C2-25804820EDAC}">
              <c15:datalabelsRange>
                <c15:f>Sheet1!$E$2:$E$10</c15:f>
                <c15:dlblRangeCache>
                  <c:ptCount val="9"/>
                  <c:pt idx="0">
                    <c:v>De Chanceny</c:v>
                  </c:pt>
                  <c:pt idx="1">
                    <c:v>Lyre's</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5"/>
          <c:min val="9"/>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600C36E-66B7-4A2F-89E1-376CE87F677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FA36469-8607-4435-8F2D-4EBF23AD951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E03459A-DA5F-4548-AF02-AE241E31887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F02654B-3193-4AC6-91A9-00080B64F41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FD3621A8-01B1-4D5B-9FD9-AEA1BFA4F7E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8C871878-4715-456E-B454-68DFBE15919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59AD38B5-1723-48C2-835A-19700C006CE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AC9D739A-AB3E-4E32-AB79-E197C2861C1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11.4457</c:v>
                </c:pt>
                <c:pt idx="1">
                  <c:v>9.1258999999999997</c:v>
                </c:pt>
                <c:pt idx="2">
                  <c:v>11.2964</c:v>
                </c:pt>
                <c:pt idx="3">
                  <c:v>6.4696999999999996</c:v>
                </c:pt>
              </c:numCache>
            </c:numRef>
          </c:xVal>
          <c:yVal>
            <c:numRef>
              <c:f>Sheet1!$B$2:$B$5</c:f>
              <c:numCache>
                <c:formatCode>General</c:formatCode>
                <c:ptCount val="4"/>
                <c:pt idx="0">
                  <c:v>1.2709999999999999</c:v>
                </c:pt>
                <c:pt idx="1">
                  <c:v>1.0129999999999999</c:v>
                </c:pt>
                <c:pt idx="2">
                  <c:v>1.0720000000000001</c:v>
                </c:pt>
                <c:pt idx="3">
                  <c:v>0.71799999999999997</c:v>
                </c:pt>
              </c:numCache>
            </c:numRef>
          </c:yVal>
          <c:bubbleSize>
            <c:numRef>
              <c:f>Sheet1!$C$2:$C$5</c:f>
              <c:numCache>
                <c:formatCode>General</c:formatCode>
                <c:ptCount val="4"/>
                <c:pt idx="0">
                  <c:v>195596</c:v>
                </c:pt>
                <c:pt idx="1">
                  <c:v>96917</c:v>
                </c:pt>
                <c:pt idx="2">
                  <c:v>19859</c:v>
                </c:pt>
                <c:pt idx="3">
                  <c:v>7686</c:v>
                </c:pt>
              </c:numCache>
            </c:numRef>
          </c:bubbleSize>
          <c:bubble3D val="0"/>
          <c:extLst>
            <c:ext xmlns:c15="http://schemas.microsoft.com/office/drawing/2012/chart" uri="{02D57815-91ED-43cb-92C2-25804820EDAC}">
              <c15:datalabelsRange>
                <c15:f>Sheet1!$E$2:$E$10</c15:f>
                <c15:dlblRangeCache>
                  <c:ptCount val="9"/>
                  <c:pt idx="0">
                    <c:v>Bottega</c:v>
                  </c:pt>
                  <c:pt idx="1">
                    <c:v>Savian</c:v>
                  </c:pt>
                  <c:pt idx="2">
                    <c:v>Contarini</c:v>
                  </c:pt>
                  <c:pt idx="3">
                    <c:v>Vilaveroni</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4"/>
          <c:min val="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470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882737D-0500-4158-BABC-DB27145DA52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36176C7-1F50-418D-8657-ABD3E6BC5AB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0FAC6D8-70B1-4EE9-A4E7-6F164446503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F00988BF-76D4-41A2-8E79-F86DA77A533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F2ACF233-7E93-4FE1-B843-9A652C6DBC8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0201E25A-7119-485B-A065-2CB91CA8CF6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889F42CA-D93B-4140-BF87-E197760662F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AFC2D19E-6192-43E6-9325-4F4AA89009E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1.4999</c:v>
                </c:pt>
                <c:pt idx="1">
                  <c:v>9.0538000000000007</c:v>
                </c:pt>
                <c:pt idx="2">
                  <c:v>11.5052</c:v>
                </c:pt>
              </c:numCache>
            </c:numRef>
          </c:xVal>
          <c:yVal>
            <c:numRef>
              <c:f>Sheet1!$B$2:$B$4</c:f>
              <c:numCache>
                <c:formatCode>General</c:formatCode>
                <c:ptCount val="3"/>
                <c:pt idx="0">
                  <c:v>1.2909999999999999</c:v>
                </c:pt>
                <c:pt idx="1">
                  <c:v>1.0169999999999999</c:v>
                </c:pt>
                <c:pt idx="2">
                  <c:v>1.08</c:v>
                </c:pt>
              </c:numCache>
            </c:numRef>
          </c:yVal>
          <c:bubbleSize>
            <c:numRef>
              <c:f>Sheet1!$C$2:$C$4</c:f>
              <c:numCache>
                <c:formatCode>General</c:formatCode>
                <c:ptCount val="3"/>
                <c:pt idx="0">
                  <c:v>82178</c:v>
                </c:pt>
                <c:pt idx="1">
                  <c:v>39538</c:v>
                </c:pt>
                <c:pt idx="2">
                  <c:v>12207</c:v>
                </c:pt>
              </c:numCache>
            </c:numRef>
          </c:bubbleSize>
          <c:bubble3D val="0"/>
          <c:extLst>
            <c:ext xmlns:c15="http://schemas.microsoft.com/office/drawing/2012/chart" uri="{02D57815-91ED-43cb-92C2-25804820EDAC}">
              <c15:datalabelsRange>
                <c15:f>Sheet1!$E$2:$E$10</c15:f>
                <c15:dlblRangeCache>
                  <c:ptCount val="9"/>
                  <c:pt idx="0">
                    <c:v>Bottega</c:v>
                  </c:pt>
                  <c:pt idx="1">
                    <c:v>Savian</c:v>
                  </c:pt>
                  <c:pt idx="2">
                    <c:v>Contarini</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4"/>
          <c:min val="7"/>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490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9C3B692-FE88-4BF7-8545-EA282BC54CA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FD0A487-E02A-497C-8581-7EAFE579BF0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D79C945-1234-4F2A-AEC6-FDAC39385B1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F90A520D-6A2D-49CE-AD6F-BD98D731A79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6FBDC519-5FF1-4F16-8BBD-F8A3B72E24F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C4D3B3C0-3F70-4FCE-959E-9534EA801F1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C21DFBAB-AE62-4045-A81F-0F0B1A3C0FF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21E3FB06-886A-4739-8D22-AB6CBB7936D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1.404999999999999</c:v>
                </c:pt>
                <c:pt idx="1">
                  <c:v>9.0840999999999994</c:v>
                </c:pt>
                <c:pt idx="2">
                  <c:v>11.535</c:v>
                </c:pt>
              </c:numCache>
            </c:numRef>
          </c:xVal>
          <c:yVal>
            <c:numRef>
              <c:f>Sheet1!$B$2:$B$4</c:f>
              <c:numCache>
                <c:formatCode>General</c:formatCode>
                <c:ptCount val="3"/>
                <c:pt idx="0">
                  <c:v>1.266</c:v>
                </c:pt>
                <c:pt idx="1">
                  <c:v>1.008</c:v>
                </c:pt>
                <c:pt idx="2">
                  <c:v>1.07</c:v>
                </c:pt>
              </c:numCache>
            </c:numRef>
          </c:yVal>
          <c:bubbleSize>
            <c:numRef>
              <c:f>Sheet1!$C$2:$C$4</c:f>
              <c:numCache>
                <c:formatCode>General</c:formatCode>
                <c:ptCount val="3"/>
                <c:pt idx="0">
                  <c:v>150888</c:v>
                </c:pt>
                <c:pt idx="1">
                  <c:v>86281</c:v>
                </c:pt>
                <c:pt idx="2">
                  <c:v>19102</c:v>
                </c:pt>
              </c:numCache>
            </c:numRef>
          </c:bubbleSize>
          <c:bubble3D val="0"/>
          <c:extLst>
            <c:ext xmlns:c15="http://schemas.microsoft.com/office/drawing/2012/chart" uri="{02D57815-91ED-43cb-92C2-25804820EDAC}">
              <c15:datalabelsRange>
                <c15:f>Sheet1!$E$2:$E$10</c15:f>
                <c15:dlblRangeCache>
                  <c:ptCount val="9"/>
                  <c:pt idx="0">
                    <c:v>Bottega</c:v>
                  </c:pt>
                  <c:pt idx="1">
                    <c:v>Savian</c:v>
                  </c:pt>
                  <c:pt idx="2">
                    <c:v>Contarini</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4"/>
          <c:min val="7"/>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466"/>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F6259D4-9D18-4FDE-89C4-5886B79737A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8316356-BB90-4289-8CBA-698764E6587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1C834EF-A6D1-4576-97F6-21EF8427F62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FB169359-386B-487D-A3D2-030B3B92043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D839D20F-CEC3-4EC8-8ECC-8E9C5F063E2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92DB088B-6597-4732-A69F-05F2EF18394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0A455EAA-29F9-49A7-B554-37B8F74304E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58A0BD1F-895D-47A0-8A59-2B3F35F3CEF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1.3996</c:v>
                </c:pt>
                <c:pt idx="1">
                  <c:v>9.1219000000000001</c:v>
                </c:pt>
                <c:pt idx="2">
                  <c:v>11.543699999999999</c:v>
                </c:pt>
              </c:numCache>
            </c:numRef>
          </c:xVal>
          <c:yVal>
            <c:numRef>
              <c:f>Sheet1!$B$2:$B$4</c:f>
              <c:numCache>
                <c:formatCode>General</c:formatCode>
                <c:ptCount val="3"/>
                <c:pt idx="0">
                  <c:v>1.276</c:v>
                </c:pt>
                <c:pt idx="1">
                  <c:v>1.0229999999999999</c:v>
                </c:pt>
                <c:pt idx="2">
                  <c:v>1.0820000000000001</c:v>
                </c:pt>
              </c:numCache>
            </c:numRef>
          </c:yVal>
          <c:bubbleSize>
            <c:numRef>
              <c:f>Sheet1!$C$2:$C$4</c:f>
              <c:numCache>
                <c:formatCode>General</c:formatCode>
                <c:ptCount val="3"/>
                <c:pt idx="0">
                  <c:v>101593</c:v>
                </c:pt>
                <c:pt idx="1">
                  <c:v>56501</c:v>
                </c:pt>
                <c:pt idx="2">
                  <c:v>17154</c:v>
                </c:pt>
              </c:numCache>
            </c:numRef>
          </c:bubbleSize>
          <c:bubble3D val="0"/>
          <c:extLst>
            <c:ext xmlns:c15="http://schemas.microsoft.com/office/drawing/2012/chart" uri="{02D57815-91ED-43cb-92C2-25804820EDAC}">
              <c15:datalabelsRange>
                <c15:f>Sheet1!$E$2:$E$10</c15:f>
                <c15:dlblRangeCache>
                  <c:ptCount val="9"/>
                  <c:pt idx="0">
                    <c:v>Bottega</c:v>
                  </c:pt>
                  <c:pt idx="1">
                    <c:v>Savian</c:v>
                  </c:pt>
                  <c:pt idx="2">
                    <c:v>Contarini</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4"/>
          <c:min val="7"/>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476"/>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C9811D3-7028-4426-A1A7-83E05CA121C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22EAC61-17FC-4A9C-9B61-D1BA82FD993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0CBF427-8F9B-4E25-B905-D09DE957634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75D46897-7EEE-4FF5-935D-9FDFCA9753C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6389E7F1-B3F3-4041-906A-56AA260A0A7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D3D8D872-F078-4595-A96B-9CF3B5E79A4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A1820A5F-D082-414F-AF3E-98F2631AA3B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A4CF1DB3-C40A-4AA1-BDFD-E38A1A6DC62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1.5068</c:v>
                </c:pt>
                <c:pt idx="1">
                  <c:v>9.1301000000000005</c:v>
                </c:pt>
                <c:pt idx="2">
                  <c:v>11.2819</c:v>
                </c:pt>
              </c:numCache>
            </c:numRef>
          </c:xVal>
          <c:yVal>
            <c:numRef>
              <c:f>Sheet1!$B$2:$B$4</c:f>
              <c:numCache>
                <c:formatCode>General</c:formatCode>
                <c:ptCount val="3"/>
                <c:pt idx="0">
                  <c:v>1.3009999999999999</c:v>
                </c:pt>
                <c:pt idx="1">
                  <c:v>1.0329999999999999</c:v>
                </c:pt>
                <c:pt idx="2">
                  <c:v>1.095</c:v>
                </c:pt>
              </c:numCache>
            </c:numRef>
          </c:yVal>
          <c:bubbleSize>
            <c:numRef>
              <c:f>Sheet1!$C$2:$C$4</c:f>
              <c:numCache>
                <c:formatCode>General</c:formatCode>
                <c:ptCount val="3"/>
                <c:pt idx="0">
                  <c:v>77326</c:v>
                </c:pt>
                <c:pt idx="1">
                  <c:v>44555</c:v>
                </c:pt>
                <c:pt idx="2">
                  <c:v>22609</c:v>
                </c:pt>
              </c:numCache>
            </c:numRef>
          </c:bubbleSize>
          <c:bubble3D val="0"/>
          <c:extLst>
            <c:ext xmlns:c15="http://schemas.microsoft.com/office/drawing/2012/chart" uri="{02D57815-91ED-43cb-92C2-25804820EDAC}">
              <c15:datalabelsRange>
                <c15:f>Sheet1!$E$2:$E$10</c15:f>
                <c15:dlblRangeCache>
                  <c:ptCount val="9"/>
                  <c:pt idx="0">
                    <c:v>Bottega</c:v>
                  </c:pt>
                  <c:pt idx="1">
                    <c:v>Savian</c:v>
                  </c:pt>
                  <c:pt idx="2">
                    <c:v>Contarini</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4"/>
          <c:min val="7"/>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00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69EBDC5-9380-4415-A6E9-FDF27CE953B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753D972-6778-40A2-BF7B-2EA1AA9CBFB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9303553-CA5B-40C3-BB3B-8468E5D559E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E350968-BDB7-45C0-8B00-63082C24F20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8C1FD9C-ED77-4C11-BB7F-A3F55FB8630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BE6EFA3-0191-45F8-929C-E40DE05CDA7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7E0DDCC2-4B18-443E-9745-5468F5B92E8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5EC64158-4D02-42C5-8EF4-47CA50F4CD6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5.3677000000000001</c:v>
                </c:pt>
                <c:pt idx="1">
                  <c:v>6.4625000000000004</c:v>
                </c:pt>
                <c:pt idx="2">
                  <c:v>6.7061999999999999</c:v>
                </c:pt>
                <c:pt idx="3">
                  <c:v>6.0472000000000001</c:v>
                </c:pt>
                <c:pt idx="4">
                  <c:v>7.4202000000000004</c:v>
                </c:pt>
                <c:pt idx="5">
                  <c:v>6.5438000000000001</c:v>
                </c:pt>
                <c:pt idx="6">
                  <c:v>6.5370999999999997</c:v>
                </c:pt>
                <c:pt idx="7">
                  <c:v>6.8582000000000001</c:v>
                </c:pt>
              </c:numCache>
            </c:numRef>
          </c:xVal>
          <c:yVal>
            <c:numRef>
              <c:f>Sheet1!$B$2:$B$9</c:f>
              <c:numCache>
                <c:formatCode>General</c:formatCode>
                <c:ptCount val="8"/>
                <c:pt idx="0">
                  <c:v>0.99199999999999999</c:v>
                </c:pt>
                <c:pt idx="1">
                  <c:v>1.012</c:v>
                </c:pt>
                <c:pt idx="2">
                  <c:v>0.77200000000000002</c:v>
                </c:pt>
                <c:pt idx="3">
                  <c:v>0.92300000000000004</c:v>
                </c:pt>
                <c:pt idx="4">
                  <c:v>1.202</c:v>
                </c:pt>
                <c:pt idx="5">
                  <c:v>1.1759999999999999</c:v>
                </c:pt>
                <c:pt idx="6">
                  <c:v>0.74199999999999999</c:v>
                </c:pt>
                <c:pt idx="7">
                  <c:v>1.306</c:v>
                </c:pt>
              </c:numCache>
            </c:numRef>
          </c:yVal>
          <c:bubbleSize>
            <c:numRef>
              <c:f>Sheet1!$C$2:$C$9</c:f>
              <c:numCache>
                <c:formatCode>General</c:formatCode>
                <c:ptCount val="8"/>
                <c:pt idx="0">
                  <c:v>26939241</c:v>
                </c:pt>
                <c:pt idx="1">
                  <c:v>11877367</c:v>
                </c:pt>
                <c:pt idx="2">
                  <c:v>6775215</c:v>
                </c:pt>
                <c:pt idx="3">
                  <c:v>5266419</c:v>
                </c:pt>
                <c:pt idx="4">
                  <c:v>3181796</c:v>
                </c:pt>
                <c:pt idx="5">
                  <c:v>2333478</c:v>
                </c:pt>
                <c:pt idx="6">
                  <c:v>964260</c:v>
                </c:pt>
                <c:pt idx="7">
                  <c:v>953391</c:v>
                </c:pt>
              </c:numCache>
            </c:numRef>
          </c:bubbleSize>
          <c:bubble3D val="0"/>
          <c:extLst>
            <c:ext xmlns:c15="http://schemas.microsoft.com/office/drawing/2012/chart" uri="{02D57815-91ED-43cb-92C2-25804820EDAC}">
              <c15:datalabelsRange>
                <c15:f>Sheet1!$E$2:$E$10</c15:f>
                <c15:dlblRangeCache>
                  <c:ptCount val="9"/>
                  <c:pt idx="0">
                    <c:v>Mdd</c:v>
                  </c:pt>
                  <c:pt idx="1">
                    <c:v>Ackerman</c:v>
                  </c:pt>
                  <c:pt idx="2">
                    <c:v>Melle Ladubay</c:v>
                  </c:pt>
                  <c:pt idx="3">
                    <c:v>Gratien Et Meyer</c:v>
                  </c:pt>
                  <c:pt idx="4">
                    <c:v>Chateau Moncontour</c:v>
                  </c:pt>
                  <c:pt idx="5">
                    <c:v>Lacheteau</c:v>
                  </c:pt>
                  <c:pt idx="6">
                    <c:v>Jean Marc Toussaint</c:v>
                  </c:pt>
                  <c:pt idx="7">
                    <c:v>Sca Gd Vin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9"/>
          <c:min val="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06"/>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7EF34AD-4E8B-4D38-B2FF-F62A87D7996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CC1B19A-84A6-4008-A564-94347C86BB8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BF378E5-F437-45B9-AA23-BCAC5ADF345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21FA4E6A-64A9-431D-BF4D-6F70470993D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DB9A1CBF-BC7E-43C1-9144-CA2CAD57218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0C505401-76CD-42DF-9611-E26CC3FED3D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9CBB0F35-82DF-4A5E-9C2D-CD965D62281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BCE2BBA6-733A-4F18-BC9A-EB881EE86C5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1.800599999999999</c:v>
                </c:pt>
                <c:pt idx="1">
                  <c:v>11.4072</c:v>
                </c:pt>
                <c:pt idx="2">
                  <c:v>13.4663</c:v>
                </c:pt>
              </c:numCache>
            </c:numRef>
          </c:xVal>
          <c:yVal>
            <c:numRef>
              <c:f>Sheet1!$B$2:$B$4</c:f>
              <c:numCache>
                <c:formatCode>General</c:formatCode>
                <c:ptCount val="3"/>
                <c:pt idx="0">
                  <c:v>0.96899999999999997</c:v>
                </c:pt>
                <c:pt idx="1">
                  <c:v>0.98299999999999998</c:v>
                </c:pt>
                <c:pt idx="2">
                  <c:v>1.1599999999999999</c:v>
                </c:pt>
              </c:numCache>
            </c:numRef>
          </c:yVal>
          <c:bubbleSize>
            <c:numRef>
              <c:f>Sheet1!$C$2:$C$4</c:f>
              <c:numCache>
                <c:formatCode>General</c:formatCode>
                <c:ptCount val="3"/>
                <c:pt idx="0">
                  <c:v>305234</c:v>
                </c:pt>
                <c:pt idx="1">
                  <c:v>282431</c:v>
                </c:pt>
                <c:pt idx="2">
                  <c:v>158041</c:v>
                </c:pt>
              </c:numCache>
            </c:numRef>
          </c:bubbleSize>
          <c:bubble3D val="0"/>
          <c:extLst>
            <c:ext xmlns:c15="http://schemas.microsoft.com/office/drawing/2012/chart" uri="{02D57815-91ED-43cb-92C2-25804820EDAC}">
              <c15:datalabelsRange>
                <c15:f>Sheet1!$E$2:$E$10</c15:f>
                <c15:dlblRangeCache>
                  <c:ptCount val="9"/>
                  <c:pt idx="0">
                    <c:v>Bouvet-Ladubay</c:v>
                  </c:pt>
                  <c:pt idx="1">
                    <c:v>Chateau Moncontour</c:v>
                  </c:pt>
                  <c:pt idx="2">
                    <c:v>De Chancen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6"/>
          <c:min val="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359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0D77109-E3F0-42B4-924A-5693B5EF7A7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7ACAE1D-72F1-44BE-9B47-A0FF93A5602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0A0FBE3-3B9F-4E38-8FCE-7DD3FE7123D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4CB357F-FBFB-4799-B41E-BB82DD05759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F71132D-5F47-4E32-8028-5EB644D00A0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97319FD-0E0E-497F-A3AC-A3CAFD0FFC2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F50CB3D-97BB-4D7D-B7A3-18DF58D7EB5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95BD8B03-D5D9-4D91-894F-401E9ED9912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5.3677000000000001</c:v>
                </c:pt>
                <c:pt idx="1">
                  <c:v>6.4625000000000004</c:v>
                </c:pt>
                <c:pt idx="2">
                  <c:v>6.7061999999999999</c:v>
                </c:pt>
                <c:pt idx="3">
                  <c:v>6.0472000000000001</c:v>
                </c:pt>
                <c:pt idx="4">
                  <c:v>7.1771000000000003</c:v>
                </c:pt>
                <c:pt idx="5">
                  <c:v>6.5438000000000001</c:v>
                </c:pt>
                <c:pt idx="6">
                  <c:v>6.5370999999999997</c:v>
                </c:pt>
                <c:pt idx="7">
                  <c:v>6.8582000000000001</c:v>
                </c:pt>
              </c:numCache>
            </c:numRef>
          </c:xVal>
          <c:yVal>
            <c:numRef>
              <c:f>Sheet1!$B$2:$B$9</c:f>
              <c:numCache>
                <c:formatCode>General</c:formatCode>
                <c:ptCount val="8"/>
                <c:pt idx="0">
                  <c:v>1.0009999999999999</c:v>
                </c:pt>
                <c:pt idx="1">
                  <c:v>1.0209999999999999</c:v>
                </c:pt>
                <c:pt idx="2">
                  <c:v>0.77900000000000003</c:v>
                </c:pt>
                <c:pt idx="3">
                  <c:v>0.93</c:v>
                </c:pt>
                <c:pt idx="4">
                  <c:v>1.1639999999999999</c:v>
                </c:pt>
                <c:pt idx="5">
                  <c:v>1.1859999999999999</c:v>
                </c:pt>
                <c:pt idx="6">
                  <c:v>0.748</c:v>
                </c:pt>
                <c:pt idx="7">
                  <c:v>1.3180000000000001</c:v>
                </c:pt>
              </c:numCache>
            </c:numRef>
          </c:yVal>
          <c:bubbleSize>
            <c:numRef>
              <c:f>Sheet1!$C$2:$C$9</c:f>
              <c:numCache>
                <c:formatCode>General</c:formatCode>
                <c:ptCount val="8"/>
                <c:pt idx="0">
                  <c:v>26939241</c:v>
                </c:pt>
                <c:pt idx="1">
                  <c:v>11877367</c:v>
                </c:pt>
                <c:pt idx="2">
                  <c:v>6775215</c:v>
                </c:pt>
                <c:pt idx="3">
                  <c:v>5266419</c:v>
                </c:pt>
                <c:pt idx="4">
                  <c:v>2899520</c:v>
                </c:pt>
                <c:pt idx="5">
                  <c:v>2333478</c:v>
                </c:pt>
                <c:pt idx="6">
                  <c:v>964260</c:v>
                </c:pt>
                <c:pt idx="7">
                  <c:v>953391</c:v>
                </c:pt>
              </c:numCache>
            </c:numRef>
          </c:bubbleSize>
          <c:bubble3D val="0"/>
          <c:extLst>
            <c:ext xmlns:c15="http://schemas.microsoft.com/office/drawing/2012/chart" uri="{02D57815-91ED-43cb-92C2-25804820EDAC}">
              <c15:datalabelsRange>
                <c15:f>Sheet1!$E$2:$E$10</c15:f>
                <c15:dlblRangeCache>
                  <c:ptCount val="9"/>
                  <c:pt idx="0">
                    <c:v>Mdd</c:v>
                  </c:pt>
                  <c:pt idx="1">
                    <c:v>Ackerman</c:v>
                  </c:pt>
                  <c:pt idx="2">
                    <c:v>Melle Ladubay</c:v>
                  </c:pt>
                  <c:pt idx="3">
                    <c:v>Gratien Et Meyer</c:v>
                  </c:pt>
                  <c:pt idx="4">
                    <c:v>Chateau Moncontour</c:v>
                  </c:pt>
                  <c:pt idx="5">
                    <c:v>Lacheteau</c:v>
                  </c:pt>
                  <c:pt idx="6">
                    <c:v>Jean Marc Toussaint</c:v>
                  </c:pt>
                  <c:pt idx="7">
                    <c:v>Sca Gd Vin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9"/>
          <c:min val="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18"/>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8E6568E-905A-4624-9AEE-2A86C47CC8C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0393B37-346C-47D8-B2C1-657136C4945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622265D-3BC3-4841-B17E-DA9BEBA9BB7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AB1B2397-4222-4664-B464-BEDEB711F4C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E73FBE58-64DC-4961-A2DF-466B8A993D1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E1E8A9F2-85E8-4B38-A346-FDA0E1B81EF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4DBF154B-BD61-4583-8DE0-25F99EEACD0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A5C2F3AA-FAF8-4935-894F-D17B68C0437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1.398199999999999</c:v>
                </c:pt>
                <c:pt idx="1">
                  <c:v>11.792999999999999</c:v>
                </c:pt>
                <c:pt idx="2">
                  <c:v>13.5303</c:v>
                </c:pt>
              </c:numCache>
            </c:numRef>
          </c:xVal>
          <c:yVal>
            <c:numRef>
              <c:f>Sheet1!$B$2:$B$4</c:f>
              <c:numCache>
                <c:formatCode>General</c:formatCode>
                <c:ptCount val="3"/>
                <c:pt idx="0">
                  <c:v>0.97599999999999998</c:v>
                </c:pt>
                <c:pt idx="1">
                  <c:v>0.96499999999999997</c:v>
                </c:pt>
                <c:pt idx="2">
                  <c:v>1.1599999999999999</c:v>
                </c:pt>
              </c:numCache>
            </c:numRef>
          </c:yVal>
          <c:bubbleSize>
            <c:numRef>
              <c:f>Sheet1!$C$2:$C$4</c:f>
              <c:numCache>
                <c:formatCode>General</c:formatCode>
                <c:ptCount val="3"/>
                <c:pt idx="0">
                  <c:v>151528</c:v>
                </c:pt>
                <c:pt idx="1">
                  <c:v>144783</c:v>
                </c:pt>
                <c:pt idx="2">
                  <c:v>89327</c:v>
                </c:pt>
              </c:numCache>
            </c:numRef>
          </c:bubbleSize>
          <c:bubble3D val="0"/>
          <c:extLst>
            <c:ext xmlns:c15="http://schemas.microsoft.com/office/drawing/2012/chart" uri="{02D57815-91ED-43cb-92C2-25804820EDAC}">
              <c15:datalabelsRange>
                <c15:f>Sheet1!$E$2:$E$10</c15:f>
                <c15:dlblRangeCache>
                  <c:ptCount val="9"/>
                  <c:pt idx="0">
                    <c:v>Chateau Moncontour</c:v>
                  </c:pt>
                  <c:pt idx="1">
                    <c:v>Bouvet-Ladubay</c:v>
                  </c:pt>
                  <c:pt idx="2">
                    <c:v>De Chancen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6"/>
          <c:min val="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359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C37D29E-9A40-4221-BF7B-76551ED71D1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99D8042-4F0D-4EEF-B9D1-7843F63672E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E97AC49-24DD-423A-A88D-5B28C5B2CC2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8877F3D9-D357-4DCD-A750-69450873099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D14D9F7C-EC5D-4683-ABA2-0739C0E613E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86D320A2-5309-49B5-BA04-D211EE21FA0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E594C8D3-80A8-43C9-89A0-9943F8DF937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39CAE80F-8945-4E45-B8F6-9CA33103342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1.7576</c:v>
                </c:pt>
                <c:pt idx="1">
                  <c:v>11.374499999999999</c:v>
                </c:pt>
                <c:pt idx="2">
                  <c:v>13.245200000000001</c:v>
                </c:pt>
              </c:numCache>
            </c:numRef>
          </c:xVal>
          <c:yVal>
            <c:numRef>
              <c:f>Sheet1!$B$2:$B$4</c:f>
              <c:numCache>
                <c:formatCode>General</c:formatCode>
                <c:ptCount val="3"/>
                <c:pt idx="0">
                  <c:v>0.97899999999999998</c:v>
                </c:pt>
                <c:pt idx="1">
                  <c:v>0.99399999999999999</c:v>
                </c:pt>
                <c:pt idx="2">
                  <c:v>1.159</c:v>
                </c:pt>
              </c:numCache>
            </c:numRef>
          </c:yVal>
          <c:bubbleSize>
            <c:numRef>
              <c:f>Sheet1!$C$2:$C$4</c:f>
              <c:numCache>
                <c:formatCode>General</c:formatCode>
                <c:ptCount val="3"/>
                <c:pt idx="0">
                  <c:v>61739</c:v>
                </c:pt>
                <c:pt idx="1">
                  <c:v>55678</c:v>
                </c:pt>
                <c:pt idx="2">
                  <c:v>28093</c:v>
                </c:pt>
              </c:numCache>
            </c:numRef>
          </c:bubbleSize>
          <c:bubble3D val="0"/>
          <c:extLst>
            <c:ext xmlns:c15="http://schemas.microsoft.com/office/drawing/2012/chart" uri="{02D57815-91ED-43cb-92C2-25804820EDAC}">
              <c15:datalabelsRange>
                <c15:f>Sheet1!$E$2:$E$10</c15:f>
                <c15:dlblRangeCache>
                  <c:ptCount val="9"/>
                  <c:pt idx="0">
                    <c:v>Bouvet-Ladubay</c:v>
                  </c:pt>
                  <c:pt idx="1">
                    <c:v>Chateau Moncontour</c:v>
                  </c:pt>
                  <c:pt idx="2">
                    <c:v>De Chancen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6"/>
          <c:min val="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35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1077A7F-CEF6-4DD1-8732-A293C00DD49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5A9B620-E200-460F-AA10-9381AF98E7B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8AAD03A-26C9-486F-B653-CA33DD92C43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66B579F-4784-475F-ACE6-893D39A7E37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CD25084-4CEE-4510-B7BB-C37277C59C5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C8C8981-0AC9-4383-95C4-8136D0AD475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C2C6A1EA-CB09-42BD-BA8B-34F60EA39EA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9F017973-CCD0-43CB-8022-2FEBB5B792C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70.778700000000001</c:v>
                </c:pt>
                <c:pt idx="1">
                  <c:v>51.711100000000002</c:v>
                </c:pt>
                <c:pt idx="2">
                  <c:v>24.7149</c:v>
                </c:pt>
                <c:pt idx="3">
                  <c:v>31.674600000000002</c:v>
                </c:pt>
                <c:pt idx="4">
                  <c:v>56.167200000000001</c:v>
                </c:pt>
                <c:pt idx="5">
                  <c:v>29.235499999999998</c:v>
                </c:pt>
                <c:pt idx="6">
                  <c:v>56.559800000000003</c:v>
                </c:pt>
                <c:pt idx="7">
                  <c:v>34.003700000000002</c:v>
                </c:pt>
              </c:numCache>
            </c:numRef>
          </c:xVal>
          <c:yVal>
            <c:numRef>
              <c:f>Sheet1!$B$2:$B$9</c:f>
              <c:numCache>
                <c:formatCode>General</c:formatCode>
                <c:ptCount val="8"/>
                <c:pt idx="0">
                  <c:v>1.5740000000000001</c:v>
                </c:pt>
                <c:pt idx="1">
                  <c:v>1.115</c:v>
                </c:pt>
                <c:pt idx="2">
                  <c:v>0.55700000000000005</c:v>
                </c:pt>
                <c:pt idx="3">
                  <c:v>0.71699999999999997</c:v>
                </c:pt>
                <c:pt idx="4">
                  <c:v>1.081</c:v>
                </c:pt>
                <c:pt idx="5">
                  <c:v>0.66300000000000003</c:v>
                </c:pt>
                <c:pt idx="6">
                  <c:v>1.0740000000000001</c:v>
                </c:pt>
                <c:pt idx="7">
                  <c:v>0.746</c:v>
                </c:pt>
              </c:numCache>
            </c:numRef>
          </c:yVal>
          <c:bubbleSize>
            <c:numRef>
              <c:f>Sheet1!$C$2:$C$9</c:f>
              <c:numCache>
                <c:formatCode>General</c:formatCode>
                <c:ptCount val="8"/>
                <c:pt idx="0">
                  <c:v>878434</c:v>
                </c:pt>
                <c:pt idx="1">
                  <c:v>324746</c:v>
                </c:pt>
                <c:pt idx="2">
                  <c:v>279303</c:v>
                </c:pt>
                <c:pt idx="3">
                  <c:v>176681</c:v>
                </c:pt>
                <c:pt idx="4">
                  <c:v>160863</c:v>
                </c:pt>
                <c:pt idx="5">
                  <c:v>125888</c:v>
                </c:pt>
                <c:pt idx="6">
                  <c:v>122961</c:v>
                </c:pt>
                <c:pt idx="7">
                  <c:v>120849</c:v>
                </c:pt>
              </c:numCache>
            </c:numRef>
          </c:bubbleSize>
          <c:bubble3D val="0"/>
          <c:extLst>
            <c:ext xmlns:c15="http://schemas.microsoft.com/office/drawing/2012/chart" uri="{02D57815-91ED-43cb-92C2-25804820EDAC}">
              <c15:datalabelsRange>
                <c15:f>Sheet1!$E$2:$E$10</c15:f>
                <c15:dlblRangeCache>
                  <c:ptCount val="9"/>
                  <c:pt idx="0">
                    <c:v>Ruinart</c:v>
                  </c:pt>
                  <c:pt idx="1">
                    <c:v>Deutz</c:v>
                  </c:pt>
                  <c:pt idx="2">
                    <c:v>Nicolas</c:v>
                  </c:pt>
                  <c:pt idx="3">
                    <c:v>Malard</c:v>
                  </c:pt>
                  <c:pt idx="4">
                    <c:v>Laurent Perrier</c:v>
                  </c:pt>
                  <c:pt idx="5">
                    <c:v>Heidsieck &amp; Co Monopole</c:v>
                  </c:pt>
                  <c:pt idx="6">
                    <c:v>Taittinger</c:v>
                  </c:pt>
                  <c:pt idx="7">
                    <c:v>Nicolas Feuillatt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5"/>
          <c:min val="20"/>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42FB8F2-A4CF-44EA-A715-7ED343BF1C5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7E203A0-A428-4958-A6C0-892D99E888E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F9CC94D-3597-4715-9AA7-5FBC75C9803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0F2F6B3A-309B-4AC0-8A3C-F07CFCA073E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857C0240-402B-4A13-8789-777420F29D6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A29A3DC0-A2B7-4BDF-A7EF-5C1258CE8F1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F51703AB-9446-4030-8344-F94D3DD287F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2933E0F2-2A04-436B-830D-17F635ED092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1.366099999999999</c:v>
                </c:pt>
                <c:pt idx="1">
                  <c:v>11.7385</c:v>
                </c:pt>
                <c:pt idx="2">
                  <c:v>13.419700000000001</c:v>
                </c:pt>
              </c:numCache>
            </c:numRef>
          </c:xVal>
          <c:yVal>
            <c:numRef>
              <c:f>Sheet1!$B$2:$B$4</c:f>
              <c:numCache>
                <c:formatCode>General</c:formatCode>
                <c:ptCount val="3"/>
                <c:pt idx="0">
                  <c:v>0.94699999999999995</c:v>
                </c:pt>
                <c:pt idx="1">
                  <c:v>0.93799999999999994</c:v>
                </c:pt>
                <c:pt idx="2">
                  <c:v>1.1200000000000001</c:v>
                </c:pt>
              </c:numCache>
            </c:numRef>
          </c:yVal>
          <c:bubbleSize>
            <c:numRef>
              <c:f>Sheet1!$C$2:$C$4</c:f>
              <c:numCache>
                <c:formatCode>General</c:formatCode>
                <c:ptCount val="3"/>
                <c:pt idx="0">
                  <c:v>30427</c:v>
                </c:pt>
                <c:pt idx="1">
                  <c:v>22620</c:v>
                </c:pt>
                <c:pt idx="2">
                  <c:v>18895</c:v>
                </c:pt>
              </c:numCache>
            </c:numRef>
          </c:bubbleSize>
          <c:bubble3D val="0"/>
          <c:extLst>
            <c:ext xmlns:c15="http://schemas.microsoft.com/office/drawing/2012/chart" uri="{02D57815-91ED-43cb-92C2-25804820EDAC}">
              <c15:datalabelsRange>
                <c15:f>Sheet1!$E$2:$E$10</c15:f>
                <c15:dlblRangeCache>
                  <c:ptCount val="9"/>
                  <c:pt idx="0">
                    <c:v>Chateau Moncontour</c:v>
                  </c:pt>
                  <c:pt idx="1">
                    <c:v>Bouvet-Ladubay</c:v>
                  </c:pt>
                  <c:pt idx="2">
                    <c:v>De Chancen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6"/>
          <c:min val="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32"/>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89E9F38-7342-47D1-BDE2-7134324719C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4BBB4D6-AE8C-4B70-AD3B-AB3C1ED066F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33A04B5-E117-4783-8981-C5C4CC5953B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045C4A85-06BF-421F-8F91-E3E31E59ECB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40E9AE47-FFE1-43A3-AB8F-7E538A8DCFB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6C3E6875-703E-42EF-856B-78EA0B1EAC8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82C75CA6-B170-4D90-A91A-333021648A3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0444C521-AFAF-45A9-925D-8082C7F5786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1.817299999999999</c:v>
                </c:pt>
                <c:pt idx="1">
                  <c:v>11.5405</c:v>
                </c:pt>
                <c:pt idx="2">
                  <c:v>13.3918</c:v>
                </c:pt>
              </c:numCache>
            </c:numRef>
          </c:xVal>
          <c:yVal>
            <c:numRef>
              <c:f>Sheet1!$B$2:$B$4</c:f>
              <c:numCache>
                <c:formatCode>General</c:formatCode>
                <c:ptCount val="3"/>
                <c:pt idx="0">
                  <c:v>0.95799999999999996</c:v>
                </c:pt>
                <c:pt idx="1">
                  <c:v>0.97899999999999998</c:v>
                </c:pt>
                <c:pt idx="2">
                  <c:v>1.1259999999999999</c:v>
                </c:pt>
              </c:numCache>
            </c:numRef>
          </c:yVal>
          <c:bubbleSize>
            <c:numRef>
              <c:f>Sheet1!$C$2:$C$4</c:f>
              <c:numCache>
                <c:formatCode>General</c:formatCode>
                <c:ptCount val="3"/>
                <c:pt idx="0">
                  <c:v>20314</c:v>
                </c:pt>
                <c:pt idx="1">
                  <c:v>16376</c:v>
                </c:pt>
                <c:pt idx="2">
                  <c:v>5571</c:v>
                </c:pt>
              </c:numCache>
            </c:numRef>
          </c:bubbleSize>
          <c:bubble3D val="0"/>
          <c:extLst>
            <c:ext xmlns:c15="http://schemas.microsoft.com/office/drawing/2012/chart" uri="{02D57815-91ED-43cb-92C2-25804820EDAC}">
              <c15:datalabelsRange>
                <c15:f>Sheet1!$E$2:$E$10</c15:f>
                <c15:dlblRangeCache>
                  <c:ptCount val="9"/>
                  <c:pt idx="0">
                    <c:v>Bouvet-Ladubay</c:v>
                  </c:pt>
                  <c:pt idx="1">
                    <c:v>Chateau Moncontour</c:v>
                  </c:pt>
                  <c:pt idx="2">
                    <c:v>De Chancen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6"/>
          <c:min val="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3259999999999998"/>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CA306E4-C060-49A5-9422-D4A89564C2C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A24FA01-DFCC-4A48-A330-C99FF0BE408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237C086-53F5-4C8B-A69B-6D4300B420F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3BEA28D5-9D5D-4591-9744-919D15C4A2F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B2F22E32-5860-4651-B2DE-3BB44244BD7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D4F10BF6-D1E0-41F3-A9F3-5C407FB6A86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4D40A621-66EE-4E5A-A6CD-F35449CDF25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33531970-6657-4534-831C-CB8E3772149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1.672000000000001</c:v>
                </c:pt>
                <c:pt idx="1">
                  <c:v>11.5655</c:v>
                </c:pt>
                <c:pt idx="2">
                  <c:v>13.4473</c:v>
                </c:pt>
              </c:numCache>
            </c:numRef>
          </c:xVal>
          <c:yVal>
            <c:numRef>
              <c:f>Sheet1!$B$2:$B$4</c:f>
              <c:numCache>
                <c:formatCode>General</c:formatCode>
                <c:ptCount val="3"/>
                <c:pt idx="0">
                  <c:v>0.97799999999999998</c:v>
                </c:pt>
                <c:pt idx="1">
                  <c:v>1.0169999999999999</c:v>
                </c:pt>
                <c:pt idx="2">
                  <c:v>1.171</c:v>
                </c:pt>
              </c:numCache>
            </c:numRef>
          </c:yVal>
          <c:bubbleSize>
            <c:numRef>
              <c:f>Sheet1!$C$2:$C$4</c:f>
              <c:numCache>
                <c:formatCode>General</c:formatCode>
                <c:ptCount val="3"/>
                <c:pt idx="0">
                  <c:v>15337</c:v>
                </c:pt>
                <c:pt idx="1">
                  <c:v>8304</c:v>
                </c:pt>
                <c:pt idx="2">
                  <c:v>4720</c:v>
                </c:pt>
              </c:numCache>
            </c:numRef>
          </c:bubbleSize>
          <c:bubble3D val="0"/>
          <c:extLst>
            <c:ext xmlns:c15="http://schemas.microsoft.com/office/drawing/2012/chart" uri="{02D57815-91ED-43cb-92C2-25804820EDAC}">
              <c15:datalabelsRange>
                <c15:f>Sheet1!$E$2:$E$10</c15:f>
                <c15:dlblRangeCache>
                  <c:ptCount val="9"/>
                  <c:pt idx="0">
                    <c:v>Bouvet-Ladubay</c:v>
                  </c:pt>
                  <c:pt idx="1">
                    <c:v>Chateau Moncontour</c:v>
                  </c:pt>
                  <c:pt idx="2">
                    <c:v>De Chancen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6"/>
          <c:min val="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371"/>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BB1407F-7466-4F78-972C-BDAFBA22A3C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0D5285D-D999-40EC-A7F0-CF9C6F893C7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43DC434-6C0B-4433-A45C-F9AB0A3D38D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72177CC4-AD8A-43E7-81FF-D17E6215B1B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BA2C23D3-BF55-4FF0-A3EC-3D19D83E967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36CF0C17-2DC6-429C-9D20-E63A4692EAB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9C624CD3-B266-477C-B057-49920A05789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77582408-351E-44E6-9311-F396BE9640C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1.3957</c:v>
                </c:pt>
                <c:pt idx="1">
                  <c:v>11.78</c:v>
                </c:pt>
                <c:pt idx="2">
                  <c:v>13.4511</c:v>
                </c:pt>
              </c:numCache>
            </c:numRef>
          </c:xVal>
          <c:yVal>
            <c:numRef>
              <c:f>Sheet1!$B$2:$B$4</c:f>
              <c:numCache>
                <c:formatCode>General</c:formatCode>
                <c:ptCount val="3"/>
                <c:pt idx="0">
                  <c:v>0.95799999999999996</c:v>
                </c:pt>
                <c:pt idx="1">
                  <c:v>0.94699999999999995</c:v>
                </c:pt>
                <c:pt idx="2">
                  <c:v>1.1299999999999999</c:v>
                </c:pt>
              </c:numCache>
            </c:numRef>
          </c:yVal>
          <c:bubbleSize>
            <c:numRef>
              <c:f>Sheet1!$C$2:$C$4</c:f>
              <c:numCache>
                <c:formatCode>General</c:formatCode>
                <c:ptCount val="3"/>
                <c:pt idx="0">
                  <c:v>224587</c:v>
                </c:pt>
                <c:pt idx="1">
                  <c:v>209943</c:v>
                </c:pt>
                <c:pt idx="2">
                  <c:v>122782</c:v>
                </c:pt>
              </c:numCache>
            </c:numRef>
          </c:bubbleSize>
          <c:bubble3D val="0"/>
          <c:extLst>
            <c:ext xmlns:c15="http://schemas.microsoft.com/office/drawing/2012/chart" uri="{02D57815-91ED-43cb-92C2-25804820EDAC}">
              <c15:datalabelsRange>
                <c15:f>Sheet1!$E$2:$E$10</c15:f>
                <c15:dlblRangeCache>
                  <c:ptCount val="9"/>
                  <c:pt idx="0">
                    <c:v>Chateau Moncontour</c:v>
                  </c:pt>
                  <c:pt idx="1">
                    <c:v>Bouvet-Ladubay</c:v>
                  </c:pt>
                  <c:pt idx="2">
                    <c:v>De Chancen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6"/>
          <c:min val="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3299999999999998"/>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8C00CFC-0568-41CD-AE0D-B5CAFCAE6F2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88607BA-78BE-45D7-AFF7-EE69810A21E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BAE5FDB-1B23-49CE-BE3B-F0E8154CEE8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0C5259B3-A16C-4CF2-B070-4B5975FF295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F18393E0-1B13-4C7E-9F70-5DA4743A160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4223216E-32CD-489D-AD82-D38E124E4EB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28040502-60A1-44B5-BF86-0744C64CDC6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EAA00CB4-4743-4D78-890B-1EA5984B8AD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1.9748</c:v>
                </c:pt>
                <c:pt idx="1">
                  <c:v>11.4427</c:v>
                </c:pt>
                <c:pt idx="2">
                  <c:v>13.5473</c:v>
                </c:pt>
              </c:numCache>
            </c:numRef>
          </c:xVal>
          <c:yVal>
            <c:numRef>
              <c:f>Sheet1!$B$2:$B$4</c:f>
              <c:numCache>
                <c:formatCode>General</c:formatCode>
                <c:ptCount val="3"/>
                <c:pt idx="0">
                  <c:v>0.96599999999999997</c:v>
                </c:pt>
                <c:pt idx="1">
                  <c:v>0.97499999999999998</c:v>
                </c:pt>
                <c:pt idx="2">
                  <c:v>1.1599999999999999</c:v>
                </c:pt>
              </c:numCache>
            </c:numRef>
          </c:yVal>
          <c:bubbleSize>
            <c:numRef>
              <c:f>Sheet1!$C$2:$C$4</c:f>
              <c:numCache>
                <c:formatCode>General</c:formatCode>
                <c:ptCount val="3"/>
                <c:pt idx="0">
                  <c:v>16609</c:v>
                </c:pt>
                <c:pt idx="1">
                  <c:v>12072</c:v>
                </c:pt>
                <c:pt idx="2">
                  <c:v>8589</c:v>
                </c:pt>
              </c:numCache>
            </c:numRef>
          </c:bubbleSize>
          <c:bubble3D val="0"/>
          <c:extLst>
            <c:ext xmlns:c15="http://schemas.microsoft.com/office/drawing/2012/chart" uri="{02D57815-91ED-43cb-92C2-25804820EDAC}">
              <c15:datalabelsRange>
                <c15:f>Sheet1!$E$2:$E$10</c15:f>
                <c15:dlblRangeCache>
                  <c:ptCount val="9"/>
                  <c:pt idx="0">
                    <c:v>Bouvet-Ladubay</c:v>
                  </c:pt>
                  <c:pt idx="1">
                    <c:v>Chateau Moncontour</c:v>
                  </c:pt>
                  <c:pt idx="2">
                    <c:v>De Chancen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6"/>
          <c:min val="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359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300BE32-1CBD-4BA2-BD27-E03A7CA7F2A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9231777-C832-4FA5-A97A-49D444004B1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D9B1F06-D1FE-4DED-A269-D393528A145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C175531A-F2AE-49CD-8778-1CDA16ADCB2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96FF40C1-62E4-45FD-87EC-770438BF3B2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A0F620BA-5D82-41EC-94B8-E9F6CBB00B3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661AC2BA-13A0-4257-A8B5-8E86354E426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C09774F4-8262-423C-815C-B8775086668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1.366199999999999</c:v>
                </c:pt>
                <c:pt idx="1">
                  <c:v>12.0534</c:v>
                </c:pt>
                <c:pt idx="2">
                  <c:v>13.274900000000001</c:v>
                </c:pt>
              </c:numCache>
            </c:numRef>
          </c:xVal>
          <c:yVal>
            <c:numRef>
              <c:f>Sheet1!$B$2:$B$4</c:f>
              <c:numCache>
                <c:formatCode>General</c:formatCode>
                <c:ptCount val="3"/>
                <c:pt idx="0">
                  <c:v>0.96099999999999997</c:v>
                </c:pt>
                <c:pt idx="1">
                  <c:v>0.93700000000000006</c:v>
                </c:pt>
                <c:pt idx="2">
                  <c:v>1.141</c:v>
                </c:pt>
              </c:numCache>
            </c:numRef>
          </c:yVal>
          <c:bubbleSize>
            <c:numRef>
              <c:f>Sheet1!$C$2:$C$4</c:f>
              <c:numCache>
                <c:formatCode>General</c:formatCode>
                <c:ptCount val="3"/>
                <c:pt idx="0">
                  <c:v>10707</c:v>
                </c:pt>
                <c:pt idx="1">
                  <c:v>7220</c:v>
                </c:pt>
                <c:pt idx="2">
                  <c:v>6133</c:v>
                </c:pt>
              </c:numCache>
            </c:numRef>
          </c:bubbleSize>
          <c:bubble3D val="0"/>
          <c:extLst>
            <c:ext xmlns:c15="http://schemas.microsoft.com/office/drawing/2012/chart" uri="{02D57815-91ED-43cb-92C2-25804820EDAC}">
              <c15:datalabelsRange>
                <c15:f>Sheet1!$E$2:$E$10</c15:f>
                <c15:dlblRangeCache>
                  <c:ptCount val="9"/>
                  <c:pt idx="0">
                    <c:v>Chateau Moncontour</c:v>
                  </c:pt>
                  <c:pt idx="1">
                    <c:v>Bouvet-Ladubay</c:v>
                  </c:pt>
                  <c:pt idx="2">
                    <c:v>De Chancen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6"/>
          <c:min val="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341"/>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3DCBF41-906B-4CFD-B259-4DA6C0F943B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9259D47-0325-4EAE-9E5C-38D02316798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10F0B9A-8A27-4FE3-BA64-F97E6A566D6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1D4B044F-2156-4B73-8459-0C2E702AD89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97C5B235-A77D-460A-AD31-757287C79C1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29EEBA71-2A65-45C0-BA28-0E6DEBA298A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3705C531-05D7-4F07-BE15-E2E76322BE4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627A64CB-C990-45F8-B429-84CD88991CF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1.404400000000001</c:v>
                </c:pt>
                <c:pt idx="1">
                  <c:v>11.525499999999999</c:v>
                </c:pt>
                <c:pt idx="2">
                  <c:v>13.9803</c:v>
                </c:pt>
              </c:numCache>
            </c:numRef>
          </c:xVal>
          <c:yVal>
            <c:numRef>
              <c:f>Sheet1!$B$2:$B$4</c:f>
              <c:numCache>
                <c:formatCode>General</c:formatCode>
                <c:ptCount val="3"/>
                <c:pt idx="0">
                  <c:v>0.99099999999999999</c:v>
                </c:pt>
                <c:pt idx="1">
                  <c:v>1.0349999999999999</c:v>
                </c:pt>
                <c:pt idx="2">
                  <c:v>1.2250000000000001</c:v>
                </c:pt>
              </c:numCache>
            </c:numRef>
          </c:yVal>
          <c:bubbleSize>
            <c:numRef>
              <c:f>Sheet1!$C$2:$C$4</c:f>
              <c:numCache>
                <c:formatCode>General</c:formatCode>
                <c:ptCount val="3"/>
                <c:pt idx="0">
                  <c:v>10800</c:v>
                </c:pt>
                <c:pt idx="1">
                  <c:v>5878</c:v>
                </c:pt>
                <c:pt idx="2">
                  <c:v>2125</c:v>
                </c:pt>
              </c:numCache>
            </c:numRef>
          </c:bubbleSize>
          <c:bubble3D val="0"/>
          <c:extLst>
            <c:ext xmlns:c15="http://schemas.microsoft.com/office/drawing/2012/chart" uri="{02D57815-91ED-43cb-92C2-25804820EDAC}">
              <c15:datalabelsRange>
                <c15:f>Sheet1!$E$2:$E$10</c15:f>
                <c15:dlblRangeCache>
                  <c:ptCount val="9"/>
                  <c:pt idx="0">
                    <c:v>Bouvet-Ladubay</c:v>
                  </c:pt>
                  <c:pt idx="1">
                    <c:v>Chateau Moncontour</c:v>
                  </c:pt>
                  <c:pt idx="2">
                    <c:v>De Chancen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7"/>
          <c:min val="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425"/>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67EED68-0E74-40DD-9B47-D5CC72C120B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F2AAB8A-CED6-4A18-A4C5-C9FF473EF43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7807A09-477A-45A1-96B7-34354C0D302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B2EF5182-B57B-45C6-B1CA-C94615F41B3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9DD196CC-4E44-41EB-BACD-1AD1139A119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94D0D110-A4E4-459F-B46E-F802BC2B42F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3669FB34-52D7-4969-810F-84A5848A604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E2974D2B-A51A-44FB-B51D-C25F0F80156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1.7005</c:v>
                </c:pt>
                <c:pt idx="1">
                  <c:v>13.552199999999999</c:v>
                </c:pt>
                <c:pt idx="2">
                  <c:v>13.9505</c:v>
                </c:pt>
              </c:numCache>
            </c:numRef>
          </c:xVal>
          <c:yVal>
            <c:numRef>
              <c:f>Sheet1!$B$2:$B$4</c:f>
              <c:numCache>
                <c:formatCode>General</c:formatCode>
                <c:ptCount val="3"/>
                <c:pt idx="0">
                  <c:v>1</c:v>
                </c:pt>
                <c:pt idx="1">
                  <c:v>0.97099999999999997</c:v>
                </c:pt>
                <c:pt idx="2">
                  <c:v>1.1890000000000001</c:v>
                </c:pt>
              </c:numCache>
            </c:numRef>
          </c:yVal>
          <c:bubbleSize>
            <c:numRef>
              <c:f>Sheet1!$C$2:$C$4</c:f>
              <c:numCache>
                <c:formatCode>General</c:formatCode>
                <c:ptCount val="3"/>
                <c:pt idx="0">
                  <c:v>2188</c:v>
                </c:pt>
                <c:pt idx="1">
                  <c:v>1816</c:v>
                </c:pt>
                <c:pt idx="2">
                  <c:v>1409</c:v>
                </c:pt>
              </c:numCache>
            </c:numRef>
          </c:bubbleSize>
          <c:bubble3D val="0"/>
          <c:extLst>
            <c:ext xmlns:c15="http://schemas.microsoft.com/office/drawing/2012/chart" uri="{02D57815-91ED-43cb-92C2-25804820EDAC}">
              <c15:datalabelsRange>
                <c15:f>Sheet1!$E$2:$E$10</c15:f>
                <c15:dlblRangeCache>
                  <c:ptCount val="9"/>
                  <c:pt idx="0">
                    <c:v>Chateau Moncontour</c:v>
                  </c:pt>
                  <c:pt idx="1">
                    <c:v>Bouvet-Ladubay</c:v>
                  </c:pt>
                  <c:pt idx="2">
                    <c:v>De Chancen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7"/>
          <c:min val="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38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16118DB-4DC0-490B-AFCF-CCB99998353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E44B693-9902-4870-A7C4-8AA8C15A085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7F1EFA0-095F-421E-A16D-DEEA676C012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9D43365D-54E0-45F5-9136-01C3009208F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2AD49636-70C8-4B04-8D59-DDA68798721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7983FCD8-3703-4997-A763-36A0115053D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558E53AA-24C2-465F-97E1-95E0AA15430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CB6B2AC7-2C2A-4381-93BC-6444F2735A0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1.3108</c:v>
                </c:pt>
                <c:pt idx="1">
                  <c:v>11.7963</c:v>
                </c:pt>
                <c:pt idx="2">
                  <c:v>13.266400000000001</c:v>
                </c:pt>
              </c:numCache>
            </c:numRef>
          </c:xVal>
          <c:yVal>
            <c:numRef>
              <c:f>Sheet1!$B$2:$B$4</c:f>
              <c:numCache>
                <c:formatCode>General</c:formatCode>
                <c:ptCount val="3"/>
                <c:pt idx="0">
                  <c:v>0.95299999999999996</c:v>
                </c:pt>
                <c:pt idx="1">
                  <c:v>0.94699999999999995</c:v>
                </c:pt>
                <c:pt idx="2">
                  <c:v>1.115</c:v>
                </c:pt>
              </c:numCache>
            </c:numRef>
          </c:yVal>
          <c:bubbleSize>
            <c:numRef>
              <c:f>Sheet1!$C$2:$C$4</c:f>
              <c:numCache>
                <c:formatCode>General</c:formatCode>
                <c:ptCount val="3"/>
                <c:pt idx="0">
                  <c:v>64924</c:v>
                </c:pt>
                <c:pt idx="1">
                  <c:v>64278</c:v>
                </c:pt>
                <c:pt idx="2">
                  <c:v>37597</c:v>
                </c:pt>
              </c:numCache>
            </c:numRef>
          </c:bubbleSize>
          <c:bubble3D val="0"/>
          <c:extLst>
            <c:ext xmlns:c15="http://schemas.microsoft.com/office/drawing/2012/chart" uri="{02D57815-91ED-43cb-92C2-25804820EDAC}">
              <c15:datalabelsRange>
                <c15:f>Sheet1!$E$2:$E$10</c15:f>
                <c15:dlblRangeCache>
                  <c:ptCount val="9"/>
                  <c:pt idx="0">
                    <c:v>Chateau Moncontour</c:v>
                  </c:pt>
                  <c:pt idx="1">
                    <c:v>Bouvet-Ladubay</c:v>
                  </c:pt>
                  <c:pt idx="2">
                    <c:v>De Chancen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6"/>
          <c:min val="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314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4980BDB-955C-4F6D-9D5B-629287DF989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2227DFB-FBFB-412C-9274-D5E9B8F614A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D083859-720E-482D-9E22-0AD694EE7F7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6299F5EA-9C2C-4D26-9CB7-BCFD32C14D8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CA480502-EAFA-4D11-85BF-1CA9B4405A5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6B9C34B0-DD2E-4481-87DE-1596C4CB567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EFDCE1BE-8676-481A-A8B0-7AB23AE9BF3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29A39FCC-D472-4265-9242-4E5C5B2E944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1.6388</c:v>
                </c:pt>
                <c:pt idx="1">
                  <c:v>11.379899999999999</c:v>
                </c:pt>
                <c:pt idx="2">
                  <c:v>13.565200000000001</c:v>
                </c:pt>
              </c:numCache>
            </c:numRef>
          </c:xVal>
          <c:yVal>
            <c:numRef>
              <c:f>Sheet1!$B$2:$B$4</c:f>
              <c:numCache>
                <c:formatCode>General</c:formatCode>
                <c:ptCount val="3"/>
                <c:pt idx="0">
                  <c:v>0.97599999999999998</c:v>
                </c:pt>
                <c:pt idx="1">
                  <c:v>0.98899999999999999</c:v>
                </c:pt>
                <c:pt idx="2">
                  <c:v>1.177</c:v>
                </c:pt>
              </c:numCache>
            </c:numRef>
          </c:yVal>
          <c:bubbleSize>
            <c:numRef>
              <c:f>Sheet1!$C$2:$C$4</c:f>
              <c:numCache>
                <c:formatCode>General</c:formatCode>
                <c:ptCount val="3"/>
                <c:pt idx="0">
                  <c:v>50745</c:v>
                </c:pt>
                <c:pt idx="1">
                  <c:v>43528</c:v>
                </c:pt>
                <c:pt idx="2">
                  <c:v>23088</c:v>
                </c:pt>
              </c:numCache>
            </c:numRef>
          </c:bubbleSize>
          <c:bubble3D val="0"/>
          <c:extLst>
            <c:ext xmlns:c15="http://schemas.microsoft.com/office/drawing/2012/chart" uri="{02D57815-91ED-43cb-92C2-25804820EDAC}">
              <c15:datalabelsRange>
                <c15:f>Sheet1!$E$2:$E$10</c15:f>
                <c15:dlblRangeCache>
                  <c:ptCount val="9"/>
                  <c:pt idx="0">
                    <c:v>Bouvet-Ladubay</c:v>
                  </c:pt>
                  <c:pt idx="1">
                    <c:v>Chateau Moncontour</c:v>
                  </c:pt>
                  <c:pt idx="2">
                    <c:v>De Chancen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6"/>
          <c:min val="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377"/>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511434B-5305-47B3-AA30-78130889AAD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7341B63-66D8-4C5D-824E-D873CAD1898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964A6E9-A089-4DF2-BF37-DE44DA360C8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9EA4B79-E3D2-49EC-A715-3872333CD60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57134C13-D4F3-48AC-8370-6B3CE677E94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670964F-B8BF-4EC0-BE47-D117E909226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14D7E99C-5708-47B9-B62F-892BD22FCBA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7D16CE91-ECA1-4D06-9B1C-4EC884FD861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70.044300000000007</c:v>
                </c:pt>
                <c:pt idx="1">
                  <c:v>23.673100000000002</c:v>
                </c:pt>
                <c:pt idx="2">
                  <c:v>50.6248</c:v>
                </c:pt>
                <c:pt idx="3">
                  <c:v>31.541399999999999</c:v>
                </c:pt>
                <c:pt idx="4">
                  <c:v>52.898600000000002</c:v>
                </c:pt>
                <c:pt idx="5">
                  <c:v>33.237000000000002</c:v>
                </c:pt>
                <c:pt idx="6">
                  <c:v>30.649899999999999</c:v>
                </c:pt>
                <c:pt idx="7">
                  <c:v>30.5626</c:v>
                </c:pt>
              </c:numCache>
            </c:numRef>
          </c:xVal>
          <c:yVal>
            <c:numRef>
              <c:f>Sheet1!$B$2:$B$9</c:f>
              <c:numCache>
                <c:formatCode>General</c:formatCode>
                <c:ptCount val="8"/>
                <c:pt idx="0">
                  <c:v>1.9850000000000001</c:v>
                </c:pt>
                <c:pt idx="1">
                  <c:v>0.68300000000000005</c:v>
                </c:pt>
                <c:pt idx="2">
                  <c:v>1.4059999999999999</c:v>
                </c:pt>
                <c:pt idx="3">
                  <c:v>0.90900000000000003</c:v>
                </c:pt>
                <c:pt idx="4">
                  <c:v>1.3440000000000001</c:v>
                </c:pt>
                <c:pt idx="5">
                  <c:v>0.92100000000000004</c:v>
                </c:pt>
                <c:pt idx="6">
                  <c:v>0.88200000000000001</c:v>
                </c:pt>
                <c:pt idx="7">
                  <c:v>0.89500000000000002</c:v>
                </c:pt>
              </c:numCache>
            </c:numRef>
          </c:yVal>
          <c:bubbleSize>
            <c:numRef>
              <c:f>Sheet1!$C$2:$C$9</c:f>
              <c:numCache>
                <c:formatCode>General</c:formatCode>
                <c:ptCount val="8"/>
                <c:pt idx="0">
                  <c:v>3181414</c:v>
                </c:pt>
                <c:pt idx="1">
                  <c:v>1250034</c:v>
                </c:pt>
                <c:pt idx="2">
                  <c:v>867406</c:v>
                </c:pt>
                <c:pt idx="3">
                  <c:v>661770</c:v>
                </c:pt>
                <c:pt idx="4">
                  <c:v>505869</c:v>
                </c:pt>
                <c:pt idx="5">
                  <c:v>426896</c:v>
                </c:pt>
                <c:pt idx="6">
                  <c:v>422417</c:v>
                </c:pt>
                <c:pt idx="7">
                  <c:v>413482</c:v>
                </c:pt>
              </c:numCache>
            </c:numRef>
          </c:bubbleSize>
          <c:bubble3D val="0"/>
          <c:extLst>
            <c:ext xmlns:c15="http://schemas.microsoft.com/office/drawing/2012/chart" uri="{02D57815-91ED-43cb-92C2-25804820EDAC}">
              <c15:datalabelsRange>
                <c15:f>Sheet1!$E$2:$E$10</c15:f>
                <c15:dlblRangeCache>
                  <c:ptCount val="9"/>
                  <c:pt idx="0">
                    <c:v>Ruinart</c:v>
                  </c:pt>
                  <c:pt idx="1">
                    <c:v>Nicolas</c:v>
                  </c:pt>
                  <c:pt idx="2">
                    <c:v>Deutz</c:v>
                  </c:pt>
                  <c:pt idx="3">
                    <c:v>Malard</c:v>
                  </c:pt>
                  <c:pt idx="4">
                    <c:v>Laurent Perrier</c:v>
                  </c:pt>
                  <c:pt idx="5">
                    <c:v>Nicolas Feuillatte</c:v>
                  </c:pt>
                  <c:pt idx="6">
                    <c:v>De Bligny</c:v>
                  </c:pt>
                  <c:pt idx="7">
                    <c:v>Canard Duchên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4"/>
          <c:min val="19"/>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0C4F2FDF-BEA5-4B59-A30C-5B482848329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46CD740A-EBB6-410A-A77B-67AE82DF2FF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F07A99AD-480B-44E1-91E5-AF4D5C7D8F9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65B39D90-B059-43E8-99D9-21277049345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6A46CA4C-1571-46F0-AF5A-E3C4E620771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BDC5B418-45A1-4625-AA85-B5A6DC27B34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87E55B77-09EC-4CB8-911F-2FC45B4B534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BAA332CC-FBDF-4C8A-AEEC-22F32D71875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11.4886</c:v>
                </c:pt>
                <c:pt idx="1">
                  <c:v>12.6144</c:v>
                </c:pt>
                <c:pt idx="2">
                  <c:v>9.1776</c:v>
                </c:pt>
                <c:pt idx="3">
                  <c:v>17.562100000000001</c:v>
                </c:pt>
                <c:pt idx="4">
                  <c:v>11.366199999999999</c:v>
                </c:pt>
                <c:pt idx="5">
                  <c:v>11.551</c:v>
                </c:pt>
                <c:pt idx="6">
                  <c:v>6.4760999999999997</c:v>
                </c:pt>
                <c:pt idx="7">
                  <c:v>12.0534</c:v>
                </c:pt>
              </c:numCache>
            </c:numRef>
          </c:xVal>
          <c:yVal>
            <c:numRef>
              <c:f>Sheet1!$B$2:$B$9</c:f>
              <c:numCache>
                <c:formatCode>General</c:formatCode>
                <c:ptCount val="8"/>
                <c:pt idx="0">
                  <c:v>1.1180000000000001</c:v>
                </c:pt>
                <c:pt idx="1">
                  <c:v>1.2310000000000001</c:v>
                </c:pt>
                <c:pt idx="2">
                  <c:v>0.89500000000000002</c:v>
                </c:pt>
                <c:pt idx="3">
                  <c:v>1.698</c:v>
                </c:pt>
                <c:pt idx="4">
                  <c:v>1.103</c:v>
                </c:pt>
                <c:pt idx="5">
                  <c:v>0.93899999999999995</c:v>
                </c:pt>
                <c:pt idx="6">
                  <c:v>0.629</c:v>
                </c:pt>
                <c:pt idx="7">
                  <c:v>1.0760000000000001</c:v>
                </c:pt>
              </c:numCache>
            </c:numRef>
          </c:yVal>
          <c:bubbleSize>
            <c:numRef>
              <c:f>Sheet1!$C$2:$C$9</c:f>
              <c:numCache>
                <c:formatCode>General</c:formatCode>
                <c:ptCount val="8"/>
                <c:pt idx="0">
                  <c:v>41175</c:v>
                </c:pt>
                <c:pt idx="1">
                  <c:v>33731</c:v>
                </c:pt>
                <c:pt idx="2">
                  <c:v>22788</c:v>
                </c:pt>
                <c:pt idx="3">
                  <c:v>13997</c:v>
                </c:pt>
                <c:pt idx="4">
                  <c:v>10707</c:v>
                </c:pt>
                <c:pt idx="5">
                  <c:v>8259</c:v>
                </c:pt>
                <c:pt idx="6">
                  <c:v>7726</c:v>
                </c:pt>
                <c:pt idx="7">
                  <c:v>7220</c:v>
                </c:pt>
              </c:numCache>
            </c:numRef>
          </c:bubbleSize>
          <c:bubble3D val="0"/>
          <c:extLst>
            <c:ext xmlns:c15="http://schemas.microsoft.com/office/drawing/2012/chart" uri="{02D57815-91ED-43cb-92C2-25804820EDAC}">
              <c15:datalabelsRange>
                <c15:f>Sheet1!$E$2:$E$10</c15:f>
                <c15:dlblRangeCache>
                  <c:ptCount val="9"/>
                  <c:pt idx="0">
                    <c:v>Bottega</c:v>
                  </c:pt>
                  <c:pt idx="1">
                    <c:v>Patriarche</c:v>
                  </c:pt>
                  <c:pt idx="2">
                    <c:v>Savian</c:v>
                  </c:pt>
                  <c:pt idx="3">
                    <c:v>Mure</c:v>
                  </c:pt>
                  <c:pt idx="4">
                    <c:v>Chateau Moncontour</c:v>
                  </c:pt>
                  <c:pt idx="5">
                    <c:v>Contarini</c:v>
                  </c:pt>
                  <c:pt idx="6">
                    <c:v>Vilaveroni</c:v>
                  </c:pt>
                  <c:pt idx="7">
                    <c:v>Bouvet-Ladubay</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
          <c:min val="5"/>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FC03FBB-0ECB-47EF-AF84-ECA22596214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1A2B9EA-A479-43D3-8514-04C71BFBD76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894DFD4-FB9E-4786-804C-10AF2BF7FD9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C6D0FA38-3FE7-4303-8AEF-ED7F4B48007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6E0E8988-1887-4766-B99E-D66433400BF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B83E5EEF-D49B-48BF-8D72-C64C6281886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5B67B7D6-F571-43FE-A7A6-462351E7322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B3FEDCC2-67D4-4EF1-8629-A7E4109570B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1.7463</c:v>
                </c:pt>
                <c:pt idx="1">
                  <c:v>11.4129</c:v>
                </c:pt>
                <c:pt idx="2">
                  <c:v>13.5061</c:v>
                </c:pt>
              </c:numCache>
            </c:numRef>
          </c:xVal>
          <c:yVal>
            <c:numRef>
              <c:f>Sheet1!$B$2:$B$4</c:f>
              <c:numCache>
                <c:formatCode>General</c:formatCode>
                <c:ptCount val="3"/>
                <c:pt idx="0">
                  <c:v>0.96699999999999997</c:v>
                </c:pt>
                <c:pt idx="1">
                  <c:v>0.97799999999999998</c:v>
                </c:pt>
                <c:pt idx="2">
                  <c:v>1.155</c:v>
                </c:pt>
              </c:numCache>
            </c:numRef>
          </c:yVal>
          <c:bubbleSize>
            <c:numRef>
              <c:f>Sheet1!$C$2:$C$4</c:f>
              <c:numCache>
                <c:formatCode>General</c:formatCode>
                <c:ptCount val="3"/>
                <c:pt idx="0">
                  <c:v>74413</c:v>
                </c:pt>
                <c:pt idx="1">
                  <c:v>70235</c:v>
                </c:pt>
                <c:pt idx="2">
                  <c:v>42355</c:v>
                </c:pt>
              </c:numCache>
            </c:numRef>
          </c:bubbleSize>
          <c:bubble3D val="0"/>
          <c:extLst>
            <c:ext xmlns:c15="http://schemas.microsoft.com/office/drawing/2012/chart" uri="{02D57815-91ED-43cb-92C2-25804820EDAC}">
              <c15:datalabelsRange>
                <c15:f>Sheet1!$E$2:$E$10</c15:f>
                <c15:dlblRangeCache>
                  <c:ptCount val="9"/>
                  <c:pt idx="0">
                    <c:v>Bouvet-Ladubay</c:v>
                  </c:pt>
                  <c:pt idx="1">
                    <c:v>Chateau Moncontour</c:v>
                  </c:pt>
                  <c:pt idx="2">
                    <c:v>De Chancen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6"/>
          <c:min val="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355"/>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9AD9423-C0C2-4FA4-B9FA-3DEBE6A70D2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022335E-F03A-435F-80AD-8BEDC7CB810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0E37AF1-EFCF-46BA-897F-C66312D7AE3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13B05BCD-D56A-4A9B-8AAA-79BB17F044C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D89B0EBD-BABB-46BD-8F94-113520BF706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03ADD699-5E98-41DB-9076-5C262E95220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B3CDA1E3-5B80-462D-A656-E177F321D22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8BFF8A86-C98D-4F3F-9872-6CD59CEC514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1.9292</c:v>
                </c:pt>
                <c:pt idx="1">
                  <c:v>11.428000000000001</c:v>
                </c:pt>
                <c:pt idx="2">
                  <c:v>13.4643</c:v>
                </c:pt>
              </c:numCache>
            </c:numRef>
          </c:xVal>
          <c:yVal>
            <c:numRef>
              <c:f>Sheet1!$B$2:$B$4</c:f>
              <c:numCache>
                <c:formatCode>General</c:formatCode>
                <c:ptCount val="3"/>
                <c:pt idx="0">
                  <c:v>0.97</c:v>
                </c:pt>
                <c:pt idx="1">
                  <c:v>0.98399999999999999</c:v>
                </c:pt>
                <c:pt idx="2">
                  <c:v>1.1579999999999999</c:v>
                </c:pt>
              </c:numCache>
            </c:numRef>
          </c:yVal>
          <c:bubbleSize>
            <c:numRef>
              <c:f>Sheet1!$C$2:$C$4</c:f>
              <c:numCache>
                <c:formatCode>General</c:formatCode>
                <c:ptCount val="3"/>
                <c:pt idx="0">
                  <c:v>55399</c:v>
                </c:pt>
                <c:pt idx="1">
                  <c:v>53220</c:v>
                </c:pt>
                <c:pt idx="2">
                  <c:v>27871</c:v>
                </c:pt>
              </c:numCache>
            </c:numRef>
          </c:bubbleSize>
          <c:bubble3D val="0"/>
          <c:extLst>
            <c:ext xmlns:c15="http://schemas.microsoft.com/office/drawing/2012/chart" uri="{02D57815-91ED-43cb-92C2-25804820EDAC}">
              <c15:datalabelsRange>
                <c15:f>Sheet1!$E$2:$E$10</c15:f>
                <c15:dlblRangeCache>
                  <c:ptCount val="9"/>
                  <c:pt idx="0">
                    <c:v>Bouvet-Ladubay</c:v>
                  </c:pt>
                  <c:pt idx="1">
                    <c:v>Chateau Moncontour</c:v>
                  </c:pt>
                  <c:pt idx="2">
                    <c:v>De Chancen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6"/>
          <c:min val="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357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7A906B0-F55D-4018-AB04-4DD53A63812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189B8A4-5A08-4F68-8A43-2FAC1205E13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A4B46D7-015E-47DE-B72F-90564F725D4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718D0A63-5EAC-4B11-8BAC-48F4425EFE4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84D6AD96-CFCF-4B5C-8B14-2A9D6441482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5AA8B5C1-C2DF-462E-86BA-49A497C7ECB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4A4023BB-B901-4521-89DE-F56D41D4C0D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10418215-FE80-42A2-84AA-A3141233912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1.856400000000001</c:v>
                </c:pt>
                <c:pt idx="1">
                  <c:v>11.451599999999999</c:v>
                </c:pt>
                <c:pt idx="2">
                  <c:v>13.463800000000001</c:v>
                </c:pt>
              </c:numCache>
            </c:numRef>
          </c:xVal>
          <c:yVal>
            <c:numRef>
              <c:f>Sheet1!$B$2:$B$4</c:f>
              <c:numCache>
                <c:formatCode>General</c:formatCode>
                <c:ptCount val="3"/>
                <c:pt idx="0">
                  <c:v>0.98299999999999998</c:v>
                </c:pt>
                <c:pt idx="1">
                  <c:v>1.0129999999999999</c:v>
                </c:pt>
                <c:pt idx="2">
                  <c:v>1.1910000000000001</c:v>
                </c:pt>
              </c:numCache>
            </c:numRef>
          </c:yVal>
          <c:bubbleSize>
            <c:numRef>
              <c:f>Sheet1!$C$2:$C$4</c:f>
              <c:numCache>
                <c:formatCode>General</c:formatCode>
                <c:ptCount val="3"/>
                <c:pt idx="0">
                  <c:v>60420</c:v>
                </c:pt>
                <c:pt idx="1">
                  <c:v>50536</c:v>
                </c:pt>
                <c:pt idx="2">
                  <c:v>27143</c:v>
                </c:pt>
              </c:numCache>
            </c:numRef>
          </c:bubbleSize>
          <c:bubble3D val="0"/>
          <c:extLst>
            <c:ext xmlns:c15="http://schemas.microsoft.com/office/drawing/2012/chart" uri="{02D57815-91ED-43cb-92C2-25804820EDAC}">
              <c15:datalabelsRange>
                <c15:f>Sheet1!$E$2:$E$10</c15:f>
                <c15:dlblRangeCache>
                  <c:ptCount val="9"/>
                  <c:pt idx="0">
                    <c:v>Bouvet-Ladubay</c:v>
                  </c:pt>
                  <c:pt idx="1">
                    <c:v>Chateau Moncontour</c:v>
                  </c:pt>
                  <c:pt idx="2">
                    <c:v>De Chancen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6"/>
          <c:min val="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391"/>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C4A5636-ED09-44AB-9EC0-462D5BFD338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5FF62CE-9068-4283-8FBE-59BE96ED119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F15BD15-32A2-4066-B3E3-37592D3A8C8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F0946F7-61FA-4CC8-A552-89C38CFF583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6E1851AC-364A-4A3F-98A8-69C1350721A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B3564930-E420-4B4A-874C-34A9A7A160C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9D704B3-2AEF-4AA5-BCC7-E8640359A2D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C41131FB-9C1C-48C8-BA8D-B507F1205CB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7.1054000000000004</c:v>
                </c:pt>
                <c:pt idx="1">
                  <c:v>6.3410000000000002</c:v>
                </c:pt>
                <c:pt idx="2">
                  <c:v>7.1822999999999997</c:v>
                </c:pt>
                <c:pt idx="3">
                  <c:v>7.6665999999999999</c:v>
                </c:pt>
                <c:pt idx="4">
                  <c:v>7.1292999999999997</c:v>
                </c:pt>
                <c:pt idx="5">
                  <c:v>5.9306000000000001</c:v>
                </c:pt>
                <c:pt idx="6">
                  <c:v>6.8876999999999997</c:v>
                </c:pt>
                <c:pt idx="7">
                  <c:v>6.9467999999999996</c:v>
                </c:pt>
              </c:numCache>
            </c:numRef>
          </c:xVal>
          <c:yVal>
            <c:numRef>
              <c:f>Sheet1!$B$2:$B$9</c:f>
              <c:numCache>
                <c:formatCode>General</c:formatCode>
                <c:ptCount val="8"/>
                <c:pt idx="0">
                  <c:v>0.96499999999999997</c:v>
                </c:pt>
                <c:pt idx="1">
                  <c:v>1.153</c:v>
                </c:pt>
                <c:pt idx="2">
                  <c:v>1.0580000000000001</c:v>
                </c:pt>
                <c:pt idx="3">
                  <c:v>1.3049999999999999</c:v>
                </c:pt>
                <c:pt idx="4">
                  <c:v>0.96299999999999997</c:v>
                </c:pt>
                <c:pt idx="5">
                  <c:v>0.37</c:v>
                </c:pt>
                <c:pt idx="6">
                  <c:v>0.89300000000000002</c:v>
                </c:pt>
                <c:pt idx="7">
                  <c:v>0.93400000000000005</c:v>
                </c:pt>
              </c:numCache>
            </c:numRef>
          </c:yVal>
          <c:bubbleSize>
            <c:numRef>
              <c:f>Sheet1!$C$2:$C$9</c:f>
              <c:numCache>
                <c:formatCode>General</c:formatCode>
                <c:ptCount val="8"/>
                <c:pt idx="0">
                  <c:v>32603771</c:v>
                </c:pt>
                <c:pt idx="1">
                  <c:v>28541428</c:v>
                </c:pt>
                <c:pt idx="2">
                  <c:v>16692146</c:v>
                </c:pt>
                <c:pt idx="3">
                  <c:v>2899640</c:v>
                </c:pt>
                <c:pt idx="4">
                  <c:v>2432770</c:v>
                </c:pt>
                <c:pt idx="5">
                  <c:v>1442399</c:v>
                </c:pt>
                <c:pt idx="6">
                  <c:v>1348354</c:v>
                </c:pt>
                <c:pt idx="7">
                  <c:v>1286705</c:v>
                </c:pt>
              </c:numCache>
            </c:numRef>
          </c:bubbleSize>
          <c:bubble3D val="0"/>
          <c:extLst>
            <c:ext xmlns:c15="http://schemas.microsoft.com/office/drawing/2012/chart" uri="{02D57815-91ED-43cb-92C2-25804820EDAC}">
              <c15:datalabelsRange>
                <c15:f>Sheet1!$E$2:$E$10</c15:f>
                <c15:dlblRangeCache>
                  <c:ptCount val="9"/>
                  <c:pt idx="0">
                    <c:v>Wolfberger</c:v>
                  </c:pt>
                  <c:pt idx="1">
                    <c:v>Mdd</c:v>
                  </c:pt>
                  <c:pt idx="2">
                    <c:v>Arthur Metz</c:v>
                  </c:pt>
                  <c:pt idx="3">
                    <c:v>Bestheim</c:v>
                  </c:pt>
                  <c:pt idx="4">
                    <c:v>Cave Beblenheim</c:v>
                  </c:pt>
                  <c:pt idx="5">
                    <c:v>Les Quinze Arpents</c:v>
                  </c:pt>
                  <c:pt idx="6">
                    <c:v>Geiler Jean</c:v>
                  </c:pt>
                  <c:pt idx="7">
                    <c:v>Dopff</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9"/>
          <c:min val="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04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B95F430-FD9E-4433-9C08-062B80F968E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3C2C35B1-138D-4BF6-8CBD-5F7CFAE1424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19D87345-4AB3-482B-B690-2D6EC8195CA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A78996D7-CCA2-4629-B635-7B08B0D7904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8AE7A52B-8B2D-4DC5-B78F-4B2F5A8DFE2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BFFE8728-5D47-4073-98B1-68A2DEAB0EE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963E9D7A-0301-4F5D-8CF0-98098AE4BD1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0C48EE42-E7D4-41D9-BA38-49B49399A14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7.4328</c:v>
                </c:pt>
              </c:numCache>
            </c:numRef>
          </c:xVal>
          <c:yVal>
            <c:numRef>
              <c:f>Sheet1!$B$2:$B$2</c:f>
              <c:numCache>
                <c:formatCode>General</c:formatCode>
                <c:ptCount val="1"/>
                <c:pt idx="0">
                  <c:v>1.163</c:v>
                </c:pt>
              </c:numCache>
            </c:numRef>
          </c:yVal>
          <c:bubbleSize>
            <c:numRef>
              <c:f>Sheet1!$C$2:$C$2</c:f>
              <c:numCache>
                <c:formatCode>General</c:formatCode>
                <c:ptCount val="1"/>
                <c:pt idx="0">
                  <c:v>388332</c:v>
                </c:pt>
              </c:numCache>
            </c:numRef>
          </c:bubbleSize>
          <c:bubble3D val="0"/>
          <c:extLst>
            <c:ext xmlns:c15="http://schemas.microsoft.com/office/drawing/2012/chart" uri="{02D57815-91ED-43cb-92C2-25804820EDAC}">
              <c15:datalabelsRange>
                <c15:f>Sheet1!$E$2:$E$10</c15:f>
                <c15:dlblRangeCache>
                  <c:ptCount val="9"/>
                  <c:pt idx="0">
                    <c:v>Mur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
          <c:min val="1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363"/>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F3DAC45-DF2D-4841-961A-CD92ED0E29B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E81F8D7-4F1E-451D-8982-7EABD3C12D3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0E4EC14-4400-46A3-923D-B953905E53A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09B54C3-2417-4EDD-8809-3C539AAAFA3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1D2EF4C-848C-4529-AD75-BB8ACA15973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3D4C2C8-5C89-4337-8CDD-7BF03F4B76B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EB07FD9C-24AF-4B61-B539-63C2F91B9C1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187A1D5-A352-4684-89D7-8739486895C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7.1054000000000004</c:v>
                </c:pt>
                <c:pt idx="1">
                  <c:v>6.3410000000000002</c:v>
                </c:pt>
                <c:pt idx="2">
                  <c:v>7.1822999999999997</c:v>
                </c:pt>
                <c:pt idx="3">
                  <c:v>7.6665999999999999</c:v>
                </c:pt>
                <c:pt idx="4">
                  <c:v>7.1292999999999997</c:v>
                </c:pt>
                <c:pt idx="5">
                  <c:v>5.9306000000000001</c:v>
                </c:pt>
                <c:pt idx="6">
                  <c:v>6.8876999999999997</c:v>
                </c:pt>
                <c:pt idx="7">
                  <c:v>6.9467999999999996</c:v>
                </c:pt>
              </c:numCache>
            </c:numRef>
          </c:xVal>
          <c:yVal>
            <c:numRef>
              <c:f>Sheet1!$B$2:$B$9</c:f>
              <c:numCache>
                <c:formatCode>General</c:formatCode>
                <c:ptCount val="8"/>
                <c:pt idx="0">
                  <c:v>0.96799999999999997</c:v>
                </c:pt>
                <c:pt idx="1">
                  <c:v>1.157</c:v>
                </c:pt>
                <c:pt idx="2">
                  <c:v>1.0609999999999999</c:v>
                </c:pt>
                <c:pt idx="3">
                  <c:v>1.3089999999999999</c:v>
                </c:pt>
                <c:pt idx="4">
                  <c:v>0.96599999999999997</c:v>
                </c:pt>
                <c:pt idx="5">
                  <c:v>0.371</c:v>
                </c:pt>
                <c:pt idx="6">
                  <c:v>0.89600000000000002</c:v>
                </c:pt>
                <c:pt idx="7">
                  <c:v>0.93700000000000006</c:v>
                </c:pt>
              </c:numCache>
            </c:numRef>
          </c:yVal>
          <c:bubbleSize>
            <c:numRef>
              <c:f>Sheet1!$C$2:$C$9</c:f>
              <c:numCache>
                <c:formatCode>General</c:formatCode>
                <c:ptCount val="8"/>
                <c:pt idx="0">
                  <c:v>32603771</c:v>
                </c:pt>
                <c:pt idx="1">
                  <c:v>28541428</c:v>
                </c:pt>
                <c:pt idx="2">
                  <c:v>16692146</c:v>
                </c:pt>
                <c:pt idx="3">
                  <c:v>2899640</c:v>
                </c:pt>
                <c:pt idx="4">
                  <c:v>2432770</c:v>
                </c:pt>
                <c:pt idx="5">
                  <c:v>1442399</c:v>
                </c:pt>
                <c:pt idx="6">
                  <c:v>1348354</c:v>
                </c:pt>
                <c:pt idx="7">
                  <c:v>1286705</c:v>
                </c:pt>
              </c:numCache>
            </c:numRef>
          </c:bubbleSize>
          <c:bubble3D val="0"/>
          <c:extLst>
            <c:ext xmlns:c15="http://schemas.microsoft.com/office/drawing/2012/chart" uri="{02D57815-91ED-43cb-92C2-25804820EDAC}">
              <c15:datalabelsRange>
                <c15:f>Sheet1!$E$2:$E$10</c15:f>
                <c15:dlblRangeCache>
                  <c:ptCount val="9"/>
                  <c:pt idx="0">
                    <c:v>Wolfberger</c:v>
                  </c:pt>
                  <c:pt idx="1">
                    <c:v>Mdd</c:v>
                  </c:pt>
                  <c:pt idx="2">
                    <c:v>Arthur Metz</c:v>
                  </c:pt>
                  <c:pt idx="3">
                    <c:v>Bestheim</c:v>
                  </c:pt>
                  <c:pt idx="4">
                    <c:v>Cave Beblenheim</c:v>
                  </c:pt>
                  <c:pt idx="5">
                    <c:v>Les Quinze Arpents</c:v>
                  </c:pt>
                  <c:pt idx="6">
                    <c:v>Geiler Jean</c:v>
                  </c:pt>
                  <c:pt idx="7">
                    <c:v>Dopff</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9"/>
          <c:min val="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08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EE41581-113E-46B2-A682-E4899941720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3E72A1BF-ECA3-4264-9978-560ED5E4290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1D540AA7-17CF-45E0-A555-54EB38C527A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BC535843-DC20-4065-AF13-7B7782B0475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0F2D0884-F9A0-4A90-A7A7-6F05E671794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0A1A2D24-CD13-44C8-9105-61B9C245977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D2A74A31-E28E-40F7-AB23-D17B3A48747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1D785B7B-BA93-443B-B58D-08CA2489274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7.365300000000001</c:v>
                </c:pt>
              </c:numCache>
            </c:numRef>
          </c:xVal>
          <c:yVal>
            <c:numRef>
              <c:f>Sheet1!$B$2:$B$2</c:f>
              <c:numCache>
                <c:formatCode>General</c:formatCode>
                <c:ptCount val="1"/>
                <c:pt idx="0">
                  <c:v>1.1200000000000001</c:v>
                </c:pt>
              </c:numCache>
            </c:numRef>
          </c:yVal>
          <c:bubbleSize>
            <c:numRef>
              <c:f>Sheet1!$C$2:$C$2</c:f>
              <c:numCache>
                <c:formatCode>General</c:formatCode>
                <c:ptCount val="1"/>
                <c:pt idx="0">
                  <c:v>179505</c:v>
                </c:pt>
              </c:numCache>
            </c:numRef>
          </c:bubbleSize>
          <c:bubble3D val="0"/>
          <c:extLst>
            <c:ext xmlns:c15="http://schemas.microsoft.com/office/drawing/2012/chart" uri="{02D57815-91ED-43cb-92C2-25804820EDAC}">
              <c15:datalabelsRange>
                <c15:f>Sheet1!$E$2:$E$10</c15:f>
                <c15:dlblRangeCache>
                  <c:ptCount val="9"/>
                  <c:pt idx="0">
                    <c:v>Mur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
          <c:min val="1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32"/>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384C1A9-66E6-45BD-9013-EC5BF455C78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ED2E1F45-2144-42E8-B114-DBB26F31448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8ACA85E3-B321-42AE-A5C7-88BB1007600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39EBD5D4-1C97-4036-BE3D-41290E9173C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9B436337-F6B3-45F7-BD22-FA6BB285A11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943A7B5D-6D01-4117-9B20-51C3B72BC57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40BD873C-F2E1-4977-94DB-169312E9C33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09CF1536-C87D-4489-A6C9-FB98003B4F0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7.401599999999998</c:v>
                </c:pt>
              </c:numCache>
            </c:numRef>
          </c:xVal>
          <c:yVal>
            <c:numRef>
              <c:f>Sheet1!$B$2:$B$2</c:f>
              <c:numCache>
                <c:formatCode>General</c:formatCode>
                <c:ptCount val="1"/>
                <c:pt idx="0">
                  <c:v>1.0229999999999999</c:v>
                </c:pt>
              </c:numCache>
            </c:numRef>
          </c:yVal>
          <c:bubbleSize>
            <c:numRef>
              <c:f>Sheet1!$C$2:$C$2</c:f>
              <c:numCache>
                <c:formatCode>General</c:formatCode>
                <c:ptCount val="1"/>
                <c:pt idx="0">
                  <c:v>74009</c:v>
                </c:pt>
              </c:numCache>
            </c:numRef>
          </c:bubbleSize>
          <c:bubble3D val="0"/>
          <c:extLst>
            <c:ext xmlns:c15="http://schemas.microsoft.com/office/drawing/2012/chart" uri="{02D57815-91ED-43cb-92C2-25804820EDAC}">
              <c15:datalabelsRange>
                <c15:f>Sheet1!$E$2:$E$10</c15:f>
                <c15:dlblRangeCache>
                  <c:ptCount val="9"/>
                  <c:pt idx="0">
                    <c:v>Mur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
          <c:min val="1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22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E5EDFFF-4253-4BBD-A6CD-45F9A9A2F58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B5940F3B-4432-423D-90A6-367CBC578F4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B90A18E7-4D14-4629-B351-5B56901D765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A22F3626-210E-4086-A7FD-6D77300D060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B99EFB5C-0F9E-4AC7-ABF1-F530005CCCD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5BBECCAA-34EC-4707-8264-EF5EB072765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064B04BF-B3FC-4090-BE0F-BA21DA06FF7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384BBDC1-CB71-4FEA-91C3-E4AF723BF77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7.555099999999999</c:v>
                </c:pt>
              </c:numCache>
            </c:numRef>
          </c:xVal>
          <c:yVal>
            <c:numRef>
              <c:f>Sheet1!$B$2:$B$2</c:f>
              <c:numCache>
                <c:formatCode>General</c:formatCode>
                <c:ptCount val="1"/>
                <c:pt idx="0">
                  <c:v>1.2589999999999999</c:v>
                </c:pt>
              </c:numCache>
            </c:numRef>
          </c:yVal>
          <c:bubbleSize>
            <c:numRef>
              <c:f>Sheet1!$C$2:$C$2</c:f>
              <c:numCache>
                <c:formatCode>General</c:formatCode>
                <c:ptCount val="1"/>
                <c:pt idx="0">
                  <c:v>51331</c:v>
                </c:pt>
              </c:numCache>
            </c:numRef>
          </c:bubbleSize>
          <c:bubble3D val="0"/>
          <c:extLst>
            <c:ext xmlns:c15="http://schemas.microsoft.com/office/drawing/2012/chart" uri="{02D57815-91ED-43cb-92C2-25804820EDAC}">
              <c15:datalabelsRange>
                <c15:f>Sheet1!$E$2:$E$10</c15:f>
                <c15:dlblRangeCache>
                  <c:ptCount val="9"/>
                  <c:pt idx="0">
                    <c:v>Mur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
          <c:min val="1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458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EB961BA-2AFE-4247-BFA6-254052998E6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03419C31-FDCF-4CBA-9938-0AFC26EDCB0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79C044D6-773F-4B16-989D-A4DE182D921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9F75F97B-A189-4EB5-9212-E6AF52FDE81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BCB3C4CA-B8F8-4435-9A18-64805D4F526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232A0EC1-8F75-4A43-BA62-90D18581AC4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1799E087-B8CC-44C9-95F6-D702E273297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B3B030A5-C8DB-42E8-92D1-43ADEDC2659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7.4514</c:v>
                </c:pt>
              </c:numCache>
            </c:numRef>
          </c:xVal>
          <c:yVal>
            <c:numRef>
              <c:f>Sheet1!$B$2:$B$2</c:f>
              <c:numCache>
                <c:formatCode>General</c:formatCode>
                <c:ptCount val="1"/>
                <c:pt idx="0">
                  <c:v>1</c:v>
                </c:pt>
              </c:numCache>
            </c:numRef>
          </c:yVal>
          <c:bubbleSize>
            <c:numRef>
              <c:f>Sheet1!$C$2:$C$2</c:f>
              <c:numCache>
                <c:formatCode>General</c:formatCode>
                <c:ptCount val="1"/>
                <c:pt idx="0">
                  <c:v>16893</c:v>
                </c:pt>
              </c:numCache>
            </c:numRef>
          </c:bubbleSize>
          <c:bubble3D val="0"/>
          <c:extLst>
            <c:ext xmlns:c15="http://schemas.microsoft.com/office/drawing/2012/chart" uri="{02D57815-91ED-43cb-92C2-25804820EDAC}">
              <c15:datalabelsRange>
                <c15:f>Sheet1!$E$2:$E$10</c15:f>
                <c15:dlblRangeCache>
                  <c:ptCount val="9"/>
                  <c:pt idx="0">
                    <c:v>Mur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
          <c:min val="1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34D71D3A-1B29-405E-B3C6-0BF8FAA5FC1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E8E06DD0-A818-4D8E-9DD6-8966A8E9376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D871-46D6-BBFE-7C00E0D51738}"/>
                </c:ext>
              </c:extLst>
            </c:dLbl>
            <c:dLbl>
              <c:idx val="3"/>
              <c:tx>
                <c:rich>
                  <a:bodyPr/>
                  <a:lstStyle/>
                  <a:p>
                    <a:fld id="{FA0D608E-52CA-4C7D-BE61-05D3E553111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D871-46D6-BBFE-7C00E0D51738}"/>
                </c:ext>
              </c:extLst>
            </c:dLbl>
            <c:dLbl>
              <c:idx val="4"/>
              <c:tx>
                <c:rich>
                  <a:bodyPr/>
                  <a:lstStyle/>
                  <a:p>
                    <a:fld id="{730ACBFC-CC6B-4B6B-9318-24709CC08E3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D871-46D6-BBFE-7C00E0D51738}"/>
                </c:ext>
              </c:extLst>
            </c:dLbl>
            <c:dLbl>
              <c:idx val="5"/>
              <c:tx>
                <c:rich>
                  <a:bodyPr/>
                  <a:lstStyle/>
                  <a:p>
                    <a:fld id="{915A0EA0-34F9-4FB8-A355-257DDDD8F63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71-46D6-BBFE-7C00E0D51738}"/>
                </c:ext>
              </c:extLst>
            </c:dLbl>
            <c:dLbl>
              <c:idx val="6"/>
              <c:tx>
                <c:rich>
                  <a:bodyPr/>
                  <a:lstStyle/>
                  <a:p>
                    <a:fld id="{BC97B49F-DA1B-4BF1-9A60-4D84972E009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71-46D6-BBFE-7C00E0D51738}"/>
                </c:ext>
              </c:extLst>
            </c:dLbl>
            <c:dLbl>
              <c:idx val="7"/>
              <c:tx>
                <c:rich>
                  <a:bodyPr/>
                  <a:lstStyle/>
                  <a:p>
                    <a:fld id="{B9CB6188-93B2-4051-9363-F73976BACB6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71-46D6-BBFE-7C00E0D51738}"/>
                </c:ext>
              </c:extLst>
            </c:dLbl>
            <c:dLbl>
              <c:idx val="8"/>
              <c:tx>
                <c:rich>
                  <a:bodyPr/>
                  <a:lstStyle/>
                  <a:p>
                    <a:fld id="{61CFBFE0-42C7-43C7-A7BA-5B8691E4B48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29.1648</c:v>
                </c:pt>
                <c:pt idx="1">
                  <c:v>11.4002</c:v>
                </c:pt>
              </c:numCache>
            </c:numRef>
          </c:xVal>
          <c:yVal>
            <c:numRef>
              <c:f>Sheet1!$B$2:$B$3</c:f>
              <c:numCache>
                <c:formatCode>General</c:formatCode>
                <c:ptCount val="2"/>
                <c:pt idx="0">
                  <c:v>1.6870000000000001</c:v>
                </c:pt>
                <c:pt idx="1">
                  <c:v>0.65200000000000002</c:v>
                </c:pt>
              </c:numCache>
            </c:numRef>
          </c:yVal>
          <c:bubbleSize>
            <c:numRef>
              <c:f>Sheet1!$C$2:$C$3</c:f>
              <c:numCache>
                <c:formatCode>General</c:formatCode>
                <c:ptCount val="2"/>
                <c:pt idx="0">
                  <c:v>18403</c:v>
                </c:pt>
                <c:pt idx="1">
                  <c:v>11081</c:v>
                </c:pt>
              </c:numCache>
            </c:numRef>
          </c:bubbleSize>
          <c:bubble3D val="0"/>
          <c:extLst>
            <c:ext xmlns:c15="http://schemas.microsoft.com/office/drawing/2012/chart" uri="{02D57815-91ED-43cb-92C2-25804820EDAC}">
              <c15:datalabelsRange>
                <c15:f>Sheet1!$E$2:$E$10</c15:f>
                <c15:dlblRangeCache>
                  <c:ptCount val="9"/>
                  <c:pt idx="0">
                    <c:v>De Chanceny</c:v>
                  </c:pt>
                  <c:pt idx="1">
                    <c:v>Lyre's</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5"/>
          <c:min val="9"/>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01D1645-BC86-4FE1-97A8-F8C45F0E838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AC7E8321-4942-4073-99E6-3089D2DB364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569A3AD9-C184-48E0-ACA1-8B542E6519B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B3D83291-0228-46FC-B106-AC1CB1B08FF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8D9FB12A-D4BA-4A0C-906D-A71B67E7516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28F215BD-6B9A-4697-A68D-99D33BA4F60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D395CA02-2A8B-470D-A4EB-606171FECD9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44AD1A42-15AA-42A9-88FA-7F2DF66A7AB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7.843299999999999</c:v>
                </c:pt>
              </c:numCache>
            </c:numRef>
          </c:xVal>
          <c:yVal>
            <c:numRef>
              <c:f>Sheet1!$B$2:$B$2</c:f>
              <c:numCache>
                <c:formatCode>General</c:formatCode>
                <c:ptCount val="1"/>
                <c:pt idx="0">
                  <c:v>1.3560000000000001</c:v>
                </c:pt>
              </c:numCache>
            </c:numRef>
          </c:yVal>
          <c:bubbleSize>
            <c:numRef>
              <c:f>Sheet1!$C$2:$C$2</c:f>
              <c:numCache>
                <c:formatCode>General</c:formatCode>
                <c:ptCount val="1"/>
                <c:pt idx="0">
                  <c:v>21519</c:v>
                </c:pt>
              </c:numCache>
            </c:numRef>
          </c:bubbleSize>
          <c:bubble3D val="0"/>
          <c:extLst>
            <c:ext xmlns:c15="http://schemas.microsoft.com/office/drawing/2012/chart" uri="{02D57815-91ED-43cb-92C2-25804820EDAC}">
              <c15:datalabelsRange>
                <c15:f>Sheet1!$E$2:$E$10</c15:f>
                <c15:dlblRangeCache>
                  <c:ptCount val="9"/>
                  <c:pt idx="0">
                    <c:v>Mur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
          <c:min val="1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56"/>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B8EC1B1-B95D-4015-B505-4FED00DFDD0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BB19422F-0C95-4E54-9EE1-74AD9AE2BD1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349CF01B-186B-4DFE-9604-1D6B837AD0D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EB8D34C1-C5C7-455E-B259-5CA8CCA73A8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33BB3281-3264-4B15-99D8-FE2964C683D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79E57C48-CCA4-49AB-9777-AED697DC01F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68723BED-9287-4740-8211-4D20BA2F42E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F6AC1D0E-C806-49EE-87C6-E010D77B864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7.389700000000001</c:v>
                </c:pt>
              </c:numCache>
            </c:numRef>
          </c:xVal>
          <c:yVal>
            <c:numRef>
              <c:f>Sheet1!$B$2:$B$2</c:f>
              <c:numCache>
                <c:formatCode>General</c:formatCode>
                <c:ptCount val="1"/>
                <c:pt idx="0">
                  <c:v>1</c:v>
                </c:pt>
              </c:numCache>
            </c:numRef>
          </c:yVal>
          <c:bubbleSize>
            <c:numRef>
              <c:f>Sheet1!$C$2:$C$2</c:f>
              <c:numCache>
                <c:formatCode>General</c:formatCode>
                <c:ptCount val="1"/>
                <c:pt idx="0">
                  <c:v>237909</c:v>
                </c:pt>
              </c:numCache>
            </c:numRef>
          </c:bubbleSize>
          <c:bubble3D val="0"/>
          <c:extLst>
            <c:ext xmlns:c15="http://schemas.microsoft.com/office/drawing/2012/chart" uri="{02D57815-91ED-43cb-92C2-25804820EDAC}">
              <c15:datalabelsRange>
                <c15:f>Sheet1!$E$2:$E$10</c15:f>
                <c15:dlblRangeCache>
                  <c:ptCount val="9"/>
                  <c:pt idx="0">
                    <c:v>Mur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
          <c:min val="1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63E0F22-53E5-45C6-98F2-B2CBEBC7165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5966939F-80F0-4F3D-8F55-5F0E2279A04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EA575619-2233-47C6-B3CC-5D01F0D69C1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65E336B3-EABC-4E5C-BBC0-82EE85092E2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FAF71A48-2ACA-4A48-8974-DE060C9C228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BD14046C-9A06-4E2A-A3C8-CC2B145DB2C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987E10BF-E777-4FEB-814A-B7CACB32744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7D1A1C62-6F6B-4307-A920-60A5B9982A7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7.518999999999998</c:v>
                </c:pt>
              </c:numCache>
            </c:numRef>
          </c:xVal>
          <c:yVal>
            <c:numRef>
              <c:f>Sheet1!$B$2:$B$2</c:f>
              <c:numCache>
                <c:formatCode>General</c:formatCode>
                <c:ptCount val="1"/>
                <c:pt idx="0">
                  <c:v>1</c:v>
                </c:pt>
              </c:numCache>
            </c:numRef>
          </c:yVal>
          <c:bubbleSize>
            <c:numRef>
              <c:f>Sheet1!$C$2:$C$2</c:f>
              <c:numCache>
                <c:formatCode>General</c:formatCode>
                <c:ptCount val="1"/>
                <c:pt idx="0">
                  <c:v>22179</c:v>
                </c:pt>
              </c:numCache>
            </c:numRef>
          </c:bubbleSize>
          <c:bubble3D val="0"/>
          <c:extLst>
            <c:ext xmlns:c15="http://schemas.microsoft.com/office/drawing/2012/chart" uri="{02D57815-91ED-43cb-92C2-25804820EDAC}">
              <c15:datalabelsRange>
                <c15:f>Sheet1!$E$2:$E$10</c15:f>
                <c15:dlblRangeCache>
                  <c:ptCount val="9"/>
                  <c:pt idx="0">
                    <c:v>Mur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
          <c:min val="1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5F9E944-7999-421B-8F6E-AC59551BA58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2548EC8D-5172-48E6-AB53-FF463BECCD5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40AEBB4E-CD2E-4839-A1E0-38B04485960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AA50EA78-5293-43B6-955F-008F899FE11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EF6C5B7B-AB5C-4DA6-A8DE-C5C6E963DF6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53CF16B7-7E9B-4AC9-8A0E-E12958D7CF3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8D321C04-6EA2-472C-A8A9-D497D85B76E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2C89A1AF-71AC-4EEF-B797-996D2576E4E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7.562100000000001</c:v>
                </c:pt>
              </c:numCache>
            </c:numRef>
          </c:xVal>
          <c:yVal>
            <c:numRef>
              <c:f>Sheet1!$B$2:$B$2</c:f>
              <c:numCache>
                <c:formatCode>General</c:formatCode>
                <c:ptCount val="1"/>
                <c:pt idx="0">
                  <c:v>1</c:v>
                </c:pt>
              </c:numCache>
            </c:numRef>
          </c:yVal>
          <c:bubbleSize>
            <c:numRef>
              <c:f>Sheet1!$C$2:$C$2</c:f>
              <c:numCache>
                <c:formatCode>General</c:formatCode>
                <c:ptCount val="1"/>
                <c:pt idx="0">
                  <c:v>13997</c:v>
                </c:pt>
              </c:numCache>
            </c:numRef>
          </c:bubbleSize>
          <c:bubble3D val="0"/>
          <c:extLst>
            <c:ext xmlns:c15="http://schemas.microsoft.com/office/drawing/2012/chart" uri="{02D57815-91ED-43cb-92C2-25804820EDAC}">
              <c15:datalabelsRange>
                <c15:f>Sheet1!$E$2:$E$10</c15:f>
                <c15:dlblRangeCache>
                  <c:ptCount val="9"/>
                  <c:pt idx="0">
                    <c:v>Mur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
          <c:min val="1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D853601-597B-4BDE-A29A-7B9F924A4D4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92564FC8-532B-4A60-B6BF-D9DBAA9ED91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55E6655F-584A-45E1-B5A5-632CB877656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149E3555-9245-4AAC-AE01-914DBCF76AC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253599E2-832E-4412-8C69-A5877E2B09B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0AF140F5-ACC8-4DC8-81E8-3DDE2A4E460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B04198B4-FA32-4B51-A2AC-2A43BE22D53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45461B4F-8F2C-46CA-9924-C784DD48C77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7.4818</c:v>
                </c:pt>
              </c:numCache>
            </c:numRef>
          </c:xVal>
          <c:yVal>
            <c:numRef>
              <c:f>Sheet1!$B$2:$B$2</c:f>
              <c:numCache>
                <c:formatCode>General</c:formatCode>
                <c:ptCount val="1"/>
                <c:pt idx="0">
                  <c:v>1</c:v>
                </c:pt>
              </c:numCache>
            </c:numRef>
          </c:yVal>
          <c:bubbleSize>
            <c:numRef>
              <c:f>Sheet1!$C$2:$C$2</c:f>
              <c:numCache>
                <c:formatCode>General</c:formatCode>
                <c:ptCount val="1"/>
                <c:pt idx="0">
                  <c:v>9615</c:v>
                </c:pt>
              </c:numCache>
            </c:numRef>
          </c:bubbleSize>
          <c:bubble3D val="0"/>
          <c:extLst>
            <c:ext xmlns:c15="http://schemas.microsoft.com/office/drawing/2012/chart" uri="{02D57815-91ED-43cb-92C2-25804820EDAC}">
              <c15:datalabelsRange>
                <c15:f>Sheet1!$E$2:$E$10</c15:f>
                <c15:dlblRangeCache>
                  <c:ptCount val="9"/>
                  <c:pt idx="0">
                    <c:v>Mur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
          <c:min val="1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3F5DB81-CDA6-4280-95D5-0D746FBF949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9C2D6B82-B93E-4FCC-B4E1-75876FF255A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970B6EEA-0508-48A9-BA14-5514FCB8B0D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A18E4AFD-3E5B-484B-8E29-41C1C255183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FC6B85CF-9C98-4B36-BFEC-777719AA3B1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8F54690E-5CF0-4677-8628-F143B727D96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1A38B99E-5F0E-49C8-B201-56ED1AC7476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D25FCA1A-FC7C-414B-9A24-0188079E612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7.333100000000002</c:v>
                </c:pt>
              </c:numCache>
            </c:numRef>
          </c:xVal>
          <c:yVal>
            <c:numRef>
              <c:f>Sheet1!$B$2:$B$2</c:f>
              <c:numCache>
                <c:formatCode>General</c:formatCode>
                <c:ptCount val="1"/>
                <c:pt idx="0">
                  <c:v>1.5169999999999999</c:v>
                </c:pt>
              </c:numCache>
            </c:numRef>
          </c:yVal>
          <c:bubbleSize>
            <c:numRef>
              <c:f>Sheet1!$C$2:$C$2</c:f>
              <c:numCache>
                <c:formatCode>General</c:formatCode>
                <c:ptCount val="1"/>
                <c:pt idx="0">
                  <c:v>68483</c:v>
                </c:pt>
              </c:numCache>
            </c:numRef>
          </c:bubbleSize>
          <c:bubble3D val="0"/>
          <c:extLst>
            <c:ext xmlns:c15="http://schemas.microsoft.com/office/drawing/2012/chart" uri="{02D57815-91ED-43cb-92C2-25804820EDAC}">
              <c15:datalabelsRange>
                <c15:f>Sheet1!$E$2:$E$10</c15:f>
                <c15:dlblRangeCache>
                  <c:ptCount val="9"/>
                  <c:pt idx="0">
                    <c:v>Mur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
          <c:min val="1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716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A08333F-0049-4FB1-9EB1-7CE6AA88E7E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1E8A1CCF-8BBF-4982-8E98-D5C58D56C1F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0359D1E9-6873-4EE4-A685-C55184AC05E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A4C38930-32CB-4D0E-9FD8-E3530409CDC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E45785E7-7466-4947-A334-321980EE206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461C0CF8-DA01-413A-892A-50BF235FECA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B15E786E-007B-4D93-854C-5445CEB8AAF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3B407A67-594F-4F19-B681-320AA6B50EB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7.377600000000001</c:v>
                </c:pt>
              </c:numCache>
            </c:numRef>
          </c:xVal>
          <c:yVal>
            <c:numRef>
              <c:f>Sheet1!$B$2:$B$2</c:f>
              <c:numCache>
                <c:formatCode>General</c:formatCode>
                <c:ptCount val="1"/>
                <c:pt idx="0">
                  <c:v>1</c:v>
                </c:pt>
              </c:numCache>
            </c:numRef>
          </c:yVal>
          <c:bubbleSize>
            <c:numRef>
              <c:f>Sheet1!$C$2:$C$2</c:f>
              <c:numCache>
                <c:formatCode>General</c:formatCode>
                <c:ptCount val="1"/>
                <c:pt idx="0">
                  <c:v>78512</c:v>
                </c:pt>
              </c:numCache>
            </c:numRef>
          </c:bubbleSize>
          <c:bubble3D val="0"/>
          <c:extLst>
            <c:ext xmlns:c15="http://schemas.microsoft.com/office/drawing/2012/chart" uri="{02D57815-91ED-43cb-92C2-25804820EDAC}">
              <c15:datalabelsRange>
                <c15:f>Sheet1!$E$2:$E$10</c15:f>
                <c15:dlblRangeCache>
                  <c:ptCount val="9"/>
                  <c:pt idx="0">
                    <c:v>Mur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
          <c:min val="1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FA96D30-87D2-4A61-B42D-DA23584D59C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790DD367-0E38-41B8-BF84-6875256EE18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84FB5478-4567-4F5D-A065-159A0D09ABA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7156409A-2F6D-4C2B-84AF-F403BE00D5F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3F2A1579-A65A-4AA6-896A-FBAF0B061AA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B0C83CD7-C14A-4AAF-A23E-03F58BF0D53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80E1A6EB-BDC9-451A-BEEB-2777537AA88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B66F458E-CA29-46F2-A1FC-1DD93F8171C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7.365600000000001</c:v>
                </c:pt>
              </c:numCache>
            </c:numRef>
          </c:xVal>
          <c:yVal>
            <c:numRef>
              <c:f>Sheet1!$B$2:$B$2</c:f>
              <c:numCache>
                <c:formatCode>General</c:formatCode>
                <c:ptCount val="1"/>
                <c:pt idx="0">
                  <c:v>1.224</c:v>
                </c:pt>
              </c:numCache>
            </c:numRef>
          </c:yVal>
          <c:bubbleSize>
            <c:numRef>
              <c:f>Sheet1!$C$2:$C$2</c:f>
              <c:numCache>
                <c:formatCode>General</c:formatCode>
                <c:ptCount val="1"/>
                <c:pt idx="0">
                  <c:v>70435</c:v>
                </c:pt>
              </c:numCache>
            </c:numRef>
          </c:bubbleSize>
          <c:bubble3D val="0"/>
          <c:extLst>
            <c:ext xmlns:c15="http://schemas.microsoft.com/office/drawing/2012/chart" uri="{02D57815-91ED-43cb-92C2-25804820EDAC}">
              <c15:datalabelsRange>
                <c15:f>Sheet1!$E$2:$E$10</c15:f>
                <c15:dlblRangeCache>
                  <c:ptCount val="9"/>
                  <c:pt idx="0">
                    <c:v>Mur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
          <c:min val="1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423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02523AC-F2B0-4D93-9B39-005CE1A6ED2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57F78021-762C-4F69-B773-0D7DB1DB36D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1FB1B40D-97E3-4626-80FA-2B5C55E1CAC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9BD63941-32F2-4BDD-8F5E-6F2632B8816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2EE24DD1-E519-432E-921A-8872817D144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A538AF53-2A7B-4540-849C-52ECD61E0F6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9ADBC04F-D477-4398-BC04-EC0C2F69C94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34A2C5B3-2BEE-47DD-A6E4-3873A436960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7.397300000000001</c:v>
                </c:pt>
              </c:numCache>
            </c:numRef>
          </c:xVal>
          <c:yVal>
            <c:numRef>
              <c:f>Sheet1!$B$2:$B$2</c:f>
              <c:numCache>
                <c:formatCode>General</c:formatCode>
                <c:ptCount val="1"/>
                <c:pt idx="0">
                  <c:v>1.0489999999999999</c:v>
                </c:pt>
              </c:numCache>
            </c:numRef>
          </c:yVal>
          <c:bubbleSize>
            <c:numRef>
              <c:f>Sheet1!$C$2:$C$2</c:f>
              <c:numCache>
                <c:formatCode>General</c:formatCode>
                <c:ptCount val="1"/>
                <c:pt idx="0">
                  <c:v>76009</c:v>
                </c:pt>
              </c:numCache>
            </c:numRef>
          </c:bubbleSize>
          <c:bubble3D val="0"/>
          <c:extLst>
            <c:ext xmlns:c15="http://schemas.microsoft.com/office/drawing/2012/chart" uri="{02D57815-91ED-43cb-92C2-25804820EDAC}">
              <c15:datalabelsRange>
                <c15:f>Sheet1!$E$2:$E$10</c15:f>
                <c15:dlblRangeCache>
                  <c:ptCount val="9"/>
                  <c:pt idx="0">
                    <c:v>Mur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
          <c:min val="1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48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45E8FD2-D744-42FD-B68E-2C3FFE6400E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3AE5A4A3-3B52-4E11-84F6-58EE68F1ADE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D69AD9F4-2E3E-4691-9A6D-B7543BFF005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F12E75E6-1667-4EF6-BDC5-36950E70FD5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C5AF60EB-5B31-4FBC-A72B-2C9089F8EE0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A715852E-EF4F-4C03-89E1-FCDF5750B59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A5BA1294-AE80-4654-993A-309E44DA8DA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41310352-9294-4093-915D-53899DB1AE0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7.6111</c:v>
                </c:pt>
              </c:numCache>
            </c:numRef>
          </c:xVal>
          <c:yVal>
            <c:numRef>
              <c:f>Sheet1!$B$2:$B$2</c:f>
              <c:numCache>
                <c:formatCode>General</c:formatCode>
                <c:ptCount val="1"/>
                <c:pt idx="0">
                  <c:v>1.2490000000000001</c:v>
                </c:pt>
              </c:numCache>
            </c:numRef>
          </c:yVal>
          <c:bubbleSize>
            <c:numRef>
              <c:f>Sheet1!$C$2:$C$2</c:f>
              <c:numCache>
                <c:formatCode>General</c:formatCode>
                <c:ptCount val="1"/>
                <c:pt idx="0">
                  <c:v>82244</c:v>
                </c:pt>
              </c:numCache>
            </c:numRef>
          </c:bubbleSize>
          <c:bubble3D val="0"/>
          <c:extLst>
            <c:ext xmlns:c15="http://schemas.microsoft.com/office/drawing/2012/chart" uri="{02D57815-91ED-43cb-92C2-25804820EDAC}">
              <c15:datalabelsRange>
                <c15:f>Sheet1!$E$2:$E$10</c15:f>
                <c15:dlblRangeCache>
                  <c:ptCount val="9"/>
                  <c:pt idx="0">
                    <c:v>Mur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
          <c:min val="1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4490000000000001"/>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EF9AA31-D4DE-4FE6-AB0A-5551BB647F6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6DBACA1-E389-44C3-AF1F-3201CA26AB6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84D3FD3-7618-4E22-835F-080098A48F4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DB8A55A-A172-4058-B722-AD57ED363B5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214C302-73A7-4E45-9F72-FCCFA0A43B5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DA1704E-CCE0-430D-A81B-32C78E96488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C4817E23-5EEB-459E-B072-CAF4BB9592A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5DF9B272-4BFA-49AB-9D7D-0CB9CCE88F8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69.496399999999994</c:v>
                </c:pt>
                <c:pt idx="1">
                  <c:v>23.107299999999999</c:v>
                </c:pt>
                <c:pt idx="2">
                  <c:v>50.8294</c:v>
                </c:pt>
                <c:pt idx="3">
                  <c:v>31.597000000000001</c:v>
                </c:pt>
                <c:pt idx="4">
                  <c:v>29.059000000000001</c:v>
                </c:pt>
                <c:pt idx="5">
                  <c:v>39.901000000000003</c:v>
                </c:pt>
                <c:pt idx="6">
                  <c:v>30.6097</c:v>
                </c:pt>
                <c:pt idx="7">
                  <c:v>58.011600000000001</c:v>
                </c:pt>
              </c:numCache>
            </c:numRef>
          </c:xVal>
          <c:yVal>
            <c:numRef>
              <c:f>Sheet1!$B$2:$B$9</c:f>
              <c:numCache>
                <c:formatCode>General</c:formatCode>
                <c:ptCount val="8"/>
                <c:pt idx="0">
                  <c:v>1.673</c:v>
                </c:pt>
                <c:pt idx="1">
                  <c:v>0.56699999999999995</c:v>
                </c:pt>
                <c:pt idx="2">
                  <c:v>1.204</c:v>
                </c:pt>
                <c:pt idx="3">
                  <c:v>0.77300000000000002</c:v>
                </c:pt>
                <c:pt idx="4">
                  <c:v>0.71799999999999997</c:v>
                </c:pt>
                <c:pt idx="5">
                  <c:v>0.97699999999999998</c:v>
                </c:pt>
                <c:pt idx="6">
                  <c:v>0.75</c:v>
                </c:pt>
                <c:pt idx="7">
                  <c:v>1.208</c:v>
                </c:pt>
              </c:numCache>
            </c:numRef>
          </c:yVal>
          <c:bubbleSize>
            <c:numRef>
              <c:f>Sheet1!$C$2:$C$9</c:f>
              <c:numCache>
                <c:formatCode>General</c:formatCode>
                <c:ptCount val="8"/>
                <c:pt idx="0">
                  <c:v>395087</c:v>
                </c:pt>
                <c:pt idx="1">
                  <c:v>216631</c:v>
                </c:pt>
                <c:pt idx="2">
                  <c:v>169872</c:v>
                </c:pt>
                <c:pt idx="3">
                  <c:v>95486</c:v>
                </c:pt>
                <c:pt idx="4">
                  <c:v>91042</c:v>
                </c:pt>
                <c:pt idx="5">
                  <c:v>73338</c:v>
                </c:pt>
                <c:pt idx="6">
                  <c:v>71290</c:v>
                </c:pt>
                <c:pt idx="7">
                  <c:v>69904</c:v>
                </c:pt>
              </c:numCache>
            </c:numRef>
          </c:bubbleSize>
          <c:bubble3D val="0"/>
          <c:extLst>
            <c:ext xmlns:c15="http://schemas.microsoft.com/office/drawing/2012/chart" uri="{02D57815-91ED-43cb-92C2-25804820EDAC}">
              <c15:datalabelsRange>
                <c15:f>Sheet1!$E$2:$E$10</c15:f>
                <c15:dlblRangeCache>
                  <c:ptCount val="9"/>
                  <c:pt idx="0">
                    <c:v>Ruinart</c:v>
                  </c:pt>
                  <c:pt idx="1">
                    <c:v>Nicolas</c:v>
                  </c:pt>
                  <c:pt idx="2">
                    <c:v>Deutz</c:v>
                  </c:pt>
                  <c:pt idx="3">
                    <c:v>Malard</c:v>
                  </c:pt>
                  <c:pt idx="4">
                    <c:v>Heidsieck &amp; Co Monopole</c:v>
                  </c:pt>
                  <c:pt idx="5">
                    <c:v>Ayala</c:v>
                  </c:pt>
                  <c:pt idx="6">
                    <c:v>De Bligny</c:v>
                  </c:pt>
                  <c:pt idx="7">
                    <c:v>Laurent Perrier</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3"/>
          <c:min val="18"/>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0B5B020-1DEE-4EE5-AB8A-AE340785C02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8C9D6132-74EC-439E-BC7B-17A224EFC74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C753F2FA-E1F5-4C31-8AB0-9DB0919994E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AA1EF2AA-D8ED-40E4-BE97-D93612B6FD1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76995E2A-7B05-4FFE-AE98-94700CD2C6C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6AB89F4B-A9E3-430E-A8DB-17799CF84C7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272AA5BF-F5B4-430A-9A13-69B7F85BC98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ACBB26ED-2239-41AC-859D-2EFE0F01E2D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7.286000000000001</c:v>
                </c:pt>
              </c:numCache>
            </c:numRef>
          </c:xVal>
          <c:yVal>
            <c:numRef>
              <c:f>Sheet1!$B$2:$B$2</c:f>
              <c:numCache>
                <c:formatCode>General</c:formatCode>
                <c:ptCount val="1"/>
                <c:pt idx="0">
                  <c:v>1.224</c:v>
                </c:pt>
              </c:numCache>
            </c:numRef>
          </c:yVal>
          <c:bubbleSize>
            <c:numRef>
              <c:f>Sheet1!$C$2:$C$2</c:f>
              <c:numCache>
                <c:formatCode>General</c:formatCode>
                <c:ptCount val="1"/>
                <c:pt idx="0">
                  <c:v>81175</c:v>
                </c:pt>
              </c:numCache>
            </c:numRef>
          </c:bubbleSize>
          <c:bubble3D val="0"/>
          <c:extLst>
            <c:ext xmlns:c15="http://schemas.microsoft.com/office/drawing/2012/chart" uri="{02D57815-91ED-43cb-92C2-25804820EDAC}">
              <c15:datalabelsRange>
                <c15:f>Sheet1!$E$2:$E$10</c15:f>
                <c15:dlblRangeCache>
                  <c:ptCount val="9"/>
                  <c:pt idx="0">
                    <c:v>Mur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
          <c:min val="1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423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7A360BC-1856-4136-845A-288D5B4F54B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68F714B-7448-4F64-8614-0B97D56906F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A6AB0EC-DC12-4059-98A0-A04671A5D52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060609A-319A-42C1-8BC9-D7CA4A3B182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8C5C0E6-836D-40EB-AB2D-3E0409EDE6E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44A9581-352E-46FF-B2B5-A49CC0333FD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ACF3DF4-6F79-4B41-9819-1B96333043E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18A89814-BBA5-4E55-8A93-42C60A4B031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5.3131000000000004</c:v>
                </c:pt>
                <c:pt idx="1">
                  <c:v>7.2641</c:v>
                </c:pt>
                <c:pt idx="2">
                  <c:v>6.9162999999999997</c:v>
                </c:pt>
                <c:pt idx="3">
                  <c:v>6.5225999999999997</c:v>
                </c:pt>
                <c:pt idx="4">
                  <c:v>7.99</c:v>
                </c:pt>
                <c:pt idx="5">
                  <c:v>7.0077999999999996</c:v>
                </c:pt>
                <c:pt idx="6">
                  <c:v>5.8705999999999996</c:v>
                </c:pt>
              </c:numCache>
            </c:numRef>
          </c:xVal>
          <c:yVal>
            <c:numRef>
              <c:f>Sheet1!$B$2:$B$8</c:f>
              <c:numCache>
                <c:formatCode>General</c:formatCode>
                <c:ptCount val="7"/>
                <c:pt idx="0">
                  <c:v>0.92200000000000004</c:v>
                </c:pt>
                <c:pt idx="1">
                  <c:v>1.083</c:v>
                </c:pt>
                <c:pt idx="2">
                  <c:v>1.22</c:v>
                </c:pt>
                <c:pt idx="3">
                  <c:v>0.96299999999999997</c:v>
                </c:pt>
                <c:pt idx="4">
                  <c:v>1.373</c:v>
                </c:pt>
                <c:pt idx="5">
                  <c:v>1.2350000000000001</c:v>
                </c:pt>
                <c:pt idx="6">
                  <c:v>0.29699999999999999</c:v>
                </c:pt>
              </c:numCache>
            </c:numRef>
          </c:yVal>
          <c:bubbleSize>
            <c:numRef>
              <c:f>Sheet1!$C$2:$C$8</c:f>
              <c:numCache>
                <c:formatCode>General</c:formatCode>
                <c:ptCount val="7"/>
                <c:pt idx="0">
                  <c:v>3233122</c:v>
                </c:pt>
                <c:pt idx="1">
                  <c:v>2298436</c:v>
                </c:pt>
                <c:pt idx="2">
                  <c:v>2130700</c:v>
                </c:pt>
                <c:pt idx="3">
                  <c:v>1540334</c:v>
                </c:pt>
                <c:pt idx="4">
                  <c:v>1026974</c:v>
                </c:pt>
                <c:pt idx="5">
                  <c:v>477794</c:v>
                </c:pt>
                <c:pt idx="6">
                  <c:v>162181</c:v>
                </c:pt>
              </c:numCache>
            </c:numRef>
          </c:bubbleSize>
          <c:bubble3D val="0"/>
          <c:extLst>
            <c:ext xmlns:c15="http://schemas.microsoft.com/office/drawing/2012/chart" uri="{02D57815-91ED-43cb-92C2-25804820EDAC}">
              <c15:datalabelsRange>
                <c15:f>Sheet1!$E$2:$E$10</c15:f>
                <c15:dlblRangeCache>
                  <c:ptCount val="9"/>
                  <c:pt idx="0">
                    <c:v>Mdd</c:v>
                  </c:pt>
                  <c:pt idx="1">
                    <c:v>Ballarin Jean Louis</c:v>
                  </c:pt>
                  <c:pt idx="2">
                    <c:v>Malesan</c:v>
                  </c:pt>
                  <c:pt idx="3">
                    <c:v>Jaillance</c:v>
                  </c:pt>
                  <c:pt idx="4">
                    <c:v>Sieur Gaillard</c:v>
                  </c:pt>
                  <c:pt idx="5">
                    <c:v>Les Cordeliers</c:v>
                  </c:pt>
                  <c:pt idx="6">
                    <c:v>Calvet</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0"/>
          <c:min val="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73"/>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ECF9673-2729-4C82-8537-1CE4B382A0D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F8AB820-8866-475A-A4EB-57D8AF2AC4E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7B99D5BC-56F6-49CA-93E6-E23AE08CD62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1A898270-5554-4022-86EF-73FAB95A06A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ABB8BD31-38D6-49B8-8176-D2869E7A45F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BC4B270D-7622-4AB9-8330-0FF72098EC2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B1DE1AA2-434B-4F55-8DD0-361401780F8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BAEBDA18-AF2E-4576-8E43-D9C59E0E4F4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10.8071</c:v>
                </c:pt>
                <c:pt idx="1">
                  <c:v>9.6836000000000002</c:v>
                </c:pt>
              </c:numCache>
            </c:numRef>
          </c:xVal>
          <c:yVal>
            <c:numRef>
              <c:f>Sheet1!$B$2:$B$3</c:f>
              <c:numCache>
                <c:formatCode>General</c:formatCode>
                <c:ptCount val="2"/>
                <c:pt idx="0">
                  <c:v>1.014</c:v>
                </c:pt>
                <c:pt idx="1">
                  <c:v>0.84799999999999998</c:v>
                </c:pt>
              </c:numCache>
            </c:numRef>
          </c:yVal>
          <c:bubbleSize>
            <c:numRef>
              <c:f>Sheet1!$C$2:$C$3</c:f>
              <c:numCache>
                <c:formatCode>General</c:formatCode>
                <c:ptCount val="2"/>
                <c:pt idx="0">
                  <c:v>59904</c:v>
                </c:pt>
                <c:pt idx="1">
                  <c:v>9364</c:v>
                </c:pt>
              </c:numCache>
            </c:numRef>
          </c:bubbleSize>
          <c:bubble3D val="0"/>
          <c:extLst>
            <c:ext xmlns:c15="http://schemas.microsoft.com/office/drawing/2012/chart" uri="{02D57815-91ED-43cb-92C2-25804820EDAC}">
              <c15:datalabelsRange>
                <c15:f>Sheet1!$E$2:$E$10</c15:f>
                <c15:dlblRangeCache>
                  <c:ptCount val="9"/>
                  <c:pt idx="0">
                    <c:v>Cru La Maqueline</c:v>
                  </c:pt>
                  <c:pt idx="1">
                    <c:v>Celen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3"/>
          <c:min val="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14"/>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1B4D6E7-A771-4B3C-BF86-3A82B7B4471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F0FA4B0-F8C2-4F5B-B9F2-589AD92D703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AA04506-642C-47BC-81A1-FCA29BCE3A5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D9AA2DF-B3E4-4C13-80B0-B116CEFF512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296731E-59B3-48AB-97F9-4A66FA2C6F0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1C44368-A94E-4AD4-969E-AD2E02B1741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CE3457E1-3652-4A7B-B8AB-B303011D9E1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5A20D1B2-22C8-406D-A3FA-C4C76FA9EAD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5.3131000000000004</c:v>
                </c:pt>
                <c:pt idx="1">
                  <c:v>7.2641</c:v>
                </c:pt>
                <c:pt idx="2">
                  <c:v>6.9162999999999997</c:v>
                </c:pt>
                <c:pt idx="3">
                  <c:v>6.5225999999999997</c:v>
                </c:pt>
                <c:pt idx="4">
                  <c:v>7.99</c:v>
                </c:pt>
                <c:pt idx="5">
                  <c:v>7.0077999999999996</c:v>
                </c:pt>
                <c:pt idx="6">
                  <c:v>5.8705999999999996</c:v>
                </c:pt>
              </c:numCache>
            </c:numRef>
          </c:xVal>
          <c:yVal>
            <c:numRef>
              <c:f>Sheet1!$B$2:$B$8</c:f>
              <c:numCache>
                <c:formatCode>General</c:formatCode>
                <c:ptCount val="7"/>
                <c:pt idx="0">
                  <c:v>0.92500000000000004</c:v>
                </c:pt>
                <c:pt idx="1">
                  <c:v>1.0860000000000001</c:v>
                </c:pt>
                <c:pt idx="2">
                  <c:v>1.224</c:v>
                </c:pt>
                <c:pt idx="3">
                  <c:v>0.96599999999999997</c:v>
                </c:pt>
                <c:pt idx="4">
                  <c:v>1.377</c:v>
                </c:pt>
                <c:pt idx="5">
                  <c:v>1.2390000000000001</c:v>
                </c:pt>
                <c:pt idx="6">
                  <c:v>0.29799999999999999</c:v>
                </c:pt>
              </c:numCache>
            </c:numRef>
          </c:yVal>
          <c:bubbleSize>
            <c:numRef>
              <c:f>Sheet1!$C$2:$C$8</c:f>
              <c:numCache>
                <c:formatCode>General</c:formatCode>
                <c:ptCount val="7"/>
                <c:pt idx="0">
                  <c:v>3233122</c:v>
                </c:pt>
                <c:pt idx="1">
                  <c:v>2298436</c:v>
                </c:pt>
                <c:pt idx="2">
                  <c:v>2130700</c:v>
                </c:pt>
                <c:pt idx="3">
                  <c:v>1540327</c:v>
                </c:pt>
                <c:pt idx="4">
                  <c:v>1026974</c:v>
                </c:pt>
                <c:pt idx="5">
                  <c:v>477794</c:v>
                </c:pt>
                <c:pt idx="6">
                  <c:v>162181</c:v>
                </c:pt>
              </c:numCache>
            </c:numRef>
          </c:bubbleSize>
          <c:bubble3D val="0"/>
          <c:extLst>
            <c:ext xmlns:c15="http://schemas.microsoft.com/office/drawing/2012/chart" uri="{02D57815-91ED-43cb-92C2-25804820EDAC}">
              <c15:datalabelsRange>
                <c15:f>Sheet1!$E$2:$E$10</c15:f>
                <c15:dlblRangeCache>
                  <c:ptCount val="9"/>
                  <c:pt idx="0">
                    <c:v>Mdd</c:v>
                  </c:pt>
                  <c:pt idx="1">
                    <c:v>Ballarin Jean Louis</c:v>
                  </c:pt>
                  <c:pt idx="2">
                    <c:v>Malesan</c:v>
                  </c:pt>
                  <c:pt idx="3">
                    <c:v>Jaillance</c:v>
                  </c:pt>
                  <c:pt idx="4">
                    <c:v>Sieur Gaillard</c:v>
                  </c:pt>
                  <c:pt idx="5">
                    <c:v>Les Cordeliers</c:v>
                  </c:pt>
                  <c:pt idx="6">
                    <c:v>Calvet</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0"/>
          <c:min val="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77"/>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516A5A5-35C3-46ED-90AB-EDB320656A9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286A2BE-817E-40FC-87C6-2BB6C0D06F1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0321136C-3785-4C9D-AAE2-940B60A7609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10D22E4B-87E4-4FA7-94A5-B70AA6FC443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428426BB-1708-48A5-BB69-103DD366982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0ABA26A3-1AB5-449D-827F-15CF00A0868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2AA587F6-04F8-452D-8DB4-3E914C29D72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E3B3383C-2A3E-42BD-A9F2-99E44E3B76E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10.7256</c:v>
                </c:pt>
                <c:pt idx="1">
                  <c:v>9.5991</c:v>
                </c:pt>
              </c:numCache>
            </c:numRef>
          </c:xVal>
          <c:yVal>
            <c:numRef>
              <c:f>Sheet1!$B$2:$B$3</c:f>
              <c:numCache>
                <c:formatCode>General</c:formatCode>
                <c:ptCount val="2"/>
                <c:pt idx="0">
                  <c:v>1.014</c:v>
                </c:pt>
                <c:pt idx="1">
                  <c:v>0.89500000000000002</c:v>
                </c:pt>
              </c:numCache>
            </c:numRef>
          </c:yVal>
          <c:bubbleSize>
            <c:numRef>
              <c:f>Sheet1!$C$2:$C$3</c:f>
              <c:numCache>
                <c:formatCode>General</c:formatCode>
                <c:ptCount val="2"/>
                <c:pt idx="0">
                  <c:v>30525</c:v>
                </c:pt>
                <c:pt idx="1">
                  <c:v>4118</c:v>
                </c:pt>
              </c:numCache>
            </c:numRef>
          </c:bubbleSize>
          <c:bubble3D val="0"/>
          <c:extLst>
            <c:ext xmlns:c15="http://schemas.microsoft.com/office/drawing/2012/chart" uri="{02D57815-91ED-43cb-92C2-25804820EDAC}">
              <c15:datalabelsRange>
                <c15:f>Sheet1!$E$2:$E$10</c15:f>
                <c15:dlblRangeCache>
                  <c:ptCount val="9"/>
                  <c:pt idx="0">
                    <c:v>Cru La Maqueline</c:v>
                  </c:pt>
                  <c:pt idx="1">
                    <c:v>Celen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3"/>
          <c:min val="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14"/>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8A1CB0D-99AB-4C62-A3C8-3DC73F38BD9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1023BC2-3974-40E3-BA7D-9B0E436E4C4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D78D3693-1B3C-4027-9B81-2C870C0679D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4EB0577E-E6A5-4910-8ED2-A0D9EA1C038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43CB5187-DAD3-47EB-A4DD-206130BE8C1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26105DA8-A0DB-4FE7-92C6-4D655B651BA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4843BD14-C290-4E1F-9620-4138B7D045E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A29C1A5F-CC93-4CBD-BEB6-27482F350E8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10.711</c:v>
                </c:pt>
                <c:pt idx="1">
                  <c:v>9.48</c:v>
                </c:pt>
              </c:numCache>
            </c:numRef>
          </c:xVal>
          <c:yVal>
            <c:numRef>
              <c:f>Sheet1!$B$2:$B$3</c:f>
              <c:numCache>
                <c:formatCode>General</c:formatCode>
                <c:ptCount val="2"/>
                <c:pt idx="0">
                  <c:v>1.0289999999999999</c:v>
                </c:pt>
                <c:pt idx="1">
                  <c:v>0.84799999999999998</c:v>
                </c:pt>
              </c:numCache>
            </c:numRef>
          </c:yVal>
          <c:bubbleSize>
            <c:numRef>
              <c:f>Sheet1!$C$2:$C$3</c:f>
              <c:numCache>
                <c:formatCode>General</c:formatCode>
                <c:ptCount val="2"/>
                <c:pt idx="0">
                  <c:v>13303</c:v>
                </c:pt>
                <c:pt idx="1">
                  <c:v>2607</c:v>
                </c:pt>
              </c:numCache>
            </c:numRef>
          </c:bubbleSize>
          <c:bubble3D val="0"/>
          <c:extLst>
            <c:ext xmlns:c15="http://schemas.microsoft.com/office/drawing/2012/chart" uri="{02D57815-91ED-43cb-92C2-25804820EDAC}">
              <c15:datalabelsRange>
                <c15:f>Sheet1!$E$2:$E$10</c15:f>
                <c15:dlblRangeCache>
                  <c:ptCount val="9"/>
                  <c:pt idx="0">
                    <c:v>Cru La Maqueline</c:v>
                  </c:pt>
                  <c:pt idx="1">
                    <c:v>Celen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3"/>
          <c:min val="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28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F97FA53-4ECE-4F9C-BCC2-336F055E996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0B0C664-5B4B-453E-9509-FA08E67C8F2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5AD474B4-2402-41AE-9490-62C89CB011B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09E426E2-8A6C-4324-88B3-673078CB57C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539B39A7-494B-45D2-8FC1-D8E7F7882A6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99BAC82B-3363-4292-9829-AA077F21B11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006195A9-50AF-4336-ACCE-E13FCCB6DFE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00204D51-B5E8-4018-9EA5-C571727577B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10.9194</c:v>
                </c:pt>
                <c:pt idx="1">
                  <c:v>9.7117000000000004</c:v>
                </c:pt>
              </c:numCache>
            </c:numRef>
          </c:xVal>
          <c:yVal>
            <c:numRef>
              <c:f>Sheet1!$B$2:$B$3</c:f>
              <c:numCache>
                <c:formatCode>General</c:formatCode>
                <c:ptCount val="2"/>
                <c:pt idx="0">
                  <c:v>1.034</c:v>
                </c:pt>
                <c:pt idx="1">
                  <c:v>0.82399999999999995</c:v>
                </c:pt>
              </c:numCache>
            </c:numRef>
          </c:yVal>
          <c:bubbleSize>
            <c:numRef>
              <c:f>Sheet1!$C$2:$C$3</c:f>
              <c:numCache>
                <c:formatCode>General</c:formatCode>
                <c:ptCount val="2"/>
                <c:pt idx="0">
                  <c:v>7043</c:v>
                </c:pt>
                <c:pt idx="1">
                  <c:v>1078</c:v>
                </c:pt>
              </c:numCache>
            </c:numRef>
          </c:bubbleSize>
          <c:bubble3D val="0"/>
          <c:extLst>
            <c:ext xmlns:c15="http://schemas.microsoft.com/office/drawing/2012/chart" uri="{02D57815-91ED-43cb-92C2-25804820EDAC}">
              <c15:datalabelsRange>
                <c15:f>Sheet1!$E$2:$E$10</c15:f>
                <c15:dlblRangeCache>
                  <c:ptCount val="9"/>
                  <c:pt idx="0">
                    <c:v>Cru La Maqueline</c:v>
                  </c:pt>
                  <c:pt idx="1">
                    <c:v>Celen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3"/>
          <c:min val="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34"/>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7D1328F-5254-41D6-8D5C-4251DFBB3A1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27A4066-3148-4D90-8FAE-BA5FF826A77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DBFFD60B-F50F-4041-B084-3308CB9D18E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E8D2915D-02D2-444B-858C-4F88EED465F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54DC7A41-110F-4008-89D2-C7AB7988547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3FEC466F-6F11-473E-A5A3-24F2DDD65DC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41D0C267-F8C7-4746-AF52-08323880B2F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989AC9A5-C36E-450E-8756-6D5A733617B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10.9282</c:v>
                </c:pt>
                <c:pt idx="1">
                  <c:v>10.235300000000001</c:v>
                </c:pt>
              </c:numCache>
            </c:numRef>
          </c:xVal>
          <c:yVal>
            <c:numRef>
              <c:f>Sheet1!$B$2:$B$3</c:f>
              <c:numCache>
                <c:formatCode>General</c:formatCode>
                <c:ptCount val="2"/>
                <c:pt idx="0">
                  <c:v>1.0429999999999999</c:v>
                </c:pt>
                <c:pt idx="1">
                  <c:v>0.80900000000000005</c:v>
                </c:pt>
              </c:numCache>
            </c:numRef>
          </c:yVal>
          <c:bubbleSize>
            <c:numRef>
              <c:f>Sheet1!$C$2:$C$3</c:f>
              <c:numCache>
                <c:formatCode>General</c:formatCode>
                <c:ptCount val="2"/>
                <c:pt idx="0">
                  <c:v>1978</c:v>
                </c:pt>
                <c:pt idx="1">
                  <c:v>348</c:v>
                </c:pt>
              </c:numCache>
            </c:numRef>
          </c:bubbleSize>
          <c:bubble3D val="0"/>
          <c:extLst>
            <c:ext xmlns:c15="http://schemas.microsoft.com/office/drawing/2012/chart" uri="{02D57815-91ED-43cb-92C2-25804820EDAC}">
              <c15:datalabelsRange>
                <c15:f>Sheet1!$E$2:$E$10</c15:f>
                <c15:dlblRangeCache>
                  <c:ptCount val="9"/>
                  <c:pt idx="0">
                    <c:v>Cru La Maqueline</c:v>
                  </c:pt>
                  <c:pt idx="1">
                    <c:v>Celen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3"/>
          <c:min val="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42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DD34817-30DC-4B01-A23A-87BCACF7E85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5FB4F8C-CDE0-40F0-9E6B-5C99A5DE09A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F6D72E67-ECF9-426C-8FB8-3F8CD8C5421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C1F05F5F-C671-4AD6-896C-DDA1969417B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BBF0F128-E6B2-465F-AF72-C6F9C3005BF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4CE5110B-0AB9-4ACC-B657-881C7BCDC0B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BF46CD95-5B2F-4F2C-8EDF-C9066D98BC9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F5C4DB45-5A7C-4CB7-B751-09837DFDD44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11.115</c:v>
                </c:pt>
                <c:pt idx="1">
                  <c:v>10.521699999999999</c:v>
                </c:pt>
              </c:numCache>
            </c:numRef>
          </c:xVal>
          <c:yVal>
            <c:numRef>
              <c:f>Sheet1!$B$2:$B$3</c:f>
              <c:numCache>
                <c:formatCode>General</c:formatCode>
                <c:ptCount val="2"/>
                <c:pt idx="0">
                  <c:v>1.0229999999999999</c:v>
                </c:pt>
                <c:pt idx="1">
                  <c:v>0.80800000000000005</c:v>
                </c:pt>
              </c:numCache>
            </c:numRef>
          </c:yVal>
          <c:bubbleSize>
            <c:numRef>
              <c:f>Sheet1!$C$2:$C$3</c:f>
              <c:numCache>
                <c:formatCode>General</c:formatCode>
                <c:ptCount val="2"/>
                <c:pt idx="0">
                  <c:v>2512</c:v>
                </c:pt>
                <c:pt idx="1">
                  <c:v>242</c:v>
                </c:pt>
              </c:numCache>
            </c:numRef>
          </c:bubbleSize>
          <c:bubble3D val="0"/>
          <c:extLst>
            <c:ext xmlns:c15="http://schemas.microsoft.com/office/drawing/2012/chart" uri="{02D57815-91ED-43cb-92C2-25804820EDAC}">
              <c15:datalabelsRange>
                <c15:f>Sheet1!$E$2:$E$10</c15:f>
                <c15:dlblRangeCache>
                  <c:ptCount val="9"/>
                  <c:pt idx="0">
                    <c:v>Cru La Maqueline</c:v>
                  </c:pt>
                  <c:pt idx="1">
                    <c:v>Celen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3"/>
          <c:min val="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22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400063A-51D4-4D2B-8970-3DFF3189461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317086E-19B4-41BD-858C-AA25C7578E5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9B8665FC-5D12-4006-889E-00EB309EFB1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DF1F2EF6-A09B-4C4C-83AD-AFE45AD5932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F1CF8F95-6DA3-4786-9C80-DE11D9B0205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91466491-145F-4CEA-9134-7D3C9987726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F0FFE9CB-3900-4C99-8201-E432AC0B2D4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515E20F4-B3F3-4FDF-A402-B01A16D1B8B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10.7323</c:v>
                </c:pt>
                <c:pt idx="1">
                  <c:v>9.3663000000000007</c:v>
                </c:pt>
              </c:numCache>
            </c:numRef>
          </c:xVal>
          <c:yVal>
            <c:numRef>
              <c:f>Sheet1!$B$2:$B$3</c:f>
              <c:numCache>
                <c:formatCode>General</c:formatCode>
                <c:ptCount val="2"/>
                <c:pt idx="0">
                  <c:v>1.018</c:v>
                </c:pt>
                <c:pt idx="1">
                  <c:v>0.88700000000000001</c:v>
                </c:pt>
              </c:numCache>
            </c:numRef>
          </c:yVal>
          <c:bubbleSize>
            <c:numRef>
              <c:f>Sheet1!$C$2:$C$3</c:f>
              <c:numCache>
                <c:formatCode>General</c:formatCode>
                <c:ptCount val="2"/>
                <c:pt idx="0">
                  <c:v>42865</c:v>
                </c:pt>
                <c:pt idx="1">
                  <c:v>5779</c:v>
                </c:pt>
              </c:numCache>
            </c:numRef>
          </c:bubbleSize>
          <c:bubble3D val="0"/>
          <c:extLst>
            <c:ext xmlns:c15="http://schemas.microsoft.com/office/drawing/2012/chart" uri="{02D57815-91ED-43cb-92C2-25804820EDAC}">
              <c15:datalabelsRange>
                <c15:f>Sheet1!$E$2:$E$10</c15:f>
                <c15:dlblRangeCache>
                  <c:ptCount val="9"/>
                  <c:pt idx="0">
                    <c:v>Cru La Maqueline</c:v>
                  </c:pt>
                  <c:pt idx="1">
                    <c:v>Celen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3"/>
          <c:min val="7"/>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18"/>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6B6527BB-327C-4A22-B61A-B685A270B57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298AD6C9-3AAB-452C-9427-91CBE3AAB61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7304C76C-0B8C-4D4C-BBD1-0C12C11B4E9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202E7529-D40D-46E5-BC61-0CD863595DF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1056F947-4161-4AB5-8047-A77B2803488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8EFC36B2-F3CF-4FCC-878F-403B24CFAAD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27F51C65-D77A-4AE4-BBF8-C07FDC32479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64E06980-1053-4306-AE80-1225E891409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12.6576</c:v>
                </c:pt>
                <c:pt idx="1">
                  <c:v>11.490399999999999</c:v>
                </c:pt>
                <c:pt idx="2">
                  <c:v>11.404400000000001</c:v>
                </c:pt>
                <c:pt idx="3">
                  <c:v>17.4818</c:v>
                </c:pt>
                <c:pt idx="4">
                  <c:v>5.8106999999999998</c:v>
                </c:pt>
                <c:pt idx="5">
                  <c:v>11.525499999999999</c:v>
                </c:pt>
                <c:pt idx="6">
                  <c:v>9.1667000000000005</c:v>
                </c:pt>
                <c:pt idx="7">
                  <c:v>10.4292</c:v>
                </c:pt>
              </c:numCache>
            </c:numRef>
          </c:xVal>
          <c:yVal>
            <c:numRef>
              <c:f>Sheet1!$B$2:$B$9</c:f>
              <c:numCache>
                <c:formatCode>General</c:formatCode>
                <c:ptCount val="8"/>
                <c:pt idx="0">
                  <c:v>1.2689999999999999</c:v>
                </c:pt>
                <c:pt idx="1">
                  <c:v>1.131</c:v>
                </c:pt>
                <c:pt idx="2">
                  <c:v>1.0940000000000001</c:v>
                </c:pt>
                <c:pt idx="3">
                  <c:v>1.7410000000000001</c:v>
                </c:pt>
                <c:pt idx="4">
                  <c:v>0.57599999999999996</c:v>
                </c:pt>
                <c:pt idx="5">
                  <c:v>1.1419999999999999</c:v>
                </c:pt>
                <c:pt idx="6">
                  <c:v>0.90500000000000003</c:v>
                </c:pt>
                <c:pt idx="7">
                  <c:v>0.97699999999999998</c:v>
                </c:pt>
              </c:numCache>
            </c:numRef>
          </c:yVal>
          <c:bubbleSize>
            <c:numRef>
              <c:f>Sheet1!$C$2:$C$9</c:f>
              <c:numCache>
                <c:formatCode>General</c:formatCode>
                <c:ptCount val="8"/>
                <c:pt idx="0">
                  <c:v>14860</c:v>
                </c:pt>
                <c:pt idx="1">
                  <c:v>13214</c:v>
                </c:pt>
                <c:pt idx="2">
                  <c:v>10800</c:v>
                </c:pt>
                <c:pt idx="3">
                  <c:v>9615</c:v>
                </c:pt>
                <c:pt idx="4">
                  <c:v>8164</c:v>
                </c:pt>
                <c:pt idx="5">
                  <c:v>5878</c:v>
                </c:pt>
                <c:pt idx="6">
                  <c:v>5555</c:v>
                </c:pt>
                <c:pt idx="7">
                  <c:v>2284</c:v>
                </c:pt>
              </c:numCache>
            </c:numRef>
          </c:bubbleSize>
          <c:bubble3D val="0"/>
          <c:extLst>
            <c:ext xmlns:c15="http://schemas.microsoft.com/office/drawing/2012/chart" uri="{02D57815-91ED-43cb-92C2-25804820EDAC}">
              <c15:datalabelsRange>
                <c15:f>Sheet1!$E$2:$E$10</c15:f>
                <c15:dlblRangeCache>
                  <c:ptCount val="9"/>
                  <c:pt idx="0">
                    <c:v>Patriarche</c:v>
                  </c:pt>
                  <c:pt idx="1">
                    <c:v>Bottega</c:v>
                  </c:pt>
                  <c:pt idx="2">
                    <c:v>Bouvet-Ladubay</c:v>
                  </c:pt>
                  <c:pt idx="3">
                    <c:v>Mure</c:v>
                  </c:pt>
                  <c:pt idx="4">
                    <c:v>Kriter</c:v>
                  </c:pt>
                  <c:pt idx="5">
                    <c:v>Chateau Moncontour</c:v>
                  </c:pt>
                  <c:pt idx="6">
                    <c:v>Savian</c:v>
                  </c:pt>
                  <c:pt idx="7">
                    <c:v>Contarini</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
          <c:min val="5"/>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299D57E-4FF6-44CE-8247-32E27BC8D44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A554B6B-0778-46A2-A55A-26D06910682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D894665C-BE32-4583-9834-97B9C7D0E75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9BF5765A-942F-46E0-BA39-B244A8C1E12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8FDF62AE-BAE6-489A-B537-60FFE6C4195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D21E844B-0016-44B4-BE52-146C73B761C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7014B89B-DCB2-40D6-9481-70FEC7C7B83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946FBA79-D1C4-495D-B3ED-D954F79FF05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10.8147</c:v>
                </c:pt>
                <c:pt idx="1">
                  <c:v>10.1408</c:v>
                </c:pt>
              </c:numCache>
            </c:numRef>
          </c:xVal>
          <c:yVal>
            <c:numRef>
              <c:f>Sheet1!$B$2:$B$3</c:f>
              <c:numCache>
                <c:formatCode>General</c:formatCode>
                <c:ptCount val="2"/>
                <c:pt idx="0">
                  <c:v>1.028</c:v>
                </c:pt>
                <c:pt idx="1">
                  <c:v>0.84599999999999997</c:v>
                </c:pt>
              </c:numCache>
            </c:numRef>
          </c:yVal>
          <c:bubbleSize>
            <c:numRef>
              <c:f>Sheet1!$C$2:$C$3</c:f>
              <c:numCache>
                <c:formatCode>General</c:formatCode>
                <c:ptCount val="2"/>
                <c:pt idx="0">
                  <c:v>4845</c:v>
                </c:pt>
                <c:pt idx="1">
                  <c:v>720</c:v>
                </c:pt>
              </c:numCache>
            </c:numRef>
          </c:bubbleSize>
          <c:bubble3D val="0"/>
          <c:extLst>
            <c:ext xmlns:c15="http://schemas.microsoft.com/office/drawing/2012/chart" uri="{02D57815-91ED-43cb-92C2-25804820EDAC}">
              <c15:datalabelsRange>
                <c15:f>Sheet1!$E$2:$E$10</c15:f>
                <c15:dlblRangeCache>
                  <c:ptCount val="9"/>
                  <c:pt idx="0">
                    <c:v>Cru La Maqueline</c:v>
                  </c:pt>
                  <c:pt idx="1">
                    <c:v>Celen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3"/>
          <c:min val="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28"/>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E58FF5B-CFB1-44D7-8737-32BD47AAC66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230DB38-1458-4652-AC9B-435B8554FFD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3EDF654E-C071-453F-9362-860890FA139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057DD838-2DCD-42B3-84E4-A15CA257655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0C6B72A1-D55B-4FDD-AD6D-A73B735D58E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47125F9D-57E0-4C8B-83ED-3C30EF1BA9C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2C837A06-B968-4F93-B136-42388A501BF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3FD96B47-0BAA-4C83-8CDF-9EDB6C38AE0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11.1875</c:v>
                </c:pt>
                <c:pt idx="1">
                  <c:v>10.392200000000001</c:v>
                </c:pt>
              </c:numCache>
            </c:numRef>
          </c:xVal>
          <c:yVal>
            <c:numRef>
              <c:f>Sheet1!$B$2:$B$3</c:f>
              <c:numCache>
                <c:formatCode>General</c:formatCode>
                <c:ptCount val="2"/>
                <c:pt idx="0">
                  <c:v>1.046</c:v>
                </c:pt>
                <c:pt idx="1">
                  <c:v>0.83699999999999997</c:v>
                </c:pt>
              </c:numCache>
            </c:numRef>
          </c:yVal>
          <c:bubbleSize>
            <c:numRef>
              <c:f>Sheet1!$C$2:$C$3</c:f>
              <c:numCache>
                <c:formatCode>General</c:formatCode>
                <c:ptCount val="2"/>
                <c:pt idx="0">
                  <c:v>2327</c:v>
                </c:pt>
                <c:pt idx="1">
                  <c:v>530</c:v>
                </c:pt>
              </c:numCache>
            </c:numRef>
          </c:bubbleSize>
          <c:bubble3D val="0"/>
          <c:extLst>
            <c:ext xmlns:c15="http://schemas.microsoft.com/office/drawing/2012/chart" uri="{02D57815-91ED-43cb-92C2-25804820EDAC}">
              <c15:datalabelsRange>
                <c15:f>Sheet1!$E$2:$E$10</c15:f>
                <c15:dlblRangeCache>
                  <c:ptCount val="9"/>
                  <c:pt idx="0">
                    <c:v>Cru La Maqueline</c:v>
                  </c:pt>
                  <c:pt idx="1">
                    <c:v>Celen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3"/>
          <c:min val="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46"/>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F0A9632-7F8E-4232-933A-A898D3838B2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3BA6032-82AB-4EF7-A907-A740EAF26BF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805383E1-C49D-43BA-992D-6D623EDFD21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D4A437F7-D1E1-49E5-A071-B9A00AC4056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883ACFB0-3730-4C7C-868E-7AA535AAB4D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800F830A-80C7-45BD-A286-FE636FDBD18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CF4D23E8-31CA-473A-904C-223E007D524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6A71D64B-5A64-486A-A46A-B28A076053C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10.9453</c:v>
                </c:pt>
                <c:pt idx="1">
                  <c:v>10.7027</c:v>
                </c:pt>
              </c:numCache>
            </c:numRef>
          </c:xVal>
          <c:yVal>
            <c:numRef>
              <c:f>Sheet1!$B$2:$B$3</c:f>
              <c:numCache>
                <c:formatCode>General</c:formatCode>
                <c:ptCount val="2"/>
                <c:pt idx="0">
                  <c:v>0.9</c:v>
                </c:pt>
                <c:pt idx="1">
                  <c:v>0.81599999999999995</c:v>
                </c:pt>
              </c:numCache>
            </c:numRef>
          </c:yVal>
          <c:bubbleSize>
            <c:numRef>
              <c:f>Sheet1!$C$2:$C$3</c:f>
              <c:numCache>
                <c:formatCode>General</c:formatCode>
                <c:ptCount val="2"/>
                <c:pt idx="0">
                  <c:v>2200</c:v>
                </c:pt>
                <c:pt idx="1">
                  <c:v>396</c:v>
                </c:pt>
              </c:numCache>
            </c:numRef>
          </c:bubbleSize>
          <c:bubble3D val="0"/>
          <c:extLst>
            <c:ext xmlns:c15="http://schemas.microsoft.com/office/drawing/2012/chart" uri="{02D57815-91ED-43cb-92C2-25804820EDAC}">
              <c15:datalabelsRange>
                <c15:f>Sheet1!$E$2:$E$10</c15:f>
                <c15:dlblRangeCache>
                  <c:ptCount val="9"/>
                  <c:pt idx="0">
                    <c:v>Cru La Maqueline</c:v>
                  </c:pt>
                  <c:pt idx="1">
                    <c:v>Celen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3"/>
          <c:min val="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1000000000000001"/>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9FCB447-613F-4072-AEE8-DD4DFB9A186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E252B19-C0D7-44E6-941D-4A3A5DA3368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F283F8F4-5BD1-4E53-9E8E-3FA1433CF68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A38A5A8C-1B5F-44AA-B68D-B086782F459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7F9B7D70-7E82-42FD-8888-1FDB2C3DB45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D52269BB-DE32-4B25-8BD0-0AE7541BE0F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244D6995-8AB8-417C-992A-118D1A01CCF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13C9360E-B00C-41B0-9D5B-FA8EE5ED9F2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11.212400000000001</c:v>
                </c:pt>
                <c:pt idx="1">
                  <c:v>9.5396999999999998</c:v>
                </c:pt>
              </c:numCache>
            </c:numRef>
          </c:xVal>
          <c:yVal>
            <c:numRef>
              <c:f>Sheet1!$B$2:$B$3</c:f>
              <c:numCache>
                <c:formatCode>General</c:formatCode>
                <c:ptCount val="2"/>
                <c:pt idx="0">
                  <c:v>1.097</c:v>
                </c:pt>
                <c:pt idx="1">
                  <c:v>0.84199999999999997</c:v>
                </c:pt>
              </c:numCache>
            </c:numRef>
          </c:yVal>
          <c:bubbleSize>
            <c:numRef>
              <c:f>Sheet1!$C$2:$C$3</c:f>
              <c:numCache>
                <c:formatCode>General</c:formatCode>
                <c:ptCount val="2"/>
                <c:pt idx="0">
                  <c:v>1267</c:v>
                </c:pt>
                <c:pt idx="1">
                  <c:v>601</c:v>
                </c:pt>
              </c:numCache>
            </c:numRef>
          </c:bubbleSize>
          <c:bubble3D val="0"/>
          <c:extLst>
            <c:ext xmlns:c15="http://schemas.microsoft.com/office/drawing/2012/chart" uri="{02D57815-91ED-43cb-92C2-25804820EDAC}">
              <c15:datalabelsRange>
                <c15:f>Sheet1!$E$2:$E$10</c15:f>
                <c15:dlblRangeCache>
                  <c:ptCount val="9"/>
                  <c:pt idx="0">
                    <c:v>Cru La Maqueline</c:v>
                  </c:pt>
                  <c:pt idx="1">
                    <c:v>Celen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3"/>
          <c:min val="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96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FFA1C32-D385-4147-A88C-829C76C0CBD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F31CF05-A036-4466-93B0-3156B453A4D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4CF2B721-D203-45C2-8054-018C5E06812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947F5EB6-3EEB-4FCE-A567-0FA1270991C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AF6405E3-5FF8-4F8A-851B-15AF587B137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E4E05039-64CA-400B-B705-44155A317D1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A068196F-60B0-4419-8688-61A84CFE965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136F806F-DB7D-4202-97B2-B5CB281FE21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10.751099999999999</c:v>
                </c:pt>
                <c:pt idx="1">
                  <c:v>9.6081000000000003</c:v>
                </c:pt>
              </c:numCache>
            </c:numRef>
          </c:xVal>
          <c:yVal>
            <c:numRef>
              <c:f>Sheet1!$B$2:$B$3</c:f>
              <c:numCache>
                <c:formatCode>General</c:formatCode>
                <c:ptCount val="2"/>
                <c:pt idx="0">
                  <c:v>1.014</c:v>
                </c:pt>
                <c:pt idx="1">
                  <c:v>0.78600000000000003</c:v>
                </c:pt>
              </c:numCache>
            </c:numRef>
          </c:yVal>
          <c:bubbleSize>
            <c:numRef>
              <c:f>Sheet1!$C$2:$C$3</c:f>
              <c:numCache>
                <c:formatCode>General</c:formatCode>
                <c:ptCount val="2"/>
                <c:pt idx="0">
                  <c:v>14041</c:v>
                </c:pt>
                <c:pt idx="1">
                  <c:v>711</c:v>
                </c:pt>
              </c:numCache>
            </c:numRef>
          </c:bubbleSize>
          <c:bubble3D val="0"/>
          <c:extLst>
            <c:ext xmlns:c15="http://schemas.microsoft.com/office/drawing/2012/chart" uri="{02D57815-91ED-43cb-92C2-25804820EDAC}">
              <c15:datalabelsRange>
                <c15:f>Sheet1!$E$2:$E$10</c15:f>
                <c15:dlblRangeCache>
                  <c:ptCount val="9"/>
                  <c:pt idx="0">
                    <c:v>Cru La Maqueline</c:v>
                  </c:pt>
                  <c:pt idx="1">
                    <c:v>Celen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3"/>
          <c:min val="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14"/>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A2408AE-EAC5-490F-BEE0-F33B39C690F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B1DA2AE-1047-4CB0-90DA-2E51CEBCAD4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6B16057E-DA6C-4B9E-95DD-786E23CF4DB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AD0B62E8-CBC5-46FB-89F6-3BB11040EF6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B5B4F10C-8034-44FC-87E1-077F4F2BEB0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68706A38-1F5F-40EC-9EB7-86B49097032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33BC2ED6-5C37-4BDB-BF4D-06A8BC9CADD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A36B47C8-8521-46DE-8B78-7CCA9A6A463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10.6694</c:v>
                </c:pt>
                <c:pt idx="1">
                  <c:v>10.2857</c:v>
                </c:pt>
              </c:numCache>
            </c:numRef>
          </c:xVal>
          <c:yVal>
            <c:numRef>
              <c:f>Sheet1!$B$2:$B$3</c:f>
              <c:numCache>
                <c:formatCode>General</c:formatCode>
                <c:ptCount val="2"/>
                <c:pt idx="0">
                  <c:v>1.0129999999999999</c:v>
                </c:pt>
                <c:pt idx="1">
                  <c:v>0.81699999999999995</c:v>
                </c:pt>
              </c:numCache>
            </c:numRef>
          </c:yVal>
          <c:bubbleSize>
            <c:numRef>
              <c:f>Sheet1!$C$2:$C$3</c:f>
              <c:numCache>
                <c:formatCode>General</c:formatCode>
                <c:ptCount val="2"/>
                <c:pt idx="0">
                  <c:v>10392</c:v>
                </c:pt>
                <c:pt idx="1">
                  <c:v>576</c:v>
                </c:pt>
              </c:numCache>
            </c:numRef>
          </c:bubbleSize>
          <c:bubble3D val="0"/>
          <c:extLst>
            <c:ext xmlns:c15="http://schemas.microsoft.com/office/drawing/2012/chart" uri="{02D57815-91ED-43cb-92C2-25804820EDAC}">
              <c15:datalabelsRange>
                <c15:f>Sheet1!$E$2:$E$10</c15:f>
                <c15:dlblRangeCache>
                  <c:ptCount val="9"/>
                  <c:pt idx="0">
                    <c:v>Cru La Maqueline</c:v>
                  </c:pt>
                  <c:pt idx="1">
                    <c:v>Celen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3"/>
          <c:min val="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12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10712E1-A356-4A8D-90D8-D4ECC75CFA7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78A42F8-6227-4990-BD4C-68367068F9C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C80AF869-A86C-4EF9-A2A5-C88693EC8DB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BB6AFB0C-6034-4BAA-B565-41660CDEC87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2432A8B6-A6F3-43FD-B699-4319C45244E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F4DC84DC-DA5B-4BF0-9001-73A6A4E8C23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6851008E-7174-4A16-A122-BEA360B3EAC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E5D9DF88-5E2B-4598-A13F-AE8CF888560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10.7494</c:v>
                </c:pt>
                <c:pt idx="1">
                  <c:v>9.81</c:v>
                </c:pt>
              </c:numCache>
            </c:numRef>
          </c:xVal>
          <c:yVal>
            <c:numRef>
              <c:f>Sheet1!$B$2:$B$3</c:f>
              <c:numCache>
                <c:formatCode>General</c:formatCode>
                <c:ptCount val="2"/>
                <c:pt idx="0">
                  <c:v>0.98399999999999999</c:v>
                </c:pt>
                <c:pt idx="1">
                  <c:v>0.84399999999999997</c:v>
                </c:pt>
              </c:numCache>
            </c:numRef>
          </c:yVal>
          <c:bubbleSize>
            <c:numRef>
              <c:f>Sheet1!$C$2:$C$3</c:f>
              <c:numCache>
                <c:formatCode>General</c:formatCode>
                <c:ptCount val="2"/>
                <c:pt idx="0">
                  <c:v>13985</c:v>
                </c:pt>
                <c:pt idx="1">
                  <c:v>1962</c:v>
                </c:pt>
              </c:numCache>
            </c:numRef>
          </c:bubbleSize>
          <c:bubble3D val="0"/>
          <c:extLst>
            <c:ext xmlns:c15="http://schemas.microsoft.com/office/drawing/2012/chart" uri="{02D57815-91ED-43cb-92C2-25804820EDAC}">
              <c15:datalabelsRange>
                <c15:f>Sheet1!$E$2:$E$10</c15:f>
                <c15:dlblRangeCache>
                  <c:ptCount val="9"/>
                  <c:pt idx="0">
                    <c:v>Cru La Maqueline</c:v>
                  </c:pt>
                  <c:pt idx="1">
                    <c:v>Celen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3"/>
          <c:min val="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183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A0998D3-19FA-4C30-8DB9-6293A203C12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C8E0276-A7C3-4527-BC0E-3A3E48AF282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090EC90B-ED5E-4D95-8E43-8C41692C077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F0C69CF3-B2C0-4B90-9477-AD1EDE473D8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6ABC9419-8187-4452-9D51-A4F5421B18D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9500604C-86B6-466A-A6EC-D2830A421A1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C2C97CF0-C545-4DAC-ACF7-D3956857D05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8247FB91-48F3-45AB-B7C3-37511F2D372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10.7454</c:v>
                </c:pt>
                <c:pt idx="1">
                  <c:v>9.6069999999999993</c:v>
                </c:pt>
              </c:numCache>
            </c:numRef>
          </c:xVal>
          <c:yVal>
            <c:numRef>
              <c:f>Sheet1!$B$2:$B$3</c:f>
              <c:numCache>
                <c:formatCode>General</c:formatCode>
                <c:ptCount val="2"/>
                <c:pt idx="0">
                  <c:v>1.036</c:v>
                </c:pt>
                <c:pt idx="1">
                  <c:v>0.84399999999999997</c:v>
                </c:pt>
              </c:numCache>
            </c:numRef>
          </c:yVal>
          <c:bubbleSize>
            <c:numRef>
              <c:f>Sheet1!$C$2:$C$3</c:f>
              <c:numCache>
                <c:formatCode>General</c:formatCode>
                <c:ptCount val="2"/>
                <c:pt idx="0">
                  <c:v>10509</c:v>
                </c:pt>
                <c:pt idx="1">
                  <c:v>1931</c:v>
                </c:pt>
              </c:numCache>
            </c:numRef>
          </c:bubbleSize>
          <c:bubble3D val="0"/>
          <c:extLst>
            <c:ext xmlns:c15="http://schemas.microsoft.com/office/drawing/2012/chart" uri="{02D57815-91ED-43cb-92C2-25804820EDAC}">
              <c15:datalabelsRange>
                <c15:f>Sheet1!$E$2:$E$10</c15:f>
                <c15:dlblRangeCache>
                  <c:ptCount val="9"/>
                  <c:pt idx="0">
                    <c:v>Cru La Maqueline</c:v>
                  </c:pt>
                  <c:pt idx="1">
                    <c:v>Celen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3"/>
          <c:min val="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36"/>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97EBECC-87D6-4470-92A6-DA464F81827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0E16817-B0AC-4D2A-BF10-88277BFECE1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CD6AEA23-CAA4-44D5-8ADE-90A117DB379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7DD42D52-A554-4C5D-818E-EFDDC50F24E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9F80ED0C-A52E-48FF-8C7C-E489833B63E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47741DEA-3033-4901-B012-3E86F6569CA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59BA40DA-22EE-4A1A-B95E-B8488BBBBD2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DF56B9EE-28D3-4D3B-8B7C-748995251C0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10.889099999999999</c:v>
                </c:pt>
                <c:pt idx="1">
                  <c:v>9.4672999999999998</c:v>
                </c:pt>
              </c:numCache>
            </c:numRef>
          </c:xVal>
          <c:yVal>
            <c:numRef>
              <c:f>Sheet1!$B$2:$B$3</c:f>
              <c:numCache>
                <c:formatCode>General</c:formatCode>
                <c:ptCount val="2"/>
                <c:pt idx="0">
                  <c:v>1.0269999999999999</c:v>
                </c:pt>
                <c:pt idx="1">
                  <c:v>0.90300000000000002</c:v>
                </c:pt>
              </c:numCache>
            </c:numRef>
          </c:yVal>
          <c:bubbleSize>
            <c:numRef>
              <c:f>Sheet1!$C$2:$C$3</c:f>
              <c:numCache>
                <c:formatCode>General</c:formatCode>
                <c:ptCount val="2"/>
                <c:pt idx="0">
                  <c:v>10998</c:v>
                </c:pt>
                <c:pt idx="1">
                  <c:v>4194</c:v>
                </c:pt>
              </c:numCache>
            </c:numRef>
          </c:bubbleSize>
          <c:bubble3D val="0"/>
          <c:extLst>
            <c:ext xmlns:c15="http://schemas.microsoft.com/office/drawing/2012/chart" uri="{02D57815-91ED-43cb-92C2-25804820EDAC}">
              <c15:datalabelsRange>
                <c15:f>Sheet1!$E$2:$E$10</c15:f>
                <c15:dlblRangeCache>
                  <c:ptCount val="9"/>
                  <c:pt idx="0">
                    <c:v>Cru La Maqueline</c:v>
                  </c:pt>
                  <c:pt idx="1">
                    <c:v>Celen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3"/>
          <c:min val="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26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6FD950E-85B0-48FF-824D-D46166B75EC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D0D99CB-5985-4385-AB66-E3313BD0446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EE44906-A1F0-4CD5-99D9-8C3AC95E47C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A158B51-944E-470A-99CC-A525FB38FC0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0BD470D-42D3-4F3F-B2AE-83998EB6302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0237FC2-AE37-4390-9019-40F9E06D12B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8EE6645-006E-4B0A-A476-186D19573B3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2D8A1BB8-D1FE-450E-9D91-10592C008F3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6.6292</c:v>
                </c:pt>
                <c:pt idx="1">
                  <c:v>4.4177999999999997</c:v>
                </c:pt>
                <c:pt idx="2">
                  <c:v>24.2057</c:v>
                </c:pt>
                <c:pt idx="3">
                  <c:v>49.430599999999998</c:v>
                </c:pt>
                <c:pt idx="4">
                  <c:v>31.427199999999999</c:v>
                </c:pt>
                <c:pt idx="5">
                  <c:v>26.736799999999999</c:v>
                </c:pt>
                <c:pt idx="6">
                  <c:v>5.8342000000000001</c:v>
                </c:pt>
                <c:pt idx="7">
                  <c:v>7.1054000000000004</c:v>
                </c:pt>
              </c:numCache>
            </c:numRef>
          </c:xVal>
          <c:yVal>
            <c:numRef>
              <c:f>Sheet1!$B$2:$B$9</c:f>
              <c:numCache>
                <c:formatCode>General</c:formatCode>
                <c:ptCount val="8"/>
                <c:pt idx="0">
                  <c:v>0.497</c:v>
                </c:pt>
                <c:pt idx="1">
                  <c:v>0.67100000000000004</c:v>
                </c:pt>
                <c:pt idx="2">
                  <c:v>1.903</c:v>
                </c:pt>
                <c:pt idx="3">
                  <c:v>7.4939999999999998</c:v>
                </c:pt>
                <c:pt idx="4">
                  <c:v>4.7279999999999998</c:v>
                </c:pt>
                <c:pt idx="5">
                  <c:v>4.0090000000000003</c:v>
                </c:pt>
                <c:pt idx="6">
                  <c:v>0.77700000000000002</c:v>
                </c:pt>
                <c:pt idx="7">
                  <c:v>0.78900000000000003</c:v>
                </c:pt>
              </c:numCache>
            </c:numRef>
          </c:yVal>
          <c:bubbleSize>
            <c:numRef>
              <c:f>Sheet1!$C$2:$C$9</c:f>
              <c:numCache>
                <c:formatCode>General</c:formatCode>
                <c:ptCount val="8"/>
                <c:pt idx="0">
                  <c:v>147470793</c:v>
                </c:pt>
                <c:pt idx="1">
                  <c:v>135378958</c:v>
                </c:pt>
                <c:pt idx="2">
                  <c:v>77348654</c:v>
                </c:pt>
                <c:pt idx="3">
                  <c:v>69626376</c:v>
                </c:pt>
                <c:pt idx="4">
                  <c:v>41308441</c:v>
                </c:pt>
                <c:pt idx="5">
                  <c:v>38917245</c:v>
                </c:pt>
                <c:pt idx="6">
                  <c:v>35427059</c:v>
                </c:pt>
                <c:pt idx="7">
                  <c:v>32603771</c:v>
                </c:pt>
              </c:numCache>
            </c:numRef>
          </c:bubbleSize>
          <c:bubble3D val="0"/>
          <c:extLst>
            <c:ext xmlns:c15="http://schemas.microsoft.com/office/drawing/2012/chart" uri="{02D57815-91ED-43cb-92C2-25804820EDAC}">
              <c15:datalabelsRange>
                <c15:f>Sheet1!$E$2:$E$10</c15:f>
                <c15:dlblRangeCache>
                  <c:ptCount val="9"/>
                  <c:pt idx="0">
                    <c:v>Cfgv</c:v>
                  </c:pt>
                  <c:pt idx="1">
                    <c:v>Mdd</c:v>
                  </c:pt>
                  <c:pt idx="2">
                    <c:v>Vranken Pommery</c:v>
                  </c:pt>
                  <c:pt idx="3">
                    <c:v>Mhcs</c:v>
                  </c:pt>
                  <c:pt idx="4">
                    <c:v>Pernod Ricard</c:v>
                  </c:pt>
                  <c:pt idx="5">
                    <c:v>C&amp;C Sas France</c:v>
                  </c:pt>
                  <c:pt idx="6">
                    <c:v>Freixenet</c:v>
                  </c:pt>
                  <c:pt idx="7">
                    <c:v>Wolfberger</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9"/>
          <c:min val="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7.694"/>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1DF79465-8D3F-4E14-9A6C-03E4C396F85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8A13919B-86B6-40A3-9883-23A57811BD9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D871-46D6-BBFE-7C00E0D51738}"/>
                </c:ext>
              </c:extLst>
            </c:dLbl>
            <c:dLbl>
              <c:idx val="3"/>
              <c:tx>
                <c:rich>
                  <a:bodyPr/>
                  <a:lstStyle/>
                  <a:p>
                    <a:fld id="{20AC52CF-B374-45EA-985B-BEB6A5DF76E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D871-46D6-BBFE-7C00E0D51738}"/>
                </c:ext>
              </c:extLst>
            </c:dLbl>
            <c:dLbl>
              <c:idx val="4"/>
              <c:tx>
                <c:rich>
                  <a:bodyPr/>
                  <a:lstStyle/>
                  <a:p>
                    <a:fld id="{552F772A-8AD0-4AD7-AC5E-C93EF106E03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D871-46D6-BBFE-7C00E0D51738}"/>
                </c:ext>
              </c:extLst>
            </c:dLbl>
            <c:dLbl>
              <c:idx val="5"/>
              <c:tx>
                <c:rich>
                  <a:bodyPr/>
                  <a:lstStyle/>
                  <a:p>
                    <a:fld id="{6F7C3900-DB1E-44DA-A29B-1B5CAB2F5CA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71-46D6-BBFE-7C00E0D51738}"/>
                </c:ext>
              </c:extLst>
            </c:dLbl>
            <c:dLbl>
              <c:idx val="6"/>
              <c:tx>
                <c:rich>
                  <a:bodyPr/>
                  <a:lstStyle/>
                  <a:p>
                    <a:fld id="{F51CC472-452B-47F4-9A54-C63F83CF633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71-46D6-BBFE-7C00E0D51738}"/>
                </c:ext>
              </c:extLst>
            </c:dLbl>
            <c:dLbl>
              <c:idx val="7"/>
              <c:tx>
                <c:rich>
                  <a:bodyPr/>
                  <a:lstStyle/>
                  <a:p>
                    <a:fld id="{6EF9B5C8-0C77-4179-A17D-B4B2993E777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71-46D6-BBFE-7C00E0D51738}"/>
                </c:ext>
              </c:extLst>
            </c:dLbl>
            <c:dLbl>
              <c:idx val="8"/>
              <c:tx>
                <c:rich>
                  <a:bodyPr/>
                  <a:lstStyle/>
                  <a:p>
                    <a:fld id="{95B0E8DC-84E4-4B08-BB59-286DAE6BA80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29.628900000000002</c:v>
                </c:pt>
                <c:pt idx="1">
                  <c:v>11.506600000000001</c:v>
                </c:pt>
              </c:numCache>
            </c:numRef>
          </c:xVal>
          <c:yVal>
            <c:numRef>
              <c:f>Sheet1!$B$2:$B$3</c:f>
              <c:numCache>
                <c:formatCode>General</c:formatCode>
                <c:ptCount val="2"/>
                <c:pt idx="0">
                  <c:v>1.8049999999999999</c:v>
                </c:pt>
                <c:pt idx="1">
                  <c:v>0.71299999999999997</c:v>
                </c:pt>
              </c:numCache>
            </c:numRef>
          </c:yVal>
          <c:bubbleSize>
            <c:numRef>
              <c:f>Sheet1!$C$2:$C$3</c:f>
              <c:numCache>
                <c:formatCode>General</c:formatCode>
                <c:ptCount val="2"/>
                <c:pt idx="0">
                  <c:v>9422</c:v>
                </c:pt>
                <c:pt idx="1">
                  <c:v>7859</c:v>
                </c:pt>
              </c:numCache>
            </c:numRef>
          </c:bubbleSize>
          <c:bubble3D val="0"/>
          <c:extLst>
            <c:ext xmlns:c15="http://schemas.microsoft.com/office/drawing/2012/chart" uri="{02D57815-91ED-43cb-92C2-25804820EDAC}">
              <c15:datalabelsRange>
                <c15:f>Sheet1!$E$2:$E$10</c15:f>
                <c15:dlblRangeCache>
                  <c:ptCount val="9"/>
                  <c:pt idx="0">
                    <c:v>De Chanceny</c:v>
                  </c:pt>
                  <c:pt idx="1">
                    <c:v>Lyre's</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6"/>
          <c:min val="9"/>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DD98DD4-2226-46C1-89E0-0D5FCE6FF9F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65E8DED-BA21-4A02-B681-81E279CF50C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2C42178-2C91-4820-B61E-720C43996EE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866A45C-588C-4E4E-9CD4-59A6A22F6BE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5DE0B018-E9C2-468D-9BAB-8BF61593947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2984693-085E-4685-891D-6EC6904A859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EB25081-D0A5-4E93-A2D2-8113A090C5A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3985EB5B-719C-4C6F-A4DE-268CE90B213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69.892600000000002</c:v>
                </c:pt>
                <c:pt idx="1">
                  <c:v>55.808999999999997</c:v>
                </c:pt>
                <c:pt idx="2">
                  <c:v>23.577300000000001</c:v>
                </c:pt>
                <c:pt idx="3">
                  <c:v>32.814900000000002</c:v>
                </c:pt>
                <c:pt idx="4">
                  <c:v>47.6738</c:v>
                </c:pt>
                <c:pt idx="5">
                  <c:v>53.084499999999998</c:v>
                </c:pt>
                <c:pt idx="6">
                  <c:v>31.571200000000001</c:v>
                </c:pt>
                <c:pt idx="7">
                  <c:v>40.583799999999997</c:v>
                </c:pt>
              </c:numCache>
            </c:numRef>
          </c:xVal>
          <c:yVal>
            <c:numRef>
              <c:f>Sheet1!$B$2:$B$9</c:f>
              <c:numCache>
                <c:formatCode>General</c:formatCode>
                <c:ptCount val="8"/>
                <c:pt idx="0">
                  <c:v>1.9419999999999999</c:v>
                </c:pt>
                <c:pt idx="1">
                  <c:v>1.5389999999999999</c:v>
                </c:pt>
                <c:pt idx="2">
                  <c:v>0.66400000000000003</c:v>
                </c:pt>
                <c:pt idx="3">
                  <c:v>0.96099999999999997</c:v>
                </c:pt>
                <c:pt idx="4">
                  <c:v>1.31</c:v>
                </c:pt>
                <c:pt idx="5">
                  <c:v>1.333</c:v>
                </c:pt>
                <c:pt idx="6">
                  <c:v>0.88600000000000001</c:v>
                </c:pt>
                <c:pt idx="7">
                  <c:v>1.2030000000000001</c:v>
                </c:pt>
              </c:numCache>
            </c:numRef>
          </c:yVal>
          <c:bubbleSize>
            <c:numRef>
              <c:f>Sheet1!$C$2:$C$9</c:f>
              <c:numCache>
                <c:formatCode>General</c:formatCode>
                <c:ptCount val="8"/>
                <c:pt idx="0">
                  <c:v>19282258</c:v>
                </c:pt>
                <c:pt idx="1">
                  <c:v>7038688</c:v>
                </c:pt>
                <c:pt idx="2">
                  <c:v>5682202</c:v>
                </c:pt>
                <c:pt idx="3">
                  <c:v>4507482</c:v>
                </c:pt>
                <c:pt idx="4">
                  <c:v>3447720</c:v>
                </c:pt>
                <c:pt idx="5">
                  <c:v>3314753</c:v>
                </c:pt>
                <c:pt idx="6">
                  <c:v>3234970</c:v>
                </c:pt>
                <c:pt idx="7">
                  <c:v>2362992</c:v>
                </c:pt>
              </c:numCache>
            </c:numRef>
          </c:bubbleSize>
          <c:bubble3D val="0"/>
          <c:extLst>
            <c:ext xmlns:c15="http://schemas.microsoft.com/office/drawing/2012/chart" uri="{02D57815-91ED-43cb-92C2-25804820EDAC}">
              <c15:datalabelsRange>
                <c15:f>Sheet1!$E$2:$E$10</c15:f>
                <c15:dlblRangeCache>
                  <c:ptCount val="9"/>
                  <c:pt idx="0">
                    <c:v>Mhcs</c:v>
                  </c:pt>
                  <c:pt idx="1">
                    <c:v>Roederer</c:v>
                  </c:pt>
                  <c:pt idx="2">
                    <c:v>Malard Nicolas</c:v>
                  </c:pt>
                  <c:pt idx="3">
                    <c:v>Vranken Pommery</c:v>
                  </c:pt>
                  <c:pt idx="4">
                    <c:v>Bollinger</c:v>
                  </c:pt>
                  <c:pt idx="5">
                    <c:v>Laurent Perrier</c:v>
                  </c:pt>
                  <c:pt idx="6">
                    <c:v>Malard</c:v>
                  </c:pt>
                  <c:pt idx="7">
                    <c:v>Lanson-Bcc</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4"/>
          <c:min val="1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141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E277F42-C2B4-432D-8894-28AD8162D92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E59C3FB-9492-4BCA-969C-A3439098550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E2288A2-930F-4291-8472-F61AEF60CFC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AB8DFCC-5EB5-4B87-89E9-3DC11A845C5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655D07D-3C0E-416B-9F54-51CD4BCF818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749A111-0E40-42D0-97CA-36A80D9E19C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110F1823-C493-4C18-8116-C268AB16424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23940F4-4DB0-460D-9656-C6BE0C077FE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6.5476000000000001</c:v>
                </c:pt>
                <c:pt idx="1">
                  <c:v>4.4177999999999997</c:v>
                </c:pt>
                <c:pt idx="2">
                  <c:v>23.8249</c:v>
                </c:pt>
                <c:pt idx="3">
                  <c:v>44.508600000000001</c:v>
                </c:pt>
                <c:pt idx="4">
                  <c:v>31.101600000000001</c:v>
                </c:pt>
                <c:pt idx="5">
                  <c:v>26.586600000000001</c:v>
                </c:pt>
                <c:pt idx="6">
                  <c:v>5.8342000000000001</c:v>
                </c:pt>
                <c:pt idx="7">
                  <c:v>7.1054000000000004</c:v>
                </c:pt>
              </c:numCache>
            </c:numRef>
          </c:xVal>
          <c:yVal>
            <c:numRef>
              <c:f>Sheet1!$B$2:$B$9</c:f>
              <c:numCache>
                <c:formatCode>General</c:formatCode>
                <c:ptCount val="8"/>
                <c:pt idx="0">
                  <c:v>0.51500000000000001</c:v>
                </c:pt>
                <c:pt idx="1">
                  <c:v>0.70499999999999996</c:v>
                </c:pt>
                <c:pt idx="2">
                  <c:v>1.923</c:v>
                </c:pt>
                <c:pt idx="3">
                  <c:v>7.0439999999999996</c:v>
                </c:pt>
                <c:pt idx="4">
                  <c:v>4.9130000000000003</c:v>
                </c:pt>
                <c:pt idx="5">
                  <c:v>4.1760000000000002</c:v>
                </c:pt>
                <c:pt idx="6">
                  <c:v>0.81599999999999995</c:v>
                </c:pt>
                <c:pt idx="7">
                  <c:v>0.82899999999999996</c:v>
                </c:pt>
              </c:numCache>
            </c:numRef>
          </c:yVal>
          <c:bubbleSize>
            <c:numRef>
              <c:f>Sheet1!$C$2:$C$9</c:f>
              <c:numCache>
                <c:formatCode>General</c:formatCode>
                <c:ptCount val="8"/>
                <c:pt idx="0">
                  <c:v>145204678</c:v>
                </c:pt>
                <c:pt idx="1">
                  <c:v>135378958</c:v>
                </c:pt>
                <c:pt idx="2">
                  <c:v>72856877</c:v>
                </c:pt>
                <c:pt idx="3">
                  <c:v>50422962</c:v>
                </c:pt>
                <c:pt idx="4">
                  <c:v>40350066</c:v>
                </c:pt>
                <c:pt idx="5">
                  <c:v>37152564</c:v>
                </c:pt>
                <c:pt idx="6">
                  <c:v>35427059</c:v>
                </c:pt>
                <c:pt idx="7">
                  <c:v>32603771</c:v>
                </c:pt>
              </c:numCache>
            </c:numRef>
          </c:bubbleSize>
          <c:bubble3D val="0"/>
          <c:extLst>
            <c:ext xmlns:c15="http://schemas.microsoft.com/office/drawing/2012/chart" uri="{02D57815-91ED-43cb-92C2-25804820EDAC}">
              <c15:datalabelsRange>
                <c15:f>Sheet1!$E$2:$E$10</c15:f>
                <c15:dlblRangeCache>
                  <c:ptCount val="9"/>
                  <c:pt idx="0">
                    <c:v>Cfgv</c:v>
                  </c:pt>
                  <c:pt idx="1">
                    <c:v>Mdd</c:v>
                  </c:pt>
                  <c:pt idx="2">
                    <c:v>Vranken Pommery</c:v>
                  </c:pt>
                  <c:pt idx="3">
                    <c:v>Mhcs</c:v>
                  </c:pt>
                  <c:pt idx="4">
                    <c:v>Pernod Ricard</c:v>
                  </c:pt>
                  <c:pt idx="5">
                    <c:v>C&amp;C Sas France</c:v>
                  </c:pt>
                  <c:pt idx="6">
                    <c:v>Freixenet</c:v>
                  </c:pt>
                  <c:pt idx="7">
                    <c:v>Wolfberger</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3"/>
          <c:min val="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7.2439999999999998"/>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E5042BB-68A0-47F2-9924-1459AA1562B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716CC84-8301-46C3-8C89-E275D5F33D2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FE1CCA1-0F65-4488-81C0-DB292B26088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87EB918-8CFF-42EB-96C6-C93A6D913C2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05B6C06-901A-45E4-91E1-7DC17316E3B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D015F55-CAD8-468A-B84D-70CD392934E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27C68918-2273-49C9-8540-2D7B35E748C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214B6EF4-6085-4835-BB92-96807B8CC03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67.314300000000003</c:v>
                </c:pt>
                <c:pt idx="1">
                  <c:v>53.895200000000003</c:v>
                </c:pt>
                <c:pt idx="2">
                  <c:v>23.5701</c:v>
                </c:pt>
                <c:pt idx="3">
                  <c:v>32.425899999999999</c:v>
                </c:pt>
                <c:pt idx="4">
                  <c:v>46.163699999999999</c:v>
                </c:pt>
                <c:pt idx="5">
                  <c:v>31.455500000000001</c:v>
                </c:pt>
                <c:pt idx="6">
                  <c:v>51.310200000000002</c:v>
                </c:pt>
                <c:pt idx="7">
                  <c:v>39.283900000000003</c:v>
                </c:pt>
              </c:numCache>
            </c:numRef>
          </c:xVal>
          <c:yVal>
            <c:numRef>
              <c:f>Sheet1!$B$2:$B$9</c:f>
              <c:numCache>
                <c:formatCode>General</c:formatCode>
                <c:ptCount val="8"/>
                <c:pt idx="0">
                  <c:v>1.958</c:v>
                </c:pt>
                <c:pt idx="1">
                  <c:v>1.5760000000000001</c:v>
                </c:pt>
                <c:pt idx="2">
                  <c:v>0.69399999999999995</c:v>
                </c:pt>
                <c:pt idx="3">
                  <c:v>0.98699999999999999</c:v>
                </c:pt>
                <c:pt idx="4">
                  <c:v>1.33</c:v>
                </c:pt>
                <c:pt idx="5">
                  <c:v>0.92</c:v>
                </c:pt>
                <c:pt idx="6">
                  <c:v>1.3540000000000001</c:v>
                </c:pt>
                <c:pt idx="7">
                  <c:v>1.2190000000000001</c:v>
                </c:pt>
              </c:numCache>
            </c:numRef>
          </c:yVal>
          <c:bubbleSize>
            <c:numRef>
              <c:f>Sheet1!$C$2:$C$9</c:f>
              <c:numCache>
                <c:formatCode>General</c:formatCode>
                <c:ptCount val="8"/>
                <c:pt idx="0">
                  <c:v>7393532</c:v>
                </c:pt>
                <c:pt idx="1">
                  <c:v>3103288</c:v>
                </c:pt>
                <c:pt idx="2">
                  <c:v>2507011</c:v>
                </c:pt>
                <c:pt idx="3">
                  <c:v>2078207</c:v>
                </c:pt>
                <c:pt idx="4">
                  <c:v>1572704</c:v>
                </c:pt>
                <c:pt idx="5">
                  <c:v>1556133</c:v>
                </c:pt>
                <c:pt idx="6">
                  <c:v>1443254</c:v>
                </c:pt>
                <c:pt idx="7">
                  <c:v>1102974</c:v>
                </c:pt>
              </c:numCache>
            </c:numRef>
          </c:bubbleSize>
          <c:bubble3D val="0"/>
          <c:extLst>
            <c:ext xmlns:c15="http://schemas.microsoft.com/office/drawing/2012/chart" uri="{02D57815-91ED-43cb-92C2-25804820EDAC}">
              <c15:datalabelsRange>
                <c15:f>Sheet1!$E$2:$E$10</c15:f>
                <c15:dlblRangeCache>
                  <c:ptCount val="9"/>
                  <c:pt idx="0">
                    <c:v>Mhcs</c:v>
                  </c:pt>
                  <c:pt idx="1">
                    <c:v>Roederer</c:v>
                  </c:pt>
                  <c:pt idx="2">
                    <c:v>Malard Nicolas</c:v>
                  </c:pt>
                  <c:pt idx="3">
                    <c:v>Vranken Pommery</c:v>
                  </c:pt>
                  <c:pt idx="4">
                    <c:v>Bollinger</c:v>
                  </c:pt>
                  <c:pt idx="5">
                    <c:v>Malard</c:v>
                  </c:pt>
                  <c:pt idx="6">
                    <c:v>Laurent Perrier</c:v>
                  </c:pt>
                  <c:pt idx="7">
                    <c:v>Lanson-Bcc</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1"/>
          <c:min val="1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157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5736E55-23A2-4AB1-B88F-796726D5CCE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5E9CCB0-15CB-4F0C-B5B9-6FB4393F5B6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E061EEB-A75C-4902-A8DC-A017E838045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E224F59-9E00-450A-8092-3A6DDFD9B33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9B029F4-6B3B-4311-A86F-3F9EA17E2BD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10773EF-13F3-4C48-9D65-EA38C0E5A10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C45B8A6-0379-4AD9-9E50-85AC7244908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5B94FEA8-0AD0-4B9E-ADDC-E3A96F7CE70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69.690100000000001</c:v>
                </c:pt>
                <c:pt idx="1">
                  <c:v>23.5991</c:v>
                </c:pt>
                <c:pt idx="2">
                  <c:v>55.277700000000003</c:v>
                </c:pt>
                <c:pt idx="3">
                  <c:v>33.554200000000002</c:v>
                </c:pt>
                <c:pt idx="4">
                  <c:v>31.541399999999999</c:v>
                </c:pt>
                <c:pt idx="5">
                  <c:v>47.192599999999999</c:v>
                </c:pt>
                <c:pt idx="6">
                  <c:v>52.898600000000002</c:v>
                </c:pt>
                <c:pt idx="7">
                  <c:v>40.997399999999999</c:v>
                </c:pt>
              </c:numCache>
            </c:numRef>
          </c:xVal>
          <c:yVal>
            <c:numRef>
              <c:f>Sheet1!$B$2:$B$9</c:f>
              <c:numCache>
                <c:formatCode>General</c:formatCode>
                <c:ptCount val="8"/>
                <c:pt idx="0">
                  <c:v>1.9790000000000001</c:v>
                </c:pt>
                <c:pt idx="1">
                  <c:v>0.68100000000000005</c:v>
                </c:pt>
                <c:pt idx="2">
                  <c:v>1.54</c:v>
                </c:pt>
                <c:pt idx="3">
                  <c:v>0.99399999999999999</c:v>
                </c:pt>
                <c:pt idx="4">
                  <c:v>0.90900000000000003</c:v>
                </c:pt>
                <c:pt idx="5">
                  <c:v>1.329</c:v>
                </c:pt>
                <c:pt idx="6">
                  <c:v>1.3440000000000001</c:v>
                </c:pt>
                <c:pt idx="7">
                  <c:v>1.2490000000000001</c:v>
                </c:pt>
              </c:numCache>
            </c:numRef>
          </c:yVal>
          <c:bubbleSize>
            <c:numRef>
              <c:f>Sheet1!$C$2:$C$9</c:f>
              <c:numCache>
                <c:formatCode>General</c:formatCode>
                <c:ptCount val="8"/>
                <c:pt idx="0">
                  <c:v>3730439</c:v>
                </c:pt>
                <c:pt idx="1">
                  <c:v>1245017</c:v>
                </c:pt>
                <c:pt idx="2">
                  <c:v>1195712</c:v>
                </c:pt>
                <c:pt idx="3">
                  <c:v>925492</c:v>
                </c:pt>
                <c:pt idx="4">
                  <c:v>661770</c:v>
                </c:pt>
                <c:pt idx="5">
                  <c:v>609539</c:v>
                </c:pt>
                <c:pt idx="6">
                  <c:v>505869</c:v>
                </c:pt>
                <c:pt idx="7">
                  <c:v>480407</c:v>
                </c:pt>
              </c:numCache>
            </c:numRef>
          </c:bubbleSize>
          <c:bubble3D val="0"/>
          <c:extLst>
            <c:ext xmlns:c15="http://schemas.microsoft.com/office/drawing/2012/chart" uri="{02D57815-91ED-43cb-92C2-25804820EDAC}">
              <c15:datalabelsRange>
                <c15:f>Sheet1!$E$2:$E$10</c15:f>
                <c15:dlblRangeCache>
                  <c:ptCount val="9"/>
                  <c:pt idx="0">
                    <c:v>Mhcs</c:v>
                  </c:pt>
                  <c:pt idx="1">
                    <c:v>Malard Nicolas</c:v>
                  </c:pt>
                  <c:pt idx="2">
                    <c:v>Roederer</c:v>
                  </c:pt>
                  <c:pt idx="3">
                    <c:v>Vranken Pommery</c:v>
                  </c:pt>
                  <c:pt idx="4">
                    <c:v>Malard</c:v>
                  </c:pt>
                  <c:pt idx="5">
                    <c:v>Bollinger</c:v>
                  </c:pt>
                  <c:pt idx="6">
                    <c:v>Laurent Perrier</c:v>
                  </c:pt>
                  <c:pt idx="7">
                    <c:v>Lanson-Bcc</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4"/>
          <c:min val="1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1790000000000003"/>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9DF4D2D-0556-4AAE-A1DE-CEB3D90FDEF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8E3C90F-C5BB-497D-B2B8-7B8D339D10C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24DE952-22FB-415D-AF73-492016C48F0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F6D0711-FD0A-4907-8BA5-64147AFDD1A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C9B1424-664B-4F81-9D4B-3BFE8D0D9FC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5F1FD81-C1D1-422D-944C-6B5618568A5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3166AD8F-0147-4646-8B29-265BBFCA9C0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8BD7282E-0322-4810-B0D5-830C18B4F3C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70.393500000000003</c:v>
                </c:pt>
                <c:pt idx="1">
                  <c:v>58.051400000000001</c:v>
                </c:pt>
                <c:pt idx="2">
                  <c:v>23.420200000000001</c:v>
                </c:pt>
                <c:pt idx="3">
                  <c:v>54.731400000000001</c:v>
                </c:pt>
                <c:pt idx="4">
                  <c:v>32.419899999999998</c:v>
                </c:pt>
                <c:pt idx="5">
                  <c:v>50.2986</c:v>
                </c:pt>
                <c:pt idx="6">
                  <c:v>31.674299999999999</c:v>
                </c:pt>
                <c:pt idx="7">
                  <c:v>33.087600000000002</c:v>
                </c:pt>
              </c:numCache>
            </c:numRef>
          </c:xVal>
          <c:yVal>
            <c:numRef>
              <c:f>Sheet1!$B$2:$B$9</c:f>
              <c:numCache>
                <c:formatCode>General</c:formatCode>
                <c:ptCount val="8"/>
                <c:pt idx="0">
                  <c:v>1.8560000000000001</c:v>
                </c:pt>
                <c:pt idx="1">
                  <c:v>1.522</c:v>
                </c:pt>
                <c:pt idx="2">
                  <c:v>0.627</c:v>
                </c:pt>
                <c:pt idx="3">
                  <c:v>1.3169999999999999</c:v>
                </c:pt>
                <c:pt idx="4">
                  <c:v>0.93600000000000005</c:v>
                </c:pt>
                <c:pt idx="5">
                  <c:v>1.2929999999999999</c:v>
                </c:pt>
                <c:pt idx="6">
                  <c:v>0.84099999999999997</c:v>
                </c:pt>
                <c:pt idx="7">
                  <c:v>0.86799999999999999</c:v>
                </c:pt>
              </c:numCache>
            </c:numRef>
          </c:yVal>
          <c:bubbleSize>
            <c:numRef>
              <c:f>Sheet1!$C$2:$C$9</c:f>
              <c:numCache>
                <c:formatCode>General</c:formatCode>
                <c:ptCount val="8"/>
                <c:pt idx="0">
                  <c:v>2338049</c:v>
                </c:pt>
                <c:pt idx="1">
                  <c:v>873732</c:v>
                </c:pt>
                <c:pt idx="2">
                  <c:v>607941</c:v>
                </c:pt>
                <c:pt idx="3">
                  <c:v>520550</c:v>
                </c:pt>
                <c:pt idx="4">
                  <c:v>463702</c:v>
                </c:pt>
                <c:pt idx="5">
                  <c:v>444438</c:v>
                </c:pt>
                <c:pt idx="6">
                  <c:v>355481</c:v>
                </c:pt>
                <c:pt idx="7">
                  <c:v>286936</c:v>
                </c:pt>
              </c:numCache>
            </c:numRef>
          </c:bubbleSize>
          <c:bubble3D val="0"/>
          <c:extLst>
            <c:ext xmlns:c15="http://schemas.microsoft.com/office/drawing/2012/chart" uri="{02D57815-91ED-43cb-92C2-25804820EDAC}">
              <c15:datalabelsRange>
                <c15:f>Sheet1!$E$2:$E$10</c15:f>
                <c15:dlblRangeCache>
                  <c:ptCount val="9"/>
                  <c:pt idx="0">
                    <c:v>Mhcs</c:v>
                  </c:pt>
                  <c:pt idx="1">
                    <c:v>Roederer</c:v>
                  </c:pt>
                  <c:pt idx="2">
                    <c:v>Malard Nicolas</c:v>
                  </c:pt>
                  <c:pt idx="3">
                    <c:v>Laurent Perrier</c:v>
                  </c:pt>
                  <c:pt idx="4">
                    <c:v>Vranken Pommery</c:v>
                  </c:pt>
                  <c:pt idx="5">
                    <c:v>Bollinger</c:v>
                  </c:pt>
                  <c:pt idx="6">
                    <c:v>Malard</c:v>
                  </c:pt>
                  <c:pt idx="7">
                    <c:v>Cfgv</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4"/>
          <c:min val="1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056"/>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7C5E49E-9DAE-4FB0-8F9E-5FD9F854310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29A51CD-527D-481E-B115-93DCE1B54EE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DBBAC80-9152-49FC-9852-B991A25DFA2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B69017B-D312-41B1-8E86-483A7ACEBE8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8571F2A-79C7-4A99-B1D6-97A6B729FAE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9D2AD04-5FF4-4008-9F8C-FEF7005B229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E47CB867-4A34-4953-8F19-CD8D646B0F9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686C1C09-B259-4891-8F85-A69385AC6AC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74.226200000000006</c:v>
                </c:pt>
                <c:pt idx="1">
                  <c:v>60.1402</c:v>
                </c:pt>
                <c:pt idx="2">
                  <c:v>54.381100000000004</c:v>
                </c:pt>
                <c:pt idx="3">
                  <c:v>23.583600000000001</c:v>
                </c:pt>
                <c:pt idx="4">
                  <c:v>49.535800000000002</c:v>
                </c:pt>
                <c:pt idx="5">
                  <c:v>32.756</c:v>
                </c:pt>
                <c:pt idx="6">
                  <c:v>31.808399999999999</c:v>
                </c:pt>
                <c:pt idx="7">
                  <c:v>32.778799999999997</c:v>
                </c:pt>
              </c:numCache>
            </c:numRef>
          </c:xVal>
          <c:yVal>
            <c:numRef>
              <c:f>Sheet1!$B$2:$B$9</c:f>
              <c:numCache>
                <c:formatCode>General</c:formatCode>
                <c:ptCount val="8"/>
                <c:pt idx="0">
                  <c:v>1.7230000000000001</c:v>
                </c:pt>
                <c:pt idx="1">
                  <c:v>1.3779999999999999</c:v>
                </c:pt>
                <c:pt idx="2">
                  <c:v>1.147</c:v>
                </c:pt>
                <c:pt idx="3">
                  <c:v>0.55600000000000005</c:v>
                </c:pt>
                <c:pt idx="4">
                  <c:v>1.133</c:v>
                </c:pt>
                <c:pt idx="5">
                  <c:v>0.81200000000000006</c:v>
                </c:pt>
                <c:pt idx="6">
                  <c:v>0.745</c:v>
                </c:pt>
                <c:pt idx="7">
                  <c:v>0.751</c:v>
                </c:pt>
              </c:numCache>
            </c:numRef>
          </c:yVal>
          <c:bubbleSize>
            <c:numRef>
              <c:f>Sheet1!$C$2:$C$9</c:f>
              <c:numCache>
                <c:formatCode>General</c:formatCode>
                <c:ptCount val="8"/>
                <c:pt idx="0">
                  <c:v>2105129</c:v>
                </c:pt>
                <c:pt idx="1">
                  <c:v>659076</c:v>
                </c:pt>
                <c:pt idx="2">
                  <c:v>376426</c:v>
                </c:pt>
                <c:pt idx="3">
                  <c:v>341726</c:v>
                </c:pt>
                <c:pt idx="4">
                  <c:v>299345</c:v>
                </c:pt>
                <c:pt idx="5">
                  <c:v>279016</c:v>
                </c:pt>
                <c:pt idx="6">
                  <c:v>210031</c:v>
                </c:pt>
                <c:pt idx="7">
                  <c:v>199000</c:v>
                </c:pt>
              </c:numCache>
            </c:numRef>
          </c:bubbleSize>
          <c:bubble3D val="0"/>
          <c:extLst>
            <c:ext xmlns:c15="http://schemas.microsoft.com/office/drawing/2012/chart" uri="{02D57815-91ED-43cb-92C2-25804820EDAC}">
              <c15:datalabelsRange>
                <c15:f>Sheet1!$E$2:$E$10</c15:f>
                <c15:dlblRangeCache>
                  <c:ptCount val="9"/>
                  <c:pt idx="0">
                    <c:v>Mhcs</c:v>
                  </c:pt>
                  <c:pt idx="1">
                    <c:v>Roederer</c:v>
                  </c:pt>
                  <c:pt idx="2">
                    <c:v>Laurent Perrier</c:v>
                  </c:pt>
                  <c:pt idx="3">
                    <c:v>Malard Nicolas</c:v>
                  </c:pt>
                  <c:pt idx="4">
                    <c:v>Bollinger</c:v>
                  </c:pt>
                  <c:pt idx="5">
                    <c:v>Vranken Pommery</c:v>
                  </c:pt>
                  <c:pt idx="6">
                    <c:v>Malard</c:v>
                  </c:pt>
                  <c:pt idx="7">
                    <c:v>Cfgv</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9"/>
          <c:min val="1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923"/>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C986EBB-B3FE-4A9D-AD86-57E63A32BA4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A8E7766-CE2E-43A6-8061-ED64D9A1BB8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E4D1C0A-43C8-4DBC-8540-1912F274E1E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BE0474E-246E-4511-873F-D2742C60124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C5DA628-369C-4927-B86E-81562176670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3B13FEB-7BB2-4D8F-9409-DC19075C4C0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39E86E62-7565-438A-B30C-6DA686A6881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19E61308-74F3-4FAF-BCA0-CBFD5ECF542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73.020300000000006</c:v>
                </c:pt>
                <c:pt idx="1">
                  <c:v>57.9754</c:v>
                </c:pt>
                <c:pt idx="2">
                  <c:v>23.845400000000001</c:v>
                </c:pt>
                <c:pt idx="3">
                  <c:v>33.848300000000002</c:v>
                </c:pt>
                <c:pt idx="4">
                  <c:v>31.915800000000001</c:v>
                </c:pt>
                <c:pt idx="5">
                  <c:v>52.681399999999996</c:v>
                </c:pt>
                <c:pt idx="6">
                  <c:v>56.263100000000001</c:v>
                </c:pt>
                <c:pt idx="7">
                  <c:v>33.282400000000003</c:v>
                </c:pt>
              </c:numCache>
            </c:numRef>
          </c:xVal>
          <c:yVal>
            <c:numRef>
              <c:f>Sheet1!$B$2:$B$9</c:f>
              <c:numCache>
                <c:formatCode>General</c:formatCode>
                <c:ptCount val="8"/>
                <c:pt idx="0">
                  <c:v>1.9430000000000001</c:v>
                </c:pt>
                <c:pt idx="1">
                  <c:v>1.472</c:v>
                </c:pt>
                <c:pt idx="2">
                  <c:v>0.63300000000000001</c:v>
                </c:pt>
                <c:pt idx="3">
                  <c:v>0.95</c:v>
                </c:pt>
                <c:pt idx="4">
                  <c:v>0.84699999999999998</c:v>
                </c:pt>
                <c:pt idx="5">
                  <c:v>1.3680000000000001</c:v>
                </c:pt>
                <c:pt idx="6">
                  <c:v>1.28</c:v>
                </c:pt>
                <c:pt idx="7">
                  <c:v>0.86199999999999999</c:v>
                </c:pt>
              </c:numCache>
            </c:numRef>
          </c:yVal>
          <c:bubbleSize>
            <c:numRef>
              <c:f>Sheet1!$C$2:$C$9</c:f>
              <c:numCache>
                <c:formatCode>General</c:formatCode>
                <c:ptCount val="8"/>
                <c:pt idx="0">
                  <c:v>1282674</c:v>
                </c:pt>
                <c:pt idx="1">
                  <c:v>337127</c:v>
                </c:pt>
                <c:pt idx="2">
                  <c:v>244415</c:v>
                </c:pt>
                <c:pt idx="3">
                  <c:v>207084</c:v>
                </c:pt>
                <c:pt idx="4">
                  <c:v>135355</c:v>
                </c:pt>
                <c:pt idx="5">
                  <c:v>131124</c:v>
                </c:pt>
                <c:pt idx="6">
                  <c:v>127436</c:v>
                </c:pt>
                <c:pt idx="7">
                  <c:v>107702</c:v>
                </c:pt>
              </c:numCache>
            </c:numRef>
          </c:bubbleSize>
          <c:bubble3D val="0"/>
          <c:extLst>
            <c:ext xmlns:c15="http://schemas.microsoft.com/office/drawing/2012/chart" uri="{02D57815-91ED-43cb-92C2-25804820EDAC}">
              <c15:datalabelsRange>
                <c15:f>Sheet1!$E$2:$E$10</c15:f>
                <c15:dlblRangeCache>
                  <c:ptCount val="9"/>
                  <c:pt idx="0">
                    <c:v>Mhcs</c:v>
                  </c:pt>
                  <c:pt idx="1">
                    <c:v>Roederer</c:v>
                  </c:pt>
                  <c:pt idx="2">
                    <c:v>Malard Nicolas</c:v>
                  </c:pt>
                  <c:pt idx="3">
                    <c:v>Vranken Pommery</c:v>
                  </c:pt>
                  <c:pt idx="4">
                    <c:v>Malard</c:v>
                  </c:pt>
                  <c:pt idx="5">
                    <c:v>Bollinger</c:v>
                  </c:pt>
                  <c:pt idx="6">
                    <c:v>Laurent Perrier</c:v>
                  </c:pt>
                  <c:pt idx="7">
                    <c:v>Cfgv</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8"/>
          <c:min val="1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1430000000000002"/>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1E15EF1-62F5-4257-98F5-10B9AA6FD0E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0D9AB69-AB0F-4285-89B9-22A88E4AD0A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81ABD58-2453-41A7-A4E7-CA20C924A33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7B0ECFF-27E3-4449-B679-3B946558DDF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A9BCA79-15B8-40C5-8604-6E2E6B0E0F1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BC97069-EA33-45DA-A10A-442952BDFF5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F05F2FB-538E-43E8-853C-DBA2F6C0BD0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12AA182A-95E6-4918-BBB4-658188F90A8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68.956500000000005</c:v>
                </c:pt>
                <c:pt idx="1">
                  <c:v>55.317399999999999</c:v>
                </c:pt>
                <c:pt idx="2">
                  <c:v>23.517700000000001</c:v>
                </c:pt>
                <c:pt idx="3">
                  <c:v>32.700099999999999</c:v>
                </c:pt>
                <c:pt idx="4">
                  <c:v>52.257300000000001</c:v>
                </c:pt>
                <c:pt idx="5">
                  <c:v>47.410200000000003</c:v>
                </c:pt>
                <c:pt idx="6">
                  <c:v>31.525200000000002</c:v>
                </c:pt>
                <c:pt idx="7">
                  <c:v>40.2515</c:v>
                </c:pt>
              </c:numCache>
            </c:numRef>
          </c:xVal>
          <c:yVal>
            <c:numRef>
              <c:f>Sheet1!$B$2:$B$9</c:f>
              <c:numCache>
                <c:formatCode>General</c:formatCode>
                <c:ptCount val="8"/>
                <c:pt idx="0">
                  <c:v>1.895</c:v>
                </c:pt>
                <c:pt idx="1">
                  <c:v>1.5209999999999999</c:v>
                </c:pt>
                <c:pt idx="2">
                  <c:v>0.65400000000000003</c:v>
                </c:pt>
                <c:pt idx="3">
                  <c:v>0.94499999999999995</c:v>
                </c:pt>
                <c:pt idx="4">
                  <c:v>1.3049999999999999</c:v>
                </c:pt>
                <c:pt idx="5">
                  <c:v>1.2849999999999999</c:v>
                </c:pt>
                <c:pt idx="6">
                  <c:v>0.871</c:v>
                </c:pt>
                <c:pt idx="7">
                  <c:v>1.175</c:v>
                </c:pt>
              </c:numCache>
            </c:numRef>
          </c:yVal>
          <c:bubbleSize>
            <c:numRef>
              <c:f>Sheet1!$C$2:$C$9</c:f>
              <c:numCache>
                <c:formatCode>General</c:formatCode>
                <c:ptCount val="8"/>
                <c:pt idx="0">
                  <c:v>13357496</c:v>
                </c:pt>
                <c:pt idx="1">
                  <c:v>4898521</c:v>
                </c:pt>
                <c:pt idx="2">
                  <c:v>3777041</c:v>
                </c:pt>
                <c:pt idx="3">
                  <c:v>3042742</c:v>
                </c:pt>
                <c:pt idx="4">
                  <c:v>2432264</c:v>
                </c:pt>
                <c:pt idx="5">
                  <c:v>2388003</c:v>
                </c:pt>
                <c:pt idx="6">
                  <c:v>2351274</c:v>
                </c:pt>
                <c:pt idx="7">
                  <c:v>1679536</c:v>
                </c:pt>
              </c:numCache>
            </c:numRef>
          </c:bubbleSize>
          <c:bubble3D val="0"/>
          <c:extLst>
            <c:ext xmlns:c15="http://schemas.microsoft.com/office/drawing/2012/chart" uri="{02D57815-91ED-43cb-92C2-25804820EDAC}">
              <c15:datalabelsRange>
                <c15:f>Sheet1!$E$2:$E$10</c15:f>
                <c15:dlblRangeCache>
                  <c:ptCount val="9"/>
                  <c:pt idx="0">
                    <c:v>Mhcs</c:v>
                  </c:pt>
                  <c:pt idx="1">
                    <c:v>Roederer</c:v>
                  </c:pt>
                  <c:pt idx="2">
                    <c:v>Malard Nicolas</c:v>
                  </c:pt>
                  <c:pt idx="3">
                    <c:v>Vranken Pommery</c:v>
                  </c:pt>
                  <c:pt idx="4">
                    <c:v>Laurent Perrier</c:v>
                  </c:pt>
                  <c:pt idx="5">
                    <c:v>Bollinger</c:v>
                  </c:pt>
                  <c:pt idx="6">
                    <c:v>Malard</c:v>
                  </c:pt>
                  <c:pt idx="7">
                    <c:v>Lanson-Bcc</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3"/>
          <c:min val="1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0950000000000002"/>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C5D697B-ED67-43CB-B788-5B0272F2D5D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DDD7B6F-6636-47F5-B0C1-5E02FBD9A75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2A71A5D-4512-46B8-B1EC-2EDEFC161A4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164D66E-C860-456E-873E-EC00DD030FA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A8B10FE-358E-4912-80B5-8AE4DA047FB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F080F05-595E-4557-8EC0-1B9DF494C2F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CE66DA22-918E-4E8F-A2D3-8F62C343E28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C8879BF9-45CE-4CB4-9AAD-D3ACAE5C127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73.842799999999997</c:v>
                </c:pt>
                <c:pt idx="1">
                  <c:v>58.642800000000001</c:v>
                </c:pt>
                <c:pt idx="2">
                  <c:v>23.5246</c:v>
                </c:pt>
                <c:pt idx="3">
                  <c:v>32.865099999999998</c:v>
                </c:pt>
                <c:pt idx="4">
                  <c:v>54.3947</c:v>
                </c:pt>
                <c:pt idx="5">
                  <c:v>50.677700000000002</c:v>
                </c:pt>
                <c:pt idx="6">
                  <c:v>31.468499999999999</c:v>
                </c:pt>
                <c:pt idx="7">
                  <c:v>57.941000000000003</c:v>
                </c:pt>
              </c:numCache>
            </c:numRef>
          </c:xVal>
          <c:yVal>
            <c:numRef>
              <c:f>Sheet1!$B$2:$B$9</c:f>
              <c:numCache>
                <c:formatCode>General</c:formatCode>
                <c:ptCount val="8"/>
                <c:pt idx="0">
                  <c:v>1.887</c:v>
                </c:pt>
                <c:pt idx="1">
                  <c:v>1.4570000000000001</c:v>
                </c:pt>
                <c:pt idx="2">
                  <c:v>0.61399999999999999</c:v>
                </c:pt>
                <c:pt idx="3">
                  <c:v>0.89400000000000002</c:v>
                </c:pt>
                <c:pt idx="4">
                  <c:v>1.2789999999999999</c:v>
                </c:pt>
                <c:pt idx="5">
                  <c:v>1.288</c:v>
                </c:pt>
                <c:pt idx="6">
                  <c:v>0.82399999999999995</c:v>
                </c:pt>
                <c:pt idx="7">
                  <c:v>1.2969999999999999</c:v>
                </c:pt>
              </c:numCache>
            </c:numRef>
          </c:yVal>
          <c:bubbleSize>
            <c:numRef>
              <c:f>Sheet1!$C$2:$C$9</c:f>
              <c:numCache>
                <c:formatCode>General</c:formatCode>
                <c:ptCount val="8"/>
                <c:pt idx="0">
                  <c:v>2321247</c:v>
                </c:pt>
                <c:pt idx="1">
                  <c:v>726291</c:v>
                </c:pt>
                <c:pt idx="2">
                  <c:v>627165</c:v>
                </c:pt>
                <c:pt idx="3">
                  <c:v>457943</c:v>
                </c:pt>
                <c:pt idx="4">
                  <c:v>344699</c:v>
                </c:pt>
                <c:pt idx="5">
                  <c:v>289167</c:v>
                </c:pt>
                <c:pt idx="6">
                  <c:v>211311</c:v>
                </c:pt>
                <c:pt idx="7">
                  <c:v>180776</c:v>
                </c:pt>
              </c:numCache>
            </c:numRef>
          </c:bubbleSize>
          <c:bubble3D val="0"/>
          <c:extLst>
            <c:ext xmlns:c15="http://schemas.microsoft.com/office/drawing/2012/chart" uri="{02D57815-91ED-43cb-92C2-25804820EDAC}">
              <c15:datalabelsRange>
                <c15:f>Sheet1!$E$2:$E$10</c15:f>
                <c15:dlblRangeCache>
                  <c:ptCount val="9"/>
                  <c:pt idx="0">
                    <c:v>Mhcs</c:v>
                  </c:pt>
                  <c:pt idx="1">
                    <c:v>Roederer</c:v>
                  </c:pt>
                  <c:pt idx="2">
                    <c:v>Malard Nicolas</c:v>
                  </c:pt>
                  <c:pt idx="3">
                    <c:v>Vranken Pommery</c:v>
                  </c:pt>
                  <c:pt idx="4">
                    <c:v>Laurent Perrier</c:v>
                  </c:pt>
                  <c:pt idx="5">
                    <c:v>Bollinger</c:v>
                  </c:pt>
                  <c:pt idx="6">
                    <c:v>Malard</c:v>
                  </c:pt>
                  <c:pt idx="7">
                    <c:v>Taittinger</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9"/>
          <c:min val="1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0870000000000002"/>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7D0B514-A873-4874-B9A1-15B33867A62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F9B95FB-745F-4D24-AA73-ABDA1113ED1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182149A-FC04-43C6-86A6-EBC6EC92F43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4818FBD-72F0-4074-8D41-6C1D4EB3E46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51210D7-E47B-4F43-A984-4D552166EA0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BC21654-807E-40C8-8055-6E407434C32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C4BF6719-0494-41EC-B390-4CCD7191B15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5D664DD5-BB9D-41FD-9E5A-3AB677D8811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72.195400000000006</c:v>
                </c:pt>
                <c:pt idx="1">
                  <c:v>55.173999999999999</c:v>
                </c:pt>
                <c:pt idx="2">
                  <c:v>24.571100000000001</c:v>
                </c:pt>
                <c:pt idx="3">
                  <c:v>32.592799999999997</c:v>
                </c:pt>
                <c:pt idx="4">
                  <c:v>47.9236</c:v>
                </c:pt>
                <c:pt idx="5">
                  <c:v>31.674600000000002</c:v>
                </c:pt>
                <c:pt idx="6">
                  <c:v>56.163400000000003</c:v>
                </c:pt>
                <c:pt idx="7">
                  <c:v>40.958199999999998</c:v>
                </c:pt>
              </c:numCache>
            </c:numRef>
          </c:xVal>
          <c:yVal>
            <c:numRef>
              <c:f>Sheet1!$B$2:$B$9</c:f>
              <c:numCache>
                <c:formatCode>General</c:formatCode>
                <c:ptCount val="8"/>
                <c:pt idx="0">
                  <c:v>2.0489999999999999</c:v>
                </c:pt>
                <c:pt idx="1">
                  <c:v>1.5309999999999999</c:v>
                </c:pt>
                <c:pt idx="2">
                  <c:v>0.70499999999999996</c:v>
                </c:pt>
                <c:pt idx="3">
                  <c:v>0.98499999999999999</c:v>
                </c:pt>
                <c:pt idx="4">
                  <c:v>1.3560000000000001</c:v>
                </c:pt>
                <c:pt idx="5">
                  <c:v>0.91300000000000003</c:v>
                </c:pt>
                <c:pt idx="6">
                  <c:v>1.377</c:v>
                </c:pt>
                <c:pt idx="7">
                  <c:v>1.252</c:v>
                </c:pt>
              </c:numCache>
            </c:numRef>
          </c:yVal>
          <c:bubbleSize>
            <c:numRef>
              <c:f>Sheet1!$C$2:$C$9</c:f>
              <c:numCache>
                <c:formatCode>General</c:formatCode>
                <c:ptCount val="8"/>
                <c:pt idx="0">
                  <c:v>1062933</c:v>
                </c:pt>
                <c:pt idx="1">
                  <c:v>426385</c:v>
                </c:pt>
                <c:pt idx="2">
                  <c:v>277285</c:v>
                </c:pt>
                <c:pt idx="3">
                  <c:v>254713</c:v>
                </c:pt>
                <c:pt idx="4">
                  <c:v>211918</c:v>
                </c:pt>
                <c:pt idx="5">
                  <c:v>176681</c:v>
                </c:pt>
                <c:pt idx="6">
                  <c:v>160908</c:v>
                </c:pt>
                <c:pt idx="7">
                  <c:v>126274</c:v>
                </c:pt>
              </c:numCache>
            </c:numRef>
          </c:bubbleSize>
          <c:bubble3D val="0"/>
          <c:extLst>
            <c:ext xmlns:c15="http://schemas.microsoft.com/office/drawing/2012/chart" uri="{02D57815-91ED-43cb-92C2-25804820EDAC}">
              <c15:datalabelsRange>
                <c15:f>Sheet1!$E$2:$E$10</c15:f>
                <c15:dlblRangeCache>
                  <c:ptCount val="9"/>
                  <c:pt idx="0">
                    <c:v>Mhcs</c:v>
                  </c:pt>
                  <c:pt idx="1">
                    <c:v>Roederer</c:v>
                  </c:pt>
                  <c:pt idx="2">
                    <c:v>Malard Nicolas</c:v>
                  </c:pt>
                  <c:pt idx="3">
                    <c:v>Vranken Pommery</c:v>
                  </c:pt>
                  <c:pt idx="4">
                    <c:v>Bollinger</c:v>
                  </c:pt>
                  <c:pt idx="5">
                    <c:v>Malard</c:v>
                  </c:pt>
                  <c:pt idx="6">
                    <c:v>Laurent Perrier</c:v>
                  </c:pt>
                  <c:pt idx="7">
                    <c:v>Lanson-Bcc</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7"/>
          <c:min val="2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2490000000000001"/>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29EF81C-16CA-4AB6-ABFC-E46C6F38298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AA99C77-42CF-4787-999B-52CED5A3C2B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47E92D3-58AF-43EC-9527-574027EE482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18E316C-D473-4FD7-8393-AEF2DB430CD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6FE07EE2-2049-4B78-BEBC-E908D0A9B67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3C8E1E8-45A6-48C9-9BF6-42960254328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49E6EDE0-0EFD-4E2D-B379-8DD772D013D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92AABEB3-4D02-4C13-BB67-D76620F9371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69.862499999999997</c:v>
                </c:pt>
                <c:pt idx="1">
                  <c:v>23.236599999999999</c:v>
                </c:pt>
                <c:pt idx="2">
                  <c:v>52.527299999999997</c:v>
                </c:pt>
                <c:pt idx="3">
                  <c:v>32.034199999999998</c:v>
                </c:pt>
                <c:pt idx="4">
                  <c:v>55.900500000000001</c:v>
                </c:pt>
                <c:pt idx="5">
                  <c:v>70.223500000000001</c:v>
                </c:pt>
                <c:pt idx="6">
                  <c:v>34.026000000000003</c:v>
                </c:pt>
                <c:pt idx="7">
                  <c:v>40.881700000000002</c:v>
                </c:pt>
              </c:numCache>
            </c:numRef>
          </c:xVal>
          <c:yVal>
            <c:numRef>
              <c:f>Sheet1!$B$2:$B$9</c:f>
              <c:numCache>
                <c:formatCode>General</c:formatCode>
                <c:ptCount val="8"/>
                <c:pt idx="0">
                  <c:v>1.6930000000000001</c:v>
                </c:pt>
                <c:pt idx="1">
                  <c:v>0.57899999999999996</c:v>
                </c:pt>
                <c:pt idx="2">
                  <c:v>1.266</c:v>
                </c:pt>
                <c:pt idx="3">
                  <c:v>0.79800000000000004</c:v>
                </c:pt>
                <c:pt idx="4">
                  <c:v>1.1919999999999999</c:v>
                </c:pt>
                <c:pt idx="5">
                  <c:v>1.6040000000000001</c:v>
                </c:pt>
                <c:pt idx="6">
                  <c:v>0.84699999999999998</c:v>
                </c:pt>
                <c:pt idx="7">
                  <c:v>1.012</c:v>
                </c:pt>
              </c:numCache>
            </c:numRef>
          </c:yVal>
          <c:bubbleSize>
            <c:numRef>
              <c:f>Sheet1!$C$2:$C$9</c:f>
              <c:numCache>
                <c:formatCode>General</c:formatCode>
                <c:ptCount val="8"/>
                <c:pt idx="0">
                  <c:v>300199</c:v>
                </c:pt>
                <c:pt idx="1">
                  <c:v>152037</c:v>
                </c:pt>
                <c:pt idx="2">
                  <c:v>101798</c:v>
                </c:pt>
                <c:pt idx="3">
                  <c:v>71244</c:v>
                </c:pt>
                <c:pt idx="4">
                  <c:v>66298</c:v>
                </c:pt>
                <c:pt idx="5">
                  <c:v>50280</c:v>
                </c:pt>
                <c:pt idx="6">
                  <c:v>49678</c:v>
                </c:pt>
                <c:pt idx="7">
                  <c:v>49426</c:v>
                </c:pt>
              </c:numCache>
            </c:numRef>
          </c:bubbleSize>
          <c:bubble3D val="0"/>
          <c:extLst>
            <c:ext xmlns:c15="http://schemas.microsoft.com/office/drawing/2012/chart" uri="{02D57815-91ED-43cb-92C2-25804820EDAC}">
              <c15:datalabelsRange>
                <c15:f>Sheet1!$E$2:$E$10</c15:f>
                <c15:dlblRangeCache>
                  <c:ptCount val="9"/>
                  <c:pt idx="0">
                    <c:v>Ruinart</c:v>
                  </c:pt>
                  <c:pt idx="1">
                    <c:v>Nicolas</c:v>
                  </c:pt>
                  <c:pt idx="2">
                    <c:v>Deutz</c:v>
                  </c:pt>
                  <c:pt idx="3">
                    <c:v>Malard</c:v>
                  </c:pt>
                  <c:pt idx="4">
                    <c:v>Laurent Perrier</c:v>
                  </c:pt>
                  <c:pt idx="5">
                    <c:v>Bollinger</c:v>
                  </c:pt>
                  <c:pt idx="6">
                    <c:v>Canard Duchêne</c:v>
                  </c:pt>
                  <c:pt idx="7">
                    <c:v>Ayala</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4"/>
          <c:min val="19"/>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B281D32-645F-4167-82D7-58B53181108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2B0F9FE-5202-406F-96F6-5AFC691266B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33A9809-571C-4E76-B047-E9185E3F60B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F26A445-1B35-417E-BE9F-A1BD036FEDA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9FAF82E-3C6B-424A-A4E9-C0899BB73D5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359F333-F81C-41E0-A8D0-0EC27551E1C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CA986BE-0173-4340-B636-D0650EFCBED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CCE6375F-DDD2-4BE7-AE94-3BADB1215CF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70.899100000000004</c:v>
                </c:pt>
                <c:pt idx="1">
                  <c:v>54.712299999999999</c:v>
                </c:pt>
                <c:pt idx="2">
                  <c:v>23.0381</c:v>
                </c:pt>
                <c:pt idx="3">
                  <c:v>32.217399999999998</c:v>
                </c:pt>
                <c:pt idx="4">
                  <c:v>46.205500000000001</c:v>
                </c:pt>
                <c:pt idx="5">
                  <c:v>31.597000000000001</c:v>
                </c:pt>
                <c:pt idx="6">
                  <c:v>42.406300000000002</c:v>
                </c:pt>
                <c:pt idx="7">
                  <c:v>30.6097</c:v>
                </c:pt>
              </c:numCache>
            </c:numRef>
          </c:xVal>
          <c:yVal>
            <c:numRef>
              <c:f>Sheet1!$B$2:$B$9</c:f>
              <c:numCache>
                <c:formatCode>General</c:formatCode>
                <c:ptCount val="8"/>
                <c:pt idx="0">
                  <c:v>2.0630000000000002</c:v>
                </c:pt>
                <c:pt idx="1">
                  <c:v>1.5860000000000001</c:v>
                </c:pt>
                <c:pt idx="2">
                  <c:v>0.68500000000000005</c:v>
                </c:pt>
                <c:pt idx="3">
                  <c:v>0.98099999999999998</c:v>
                </c:pt>
                <c:pt idx="4">
                  <c:v>1.349</c:v>
                </c:pt>
                <c:pt idx="5">
                  <c:v>0.93600000000000005</c:v>
                </c:pt>
                <c:pt idx="6">
                  <c:v>1.306</c:v>
                </c:pt>
                <c:pt idx="7">
                  <c:v>0.90900000000000003</c:v>
                </c:pt>
              </c:numCache>
            </c:numRef>
          </c:yVal>
          <c:bubbleSize>
            <c:numRef>
              <c:f>Sheet1!$C$2:$C$9</c:f>
              <c:numCache>
                <c:formatCode>General</c:formatCode>
                <c:ptCount val="8"/>
                <c:pt idx="0">
                  <c:v>463893</c:v>
                </c:pt>
                <c:pt idx="1">
                  <c:v>228424</c:v>
                </c:pt>
                <c:pt idx="2">
                  <c:v>215798</c:v>
                </c:pt>
                <c:pt idx="3">
                  <c:v>155127</c:v>
                </c:pt>
                <c:pt idx="4">
                  <c:v>112418</c:v>
                </c:pt>
                <c:pt idx="5">
                  <c:v>95486</c:v>
                </c:pt>
                <c:pt idx="6">
                  <c:v>75568</c:v>
                </c:pt>
                <c:pt idx="7">
                  <c:v>71290</c:v>
                </c:pt>
              </c:numCache>
            </c:numRef>
          </c:bubbleSize>
          <c:bubble3D val="0"/>
          <c:extLst>
            <c:ext xmlns:c15="http://schemas.microsoft.com/office/drawing/2012/chart" uri="{02D57815-91ED-43cb-92C2-25804820EDAC}">
              <c15:datalabelsRange>
                <c15:f>Sheet1!$E$2:$E$10</c15:f>
                <c15:dlblRangeCache>
                  <c:ptCount val="9"/>
                  <c:pt idx="0">
                    <c:v>Mhcs</c:v>
                  </c:pt>
                  <c:pt idx="1">
                    <c:v>Roederer</c:v>
                  </c:pt>
                  <c:pt idx="2">
                    <c:v>Malard Nicolas</c:v>
                  </c:pt>
                  <c:pt idx="3">
                    <c:v>Vranken Pommery</c:v>
                  </c:pt>
                  <c:pt idx="4">
                    <c:v>Bollinger</c:v>
                  </c:pt>
                  <c:pt idx="5">
                    <c:v>Malard</c:v>
                  </c:pt>
                  <c:pt idx="6">
                    <c:v>Lanson-Bcc</c:v>
                  </c:pt>
                  <c:pt idx="7">
                    <c:v>De Blign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5"/>
          <c:min val="1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2630000000000003"/>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7226905-17AA-46B3-A320-51EB4C48434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0E8E529-71F6-4E63-A26A-EE59B65BE79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52014BE-1CEE-4318-BEF3-9FB171ACBD9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60A412B-3EF4-4FAE-99BD-85B301A9BF4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0A98823-9276-4708-BC5C-557553BF70E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406A7AF-D589-43D9-89B6-B94DFFEE7EF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683CDAF4-C67F-471F-A7B1-AC350F190B2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E22DB925-DE32-49E9-8362-6434C40B86B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69.493499999999997</c:v>
                </c:pt>
                <c:pt idx="1">
                  <c:v>23.1036</c:v>
                </c:pt>
                <c:pt idx="2">
                  <c:v>57.791600000000003</c:v>
                </c:pt>
                <c:pt idx="3">
                  <c:v>35.407400000000003</c:v>
                </c:pt>
                <c:pt idx="4">
                  <c:v>51.795299999999997</c:v>
                </c:pt>
                <c:pt idx="5">
                  <c:v>32.034199999999998</c:v>
                </c:pt>
                <c:pt idx="6">
                  <c:v>17.333100000000002</c:v>
                </c:pt>
                <c:pt idx="7">
                  <c:v>55.900500000000001</c:v>
                </c:pt>
              </c:numCache>
            </c:numRef>
          </c:xVal>
          <c:yVal>
            <c:numRef>
              <c:f>Sheet1!$B$2:$B$9</c:f>
              <c:numCache>
                <c:formatCode>General</c:formatCode>
                <c:ptCount val="8"/>
                <c:pt idx="0">
                  <c:v>2.181</c:v>
                </c:pt>
                <c:pt idx="1">
                  <c:v>0.748</c:v>
                </c:pt>
                <c:pt idx="2">
                  <c:v>1.8049999999999999</c:v>
                </c:pt>
                <c:pt idx="3">
                  <c:v>1.206</c:v>
                </c:pt>
                <c:pt idx="4">
                  <c:v>1.613</c:v>
                </c:pt>
                <c:pt idx="5">
                  <c:v>1.034</c:v>
                </c:pt>
                <c:pt idx="6">
                  <c:v>0.59699999999999998</c:v>
                </c:pt>
                <c:pt idx="7">
                  <c:v>1.546</c:v>
                </c:pt>
              </c:numCache>
            </c:numRef>
          </c:yVal>
          <c:bubbleSize>
            <c:numRef>
              <c:f>Sheet1!$C$2:$C$9</c:f>
              <c:numCache>
                <c:formatCode>General</c:formatCode>
                <c:ptCount val="8"/>
                <c:pt idx="0">
                  <c:v>368107</c:v>
                </c:pt>
                <c:pt idx="1">
                  <c:v>151005</c:v>
                </c:pt>
                <c:pt idx="2">
                  <c:v>145057</c:v>
                </c:pt>
                <c:pt idx="3">
                  <c:v>100557</c:v>
                </c:pt>
                <c:pt idx="4">
                  <c:v>99706</c:v>
                </c:pt>
                <c:pt idx="5">
                  <c:v>71244</c:v>
                </c:pt>
                <c:pt idx="6">
                  <c:v>68483</c:v>
                </c:pt>
                <c:pt idx="7">
                  <c:v>66298</c:v>
                </c:pt>
              </c:numCache>
            </c:numRef>
          </c:bubbleSize>
          <c:bubble3D val="0"/>
          <c:extLst>
            <c:ext xmlns:c15="http://schemas.microsoft.com/office/drawing/2012/chart" uri="{02D57815-91ED-43cb-92C2-25804820EDAC}">
              <c15:datalabelsRange>
                <c15:f>Sheet1!$E$2:$E$10</c15:f>
                <c15:dlblRangeCache>
                  <c:ptCount val="9"/>
                  <c:pt idx="0">
                    <c:v>Mhcs</c:v>
                  </c:pt>
                  <c:pt idx="1">
                    <c:v>Malard Nicolas</c:v>
                  </c:pt>
                  <c:pt idx="2">
                    <c:v>Roederer</c:v>
                  </c:pt>
                  <c:pt idx="3">
                    <c:v>Vranken Pommery</c:v>
                  </c:pt>
                  <c:pt idx="4">
                    <c:v>Bollinger</c:v>
                  </c:pt>
                  <c:pt idx="5">
                    <c:v>Malard</c:v>
                  </c:pt>
                  <c:pt idx="6">
                    <c:v>Mure</c:v>
                  </c:pt>
                  <c:pt idx="7">
                    <c:v>Laurent Perrier</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3"/>
          <c:min val="1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3810000000000002"/>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30E9D5F-F00F-4C50-98F5-9AD665590B5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F0B3279-59C4-4203-A7A4-9BDD519A453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C6FDE22-A86B-4FA6-8536-54DBC50EDD2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18AC7A9-08C4-42AC-8FD5-B0BF0B34E50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1A118D45-E02C-410E-8E1E-BC3C3D61452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C272477-C49B-4B5D-8115-DAE6CDE0297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E4D300BF-525C-4086-8AC0-024B528D568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D2B1EAFD-3CAE-4D5D-8963-DD89AEC636F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73.257900000000006</c:v>
                </c:pt>
                <c:pt idx="1">
                  <c:v>59.653399999999998</c:v>
                </c:pt>
                <c:pt idx="2">
                  <c:v>23.547599999999999</c:v>
                </c:pt>
                <c:pt idx="3">
                  <c:v>32.562199999999997</c:v>
                </c:pt>
                <c:pt idx="4">
                  <c:v>54.731099999999998</c:v>
                </c:pt>
                <c:pt idx="5">
                  <c:v>49.309899999999999</c:v>
                </c:pt>
                <c:pt idx="6">
                  <c:v>31.505700000000001</c:v>
                </c:pt>
                <c:pt idx="7">
                  <c:v>32.752200000000002</c:v>
                </c:pt>
              </c:numCache>
            </c:numRef>
          </c:xVal>
          <c:yVal>
            <c:numRef>
              <c:f>Sheet1!$B$2:$B$9</c:f>
              <c:numCache>
                <c:formatCode>General</c:formatCode>
                <c:ptCount val="8"/>
                <c:pt idx="0">
                  <c:v>1.889</c:v>
                </c:pt>
                <c:pt idx="1">
                  <c:v>1.53</c:v>
                </c:pt>
                <c:pt idx="2">
                  <c:v>0.61299999999999999</c:v>
                </c:pt>
                <c:pt idx="3">
                  <c:v>0.89400000000000002</c:v>
                </c:pt>
                <c:pt idx="4">
                  <c:v>1.2789999999999999</c:v>
                </c:pt>
                <c:pt idx="5">
                  <c:v>1.2470000000000001</c:v>
                </c:pt>
                <c:pt idx="6">
                  <c:v>0.81699999999999995</c:v>
                </c:pt>
                <c:pt idx="7">
                  <c:v>0.83899999999999997</c:v>
                </c:pt>
              </c:numCache>
            </c:numRef>
          </c:yVal>
          <c:bubbleSize>
            <c:numRef>
              <c:f>Sheet1!$C$2:$C$9</c:f>
              <c:numCache>
                <c:formatCode>General</c:formatCode>
                <c:ptCount val="8"/>
                <c:pt idx="0">
                  <c:v>6310000</c:v>
                </c:pt>
                <c:pt idx="1">
                  <c:v>2210575</c:v>
                </c:pt>
                <c:pt idx="2">
                  <c:v>1456865</c:v>
                </c:pt>
                <c:pt idx="3">
                  <c:v>1190148</c:v>
                </c:pt>
                <c:pt idx="4">
                  <c:v>1142622</c:v>
                </c:pt>
                <c:pt idx="5">
                  <c:v>1020320</c:v>
                </c:pt>
                <c:pt idx="6">
                  <c:v>828914</c:v>
                </c:pt>
                <c:pt idx="7">
                  <c:v>634868</c:v>
                </c:pt>
              </c:numCache>
            </c:numRef>
          </c:bubbleSize>
          <c:bubble3D val="0"/>
          <c:extLst>
            <c:ext xmlns:c15="http://schemas.microsoft.com/office/drawing/2012/chart" uri="{02D57815-91ED-43cb-92C2-25804820EDAC}">
              <c15:datalabelsRange>
                <c15:f>Sheet1!$E$2:$E$10</c15:f>
                <c15:dlblRangeCache>
                  <c:ptCount val="9"/>
                  <c:pt idx="0">
                    <c:v>Mhcs</c:v>
                  </c:pt>
                  <c:pt idx="1">
                    <c:v>Roederer</c:v>
                  </c:pt>
                  <c:pt idx="2">
                    <c:v>Malard Nicolas</c:v>
                  </c:pt>
                  <c:pt idx="3">
                    <c:v>Vranken Pommery</c:v>
                  </c:pt>
                  <c:pt idx="4">
                    <c:v>Laurent Perrier</c:v>
                  </c:pt>
                  <c:pt idx="5">
                    <c:v>Bollinger</c:v>
                  </c:pt>
                  <c:pt idx="6">
                    <c:v>Malard</c:v>
                  </c:pt>
                  <c:pt idx="7">
                    <c:v>Cfgv</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8"/>
          <c:min val="1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08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F9B0F4A-8395-446B-B99D-944D903CD3A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9A9B6EA-700B-4E73-983E-B314D243CBE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15C1FC9-5960-437F-8541-02590834A9B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EFB9BF9-4295-4217-A726-6478225F62B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4568428-DF80-4004-BC9A-C323BC05494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FAD1F5FC-DA01-420D-AEA7-2ABF3AA57DB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DAABFDE-0424-4B6A-8FD7-CCEDDC7059B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A2E7FD5D-9369-4CED-A8EC-8351989B4F0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67.626400000000004</c:v>
                </c:pt>
                <c:pt idx="1">
                  <c:v>53.305</c:v>
                </c:pt>
                <c:pt idx="2">
                  <c:v>23.331199999999999</c:v>
                </c:pt>
                <c:pt idx="3">
                  <c:v>32.874699999999997</c:v>
                </c:pt>
                <c:pt idx="4">
                  <c:v>51.434100000000001</c:v>
                </c:pt>
                <c:pt idx="5">
                  <c:v>46.979399999999998</c:v>
                </c:pt>
                <c:pt idx="6">
                  <c:v>31.512499999999999</c:v>
                </c:pt>
                <c:pt idx="7">
                  <c:v>40.131700000000002</c:v>
                </c:pt>
              </c:numCache>
            </c:numRef>
          </c:xVal>
          <c:yVal>
            <c:numRef>
              <c:f>Sheet1!$B$2:$B$9</c:f>
              <c:numCache>
                <c:formatCode>General</c:formatCode>
                <c:ptCount val="8"/>
                <c:pt idx="0">
                  <c:v>1.9330000000000001</c:v>
                </c:pt>
                <c:pt idx="1">
                  <c:v>1.5269999999999999</c:v>
                </c:pt>
                <c:pt idx="2">
                  <c:v>0.67800000000000005</c:v>
                </c:pt>
                <c:pt idx="3">
                  <c:v>0.98399999999999999</c:v>
                </c:pt>
                <c:pt idx="4">
                  <c:v>1.341</c:v>
                </c:pt>
                <c:pt idx="5">
                  <c:v>1.331</c:v>
                </c:pt>
                <c:pt idx="6">
                  <c:v>0.91100000000000003</c:v>
                </c:pt>
                <c:pt idx="7">
                  <c:v>1.2330000000000001</c:v>
                </c:pt>
              </c:numCache>
            </c:numRef>
          </c:yVal>
          <c:bubbleSize>
            <c:numRef>
              <c:f>Sheet1!$C$2:$C$9</c:f>
              <c:numCache>
                <c:formatCode>General</c:formatCode>
                <c:ptCount val="8"/>
                <c:pt idx="0">
                  <c:v>2621943</c:v>
                </c:pt>
                <c:pt idx="1">
                  <c:v>1039074</c:v>
                </c:pt>
                <c:pt idx="2">
                  <c:v>846597</c:v>
                </c:pt>
                <c:pt idx="3">
                  <c:v>661800</c:v>
                </c:pt>
                <c:pt idx="4">
                  <c:v>525811</c:v>
                </c:pt>
                <c:pt idx="5">
                  <c:v>476747</c:v>
                </c:pt>
                <c:pt idx="6">
                  <c:v>464085</c:v>
                </c:pt>
                <c:pt idx="7">
                  <c:v>345173</c:v>
                </c:pt>
              </c:numCache>
            </c:numRef>
          </c:bubbleSize>
          <c:bubble3D val="0"/>
          <c:extLst>
            <c:ext xmlns:c15="http://schemas.microsoft.com/office/drawing/2012/chart" uri="{02D57815-91ED-43cb-92C2-25804820EDAC}">
              <c15:datalabelsRange>
                <c15:f>Sheet1!$E$2:$E$10</c15:f>
                <c15:dlblRangeCache>
                  <c:ptCount val="9"/>
                  <c:pt idx="0">
                    <c:v>Mhcs</c:v>
                  </c:pt>
                  <c:pt idx="1">
                    <c:v>Roederer</c:v>
                  </c:pt>
                  <c:pt idx="2">
                    <c:v>Malard Nicolas</c:v>
                  </c:pt>
                  <c:pt idx="3">
                    <c:v>Vranken Pommery</c:v>
                  </c:pt>
                  <c:pt idx="4">
                    <c:v>Laurent Perrier</c:v>
                  </c:pt>
                  <c:pt idx="5">
                    <c:v>Bollinger</c:v>
                  </c:pt>
                  <c:pt idx="6">
                    <c:v>Malard</c:v>
                  </c:pt>
                  <c:pt idx="7">
                    <c:v>Lanson-Bcc</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1"/>
          <c:min val="1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133"/>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C0CA763-D1B2-4DA5-A85C-F0A4EF988A8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76530D1-362D-42B4-9709-88A25B1A4EA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9B1C605-09D0-409C-BB7B-FCD609B9AFC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46A99A3-2711-44C1-B8D3-362D326C0DC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96FCDAA-FB4C-43D8-AD65-C5C8C2AC422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BC0233F-CA68-4531-A6F3-4BC4D8634D8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3781FD3-B3A5-4C30-B8C9-9D87286706D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22C5EB96-AB32-4A8C-BC3C-CCF91EE511E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68.836399999999998</c:v>
                </c:pt>
                <c:pt idx="1">
                  <c:v>54.970700000000001</c:v>
                </c:pt>
                <c:pt idx="2">
                  <c:v>23.511199999999999</c:v>
                </c:pt>
                <c:pt idx="3">
                  <c:v>32.854700000000001</c:v>
                </c:pt>
                <c:pt idx="4">
                  <c:v>46.3675</c:v>
                </c:pt>
                <c:pt idx="5">
                  <c:v>31.48</c:v>
                </c:pt>
                <c:pt idx="6">
                  <c:v>52.412700000000001</c:v>
                </c:pt>
                <c:pt idx="7">
                  <c:v>40.483800000000002</c:v>
                </c:pt>
              </c:numCache>
            </c:numRef>
          </c:xVal>
          <c:yVal>
            <c:numRef>
              <c:f>Sheet1!$B$2:$B$9</c:f>
              <c:numCache>
                <c:formatCode>General</c:formatCode>
                <c:ptCount val="8"/>
                <c:pt idx="0">
                  <c:v>1.9470000000000001</c:v>
                </c:pt>
                <c:pt idx="1">
                  <c:v>1.5429999999999999</c:v>
                </c:pt>
                <c:pt idx="2">
                  <c:v>0.67600000000000005</c:v>
                </c:pt>
                <c:pt idx="3">
                  <c:v>0.97599999999999998</c:v>
                </c:pt>
                <c:pt idx="4">
                  <c:v>1.304</c:v>
                </c:pt>
                <c:pt idx="5">
                  <c:v>0.90100000000000002</c:v>
                </c:pt>
                <c:pt idx="6">
                  <c:v>1.34</c:v>
                </c:pt>
                <c:pt idx="7">
                  <c:v>1.2210000000000001</c:v>
                </c:pt>
              </c:numCache>
            </c:numRef>
          </c:yVal>
          <c:bubbleSize>
            <c:numRef>
              <c:f>Sheet1!$C$2:$C$9</c:f>
              <c:numCache>
                <c:formatCode>General</c:formatCode>
                <c:ptCount val="8"/>
                <c:pt idx="0">
                  <c:v>4168455</c:v>
                </c:pt>
                <c:pt idx="1">
                  <c:v>1504989</c:v>
                </c:pt>
                <c:pt idx="2">
                  <c:v>1311876</c:v>
                </c:pt>
                <c:pt idx="3">
                  <c:v>1024081</c:v>
                </c:pt>
                <c:pt idx="4">
                  <c:v>791865</c:v>
                </c:pt>
                <c:pt idx="5">
                  <c:v>730304</c:v>
                </c:pt>
                <c:pt idx="6">
                  <c:v>682885</c:v>
                </c:pt>
                <c:pt idx="7">
                  <c:v>528597</c:v>
                </c:pt>
              </c:numCache>
            </c:numRef>
          </c:bubbleSize>
          <c:bubble3D val="0"/>
          <c:extLst>
            <c:ext xmlns:c15="http://schemas.microsoft.com/office/drawing/2012/chart" uri="{02D57815-91ED-43cb-92C2-25804820EDAC}">
              <c15:datalabelsRange>
                <c15:f>Sheet1!$E$2:$E$10</c15:f>
                <c15:dlblRangeCache>
                  <c:ptCount val="9"/>
                  <c:pt idx="0">
                    <c:v>Mhcs</c:v>
                  </c:pt>
                  <c:pt idx="1">
                    <c:v>Roederer</c:v>
                  </c:pt>
                  <c:pt idx="2">
                    <c:v>Malard Nicolas</c:v>
                  </c:pt>
                  <c:pt idx="3">
                    <c:v>Vranken Pommery</c:v>
                  </c:pt>
                  <c:pt idx="4">
                    <c:v>Bollinger</c:v>
                  </c:pt>
                  <c:pt idx="5">
                    <c:v>Malard</c:v>
                  </c:pt>
                  <c:pt idx="6">
                    <c:v>Laurent Perrier</c:v>
                  </c:pt>
                  <c:pt idx="7">
                    <c:v>Lanson-Bcc</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3"/>
          <c:min val="1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1470000000000002"/>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E5B78A0-DDE2-44D5-9641-7981D8DDC4C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4556648-2351-480C-B2CD-1D91A8BC95C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0D0A6B5-B3D1-40FA-A829-B76C2398B5A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47C462A-A27D-4E95-8DF2-AE1FBD6A05F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1C48791A-9CF3-4969-9371-81D054C51C1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19D38AC-9A69-4E3D-BF08-37812B09702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54B00E84-3D7E-45B0-8BAD-D9CA7AC98B9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5E228D7A-B439-43A9-94E1-7194BC41568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68.467699999999994</c:v>
                </c:pt>
                <c:pt idx="1">
                  <c:v>53.702399999999997</c:v>
                </c:pt>
                <c:pt idx="2">
                  <c:v>23.655200000000001</c:v>
                </c:pt>
                <c:pt idx="3">
                  <c:v>32.689100000000003</c:v>
                </c:pt>
                <c:pt idx="4">
                  <c:v>31.5063</c:v>
                </c:pt>
                <c:pt idx="5">
                  <c:v>47.947299999999998</c:v>
                </c:pt>
                <c:pt idx="6">
                  <c:v>52.280799999999999</c:v>
                </c:pt>
                <c:pt idx="7">
                  <c:v>40.0745</c:v>
                </c:pt>
              </c:numCache>
            </c:numRef>
          </c:xVal>
          <c:yVal>
            <c:numRef>
              <c:f>Sheet1!$B$2:$B$9</c:f>
              <c:numCache>
                <c:formatCode>General</c:formatCode>
                <c:ptCount val="8"/>
                <c:pt idx="0">
                  <c:v>1.9550000000000001</c:v>
                </c:pt>
                <c:pt idx="1">
                  <c:v>1.5209999999999999</c:v>
                </c:pt>
                <c:pt idx="2">
                  <c:v>0.68700000000000006</c:v>
                </c:pt>
                <c:pt idx="3">
                  <c:v>0.98399999999999999</c:v>
                </c:pt>
                <c:pt idx="4">
                  <c:v>0.91100000000000003</c:v>
                </c:pt>
                <c:pt idx="5">
                  <c:v>1.3540000000000001</c:v>
                </c:pt>
                <c:pt idx="6">
                  <c:v>1.335</c:v>
                </c:pt>
                <c:pt idx="7">
                  <c:v>1.2210000000000001</c:v>
                </c:pt>
              </c:numCache>
            </c:numRef>
          </c:yVal>
          <c:bubbleSize>
            <c:numRef>
              <c:f>Sheet1!$C$2:$C$9</c:f>
              <c:numCache>
                <c:formatCode>General</c:formatCode>
                <c:ptCount val="8"/>
                <c:pt idx="0">
                  <c:v>3276523</c:v>
                </c:pt>
                <c:pt idx="1">
                  <c:v>1220549</c:v>
                </c:pt>
                <c:pt idx="2">
                  <c:v>1019585</c:v>
                </c:pt>
                <c:pt idx="3">
                  <c:v>838932</c:v>
                </c:pt>
                <c:pt idx="4">
                  <c:v>627069</c:v>
                </c:pt>
                <c:pt idx="5">
                  <c:v>586875</c:v>
                </c:pt>
                <c:pt idx="6">
                  <c:v>511724</c:v>
                </c:pt>
                <c:pt idx="7">
                  <c:v>492516</c:v>
                </c:pt>
              </c:numCache>
            </c:numRef>
          </c:bubbleSize>
          <c:bubble3D val="0"/>
          <c:extLst>
            <c:ext xmlns:c15="http://schemas.microsoft.com/office/drawing/2012/chart" uri="{02D57815-91ED-43cb-92C2-25804820EDAC}">
              <c15:datalabelsRange>
                <c15:f>Sheet1!$E$2:$E$10</c15:f>
                <c15:dlblRangeCache>
                  <c:ptCount val="9"/>
                  <c:pt idx="0">
                    <c:v>Mhcs</c:v>
                  </c:pt>
                  <c:pt idx="1">
                    <c:v>Roederer</c:v>
                  </c:pt>
                  <c:pt idx="2">
                    <c:v>Malard Nicolas</c:v>
                  </c:pt>
                  <c:pt idx="3">
                    <c:v>Vranken Pommery</c:v>
                  </c:pt>
                  <c:pt idx="4">
                    <c:v>Malard</c:v>
                  </c:pt>
                  <c:pt idx="5">
                    <c:v>Bollinger</c:v>
                  </c:pt>
                  <c:pt idx="6">
                    <c:v>Laurent Perrier</c:v>
                  </c:pt>
                  <c:pt idx="7">
                    <c:v>Lanson-Bcc</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2"/>
          <c:min val="1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1550000000000002"/>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6917CD9-EB30-4144-8CFC-1F71AA0AFF9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8376F70-E093-410D-BA46-300804B006E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6783EB0-D8C4-4724-A626-DC31383973B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BDC467D-8B28-4556-9077-BE572742503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D34E5E9-8281-41C3-A7B8-016E4504236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662CF83-A6B3-4D16-8759-97A0531AAA9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75B542A-7BBC-4580-A7CD-318F14D5BA6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0A558CA-ED45-467A-9E9A-58DCEF2DAF0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67.668199999999999</c:v>
                </c:pt>
                <c:pt idx="1">
                  <c:v>54.089399999999998</c:v>
                </c:pt>
                <c:pt idx="2">
                  <c:v>23.724799999999998</c:v>
                </c:pt>
                <c:pt idx="3">
                  <c:v>32.999400000000001</c:v>
                </c:pt>
                <c:pt idx="4">
                  <c:v>31.6996</c:v>
                </c:pt>
                <c:pt idx="5">
                  <c:v>46.7316</c:v>
                </c:pt>
                <c:pt idx="6">
                  <c:v>52.491900000000001</c:v>
                </c:pt>
                <c:pt idx="7">
                  <c:v>40.946800000000003</c:v>
                </c:pt>
              </c:numCache>
            </c:numRef>
          </c:xVal>
          <c:yVal>
            <c:numRef>
              <c:f>Sheet1!$B$2:$B$9</c:f>
              <c:numCache>
                <c:formatCode>General</c:formatCode>
                <c:ptCount val="8"/>
                <c:pt idx="0">
                  <c:v>1.9870000000000001</c:v>
                </c:pt>
                <c:pt idx="1">
                  <c:v>1.552</c:v>
                </c:pt>
                <c:pt idx="2">
                  <c:v>0.70699999999999996</c:v>
                </c:pt>
                <c:pt idx="3">
                  <c:v>1.01</c:v>
                </c:pt>
                <c:pt idx="4">
                  <c:v>0.94199999999999995</c:v>
                </c:pt>
                <c:pt idx="5">
                  <c:v>1.363</c:v>
                </c:pt>
                <c:pt idx="6">
                  <c:v>1.3859999999999999</c:v>
                </c:pt>
                <c:pt idx="7">
                  <c:v>1.2829999999999999</c:v>
                </c:pt>
              </c:numCache>
            </c:numRef>
          </c:yVal>
          <c:bubbleSize>
            <c:numRef>
              <c:f>Sheet1!$C$2:$C$9</c:f>
              <c:numCache>
                <c:formatCode>General</c:formatCode>
                <c:ptCount val="8"/>
                <c:pt idx="0">
                  <c:v>2905740</c:v>
                </c:pt>
                <c:pt idx="1">
                  <c:v>1063669</c:v>
                </c:pt>
                <c:pt idx="2">
                  <c:v>1047473</c:v>
                </c:pt>
                <c:pt idx="3">
                  <c:v>792679</c:v>
                </c:pt>
                <c:pt idx="4">
                  <c:v>584730</c:v>
                </c:pt>
                <c:pt idx="5">
                  <c:v>571995</c:v>
                </c:pt>
                <c:pt idx="6">
                  <c:v>451798</c:v>
                </c:pt>
                <c:pt idx="7">
                  <c:v>403940</c:v>
                </c:pt>
              </c:numCache>
            </c:numRef>
          </c:bubbleSize>
          <c:bubble3D val="0"/>
          <c:extLst>
            <c:ext xmlns:c15="http://schemas.microsoft.com/office/drawing/2012/chart" uri="{02D57815-91ED-43cb-92C2-25804820EDAC}">
              <c15:datalabelsRange>
                <c15:f>Sheet1!$E$2:$E$10</c15:f>
                <c15:dlblRangeCache>
                  <c:ptCount val="9"/>
                  <c:pt idx="0">
                    <c:v>Mhcs</c:v>
                  </c:pt>
                  <c:pt idx="1">
                    <c:v>Roederer</c:v>
                  </c:pt>
                  <c:pt idx="2">
                    <c:v>Malard Nicolas</c:v>
                  </c:pt>
                  <c:pt idx="3">
                    <c:v>Vranken Pommery</c:v>
                  </c:pt>
                  <c:pt idx="4">
                    <c:v>Malard</c:v>
                  </c:pt>
                  <c:pt idx="5">
                    <c:v>Bollinger</c:v>
                  </c:pt>
                  <c:pt idx="6">
                    <c:v>Laurent Perrier</c:v>
                  </c:pt>
                  <c:pt idx="7">
                    <c:v>Lanson-Bcc</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1"/>
          <c:min val="1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1870000000000003"/>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ABA68FA-BB29-453D-A89F-77FE94E7749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B5DAECD-C4C0-477B-ABBC-263F0549762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8671A48-5993-491F-97AF-76017508869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ACD5E9F-37E2-4C4A-AB61-A4A9E6A0B44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0E086B5-F278-423F-8C07-A793BE16AF8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23BB75B-86B5-4F4D-AF79-FF7A49829BB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58EA8D35-305D-485D-82A2-8EA26B0F635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6BD96E49-953A-41A4-90D0-72B00F5A133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5.1111</c:v>
                </c:pt>
                <c:pt idx="1">
                  <c:v>24.206</c:v>
                </c:pt>
                <c:pt idx="2">
                  <c:v>49.430599999999998</c:v>
                </c:pt>
                <c:pt idx="3">
                  <c:v>31.427199999999999</c:v>
                </c:pt>
                <c:pt idx="4">
                  <c:v>26.736799999999999</c:v>
                </c:pt>
                <c:pt idx="5">
                  <c:v>24.309100000000001</c:v>
                </c:pt>
                <c:pt idx="6">
                  <c:v>31.042200000000001</c:v>
                </c:pt>
                <c:pt idx="7">
                  <c:v>26.580300000000001</c:v>
                </c:pt>
              </c:numCache>
            </c:numRef>
          </c:xVal>
          <c:yVal>
            <c:numRef>
              <c:f>Sheet1!$B$2:$B$9</c:f>
              <c:numCache>
                <c:formatCode>General</c:formatCode>
                <c:ptCount val="8"/>
                <c:pt idx="0">
                  <c:v>1.0429999999999999</c:v>
                </c:pt>
                <c:pt idx="1">
                  <c:v>0.57499999999999996</c:v>
                </c:pt>
                <c:pt idx="2">
                  <c:v>2.2639999999999998</c:v>
                </c:pt>
                <c:pt idx="3">
                  <c:v>1.4279999999999999</c:v>
                </c:pt>
                <c:pt idx="4">
                  <c:v>1.2110000000000001</c:v>
                </c:pt>
                <c:pt idx="5">
                  <c:v>1.038</c:v>
                </c:pt>
                <c:pt idx="6">
                  <c:v>1.458</c:v>
                </c:pt>
                <c:pt idx="7">
                  <c:v>1.1359999999999999</c:v>
                </c:pt>
              </c:numCache>
            </c:numRef>
          </c:yVal>
          <c:bubbleSize>
            <c:numRef>
              <c:f>Sheet1!$C$2:$C$9</c:f>
              <c:numCache>
                <c:formatCode>General</c:formatCode>
                <c:ptCount val="8"/>
                <c:pt idx="0">
                  <c:v>83416559</c:v>
                </c:pt>
                <c:pt idx="1">
                  <c:v>77348257</c:v>
                </c:pt>
                <c:pt idx="2">
                  <c:v>69626376</c:v>
                </c:pt>
                <c:pt idx="3">
                  <c:v>41308441</c:v>
                </c:pt>
                <c:pt idx="4">
                  <c:v>38917245</c:v>
                </c:pt>
                <c:pt idx="5">
                  <c:v>28145421</c:v>
                </c:pt>
                <c:pt idx="6">
                  <c:v>27725856</c:v>
                </c:pt>
                <c:pt idx="7">
                  <c:v>23472209</c:v>
                </c:pt>
              </c:numCache>
            </c:numRef>
          </c:bubbleSize>
          <c:bubble3D val="0"/>
          <c:extLst>
            <c:ext xmlns:c15="http://schemas.microsoft.com/office/drawing/2012/chart" uri="{02D57815-91ED-43cb-92C2-25804820EDAC}">
              <c15:datalabelsRange>
                <c15:f>Sheet1!$E$2:$E$10</c15:f>
                <c15:dlblRangeCache>
                  <c:ptCount val="9"/>
                  <c:pt idx="0">
                    <c:v>Cfgv</c:v>
                  </c:pt>
                  <c:pt idx="1">
                    <c:v>Vranken Pommery</c:v>
                  </c:pt>
                  <c:pt idx="2">
                    <c:v>Mhcs</c:v>
                  </c:pt>
                  <c:pt idx="3">
                    <c:v>Pernod Ricard</c:v>
                  </c:pt>
                  <c:pt idx="4">
                    <c:v>C&amp;C Sas France</c:v>
                  </c:pt>
                  <c:pt idx="5">
                    <c:v>Maison Burtin</c:v>
                  </c:pt>
                  <c:pt idx="6">
                    <c:v>Lanson-Bcc</c:v>
                  </c:pt>
                  <c:pt idx="7">
                    <c:v>Laurent Perrier</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9"/>
          <c:min val="1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464"/>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74B7592-2277-4F3D-8E6E-F97FEF43727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7B51EE4-4422-403B-BBE4-CF90AAF80D4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71EC522-3CCB-4B33-A9A0-2189F93BCEF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CA31668-820E-419B-9287-BFF55B600A7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214BDFC-E2DF-4E7F-8B37-1865D756791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5537C36-4A43-47A6-A60E-E1A3DD0A44B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0E68065-6A78-4111-865A-7A6A2CD2D6A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06DF501A-CA97-44B6-948D-30302F74407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69.892600000000002</c:v>
                </c:pt>
                <c:pt idx="1">
                  <c:v>55.808999999999997</c:v>
                </c:pt>
                <c:pt idx="2">
                  <c:v>23.577300000000001</c:v>
                </c:pt>
                <c:pt idx="3">
                  <c:v>32.814900000000002</c:v>
                </c:pt>
                <c:pt idx="4">
                  <c:v>47.6738</c:v>
                </c:pt>
                <c:pt idx="5">
                  <c:v>53.084499999999998</c:v>
                </c:pt>
                <c:pt idx="6">
                  <c:v>31.571200000000001</c:v>
                </c:pt>
                <c:pt idx="7">
                  <c:v>40.583799999999997</c:v>
                </c:pt>
              </c:numCache>
            </c:numRef>
          </c:xVal>
          <c:yVal>
            <c:numRef>
              <c:f>Sheet1!$B$2:$B$9</c:f>
              <c:numCache>
                <c:formatCode>General</c:formatCode>
                <c:ptCount val="8"/>
                <c:pt idx="0">
                  <c:v>1.6020000000000001</c:v>
                </c:pt>
                <c:pt idx="1">
                  <c:v>1.2689999999999999</c:v>
                </c:pt>
                <c:pt idx="2">
                  <c:v>0.54800000000000004</c:v>
                </c:pt>
                <c:pt idx="3">
                  <c:v>0.79200000000000004</c:v>
                </c:pt>
                <c:pt idx="4">
                  <c:v>1.081</c:v>
                </c:pt>
                <c:pt idx="5">
                  <c:v>1.1000000000000001</c:v>
                </c:pt>
                <c:pt idx="6">
                  <c:v>0.73099999999999998</c:v>
                </c:pt>
                <c:pt idx="7">
                  <c:v>0.99199999999999999</c:v>
                </c:pt>
              </c:numCache>
            </c:numRef>
          </c:yVal>
          <c:bubbleSize>
            <c:numRef>
              <c:f>Sheet1!$C$2:$C$9</c:f>
              <c:numCache>
                <c:formatCode>General</c:formatCode>
                <c:ptCount val="8"/>
                <c:pt idx="0">
                  <c:v>19282258</c:v>
                </c:pt>
                <c:pt idx="1">
                  <c:v>7038688</c:v>
                </c:pt>
                <c:pt idx="2">
                  <c:v>5682202</c:v>
                </c:pt>
                <c:pt idx="3">
                  <c:v>4507482</c:v>
                </c:pt>
                <c:pt idx="4">
                  <c:v>3447720</c:v>
                </c:pt>
                <c:pt idx="5">
                  <c:v>3314753</c:v>
                </c:pt>
                <c:pt idx="6">
                  <c:v>3234970</c:v>
                </c:pt>
                <c:pt idx="7">
                  <c:v>2362992</c:v>
                </c:pt>
              </c:numCache>
            </c:numRef>
          </c:bubbleSize>
          <c:bubble3D val="0"/>
          <c:extLst>
            <c:ext xmlns:c15="http://schemas.microsoft.com/office/drawing/2012/chart" uri="{02D57815-91ED-43cb-92C2-25804820EDAC}">
              <c15:datalabelsRange>
                <c15:f>Sheet1!$E$2:$E$10</c15:f>
                <c15:dlblRangeCache>
                  <c:ptCount val="9"/>
                  <c:pt idx="0">
                    <c:v>Mhcs</c:v>
                  </c:pt>
                  <c:pt idx="1">
                    <c:v>Roederer</c:v>
                  </c:pt>
                  <c:pt idx="2">
                    <c:v>Malard Nicolas</c:v>
                  </c:pt>
                  <c:pt idx="3">
                    <c:v>Vranken Pommery</c:v>
                  </c:pt>
                  <c:pt idx="4">
                    <c:v>Bollinger</c:v>
                  </c:pt>
                  <c:pt idx="5">
                    <c:v>Laurent Perrier</c:v>
                  </c:pt>
                  <c:pt idx="6">
                    <c:v>Malard</c:v>
                  </c:pt>
                  <c:pt idx="7">
                    <c:v>Lanson-Bcc</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4"/>
          <c:min val="1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802"/>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F3D067F-B95B-4F3D-8040-EFA0906D0FB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AE96F70-6EB3-46A1-9084-5AE55A5EA60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EAED8BF-9D74-448E-A0B3-59DB7D03E86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3DC4FE7-0F3A-4A4D-9BD8-32EBC8E1419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EADF33E-6204-4D2F-8CD8-BDBC2B8DCF3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F0CD3B57-5BDF-4CFC-B1F5-CC203E67618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7C7D41A-5160-4E41-828A-2315767241D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4CCC5F1D-5129-4D86-B20E-46DABA279E6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4.946400000000001</c:v>
                </c:pt>
                <c:pt idx="1">
                  <c:v>23.825199999999999</c:v>
                </c:pt>
                <c:pt idx="2">
                  <c:v>44.508600000000001</c:v>
                </c:pt>
                <c:pt idx="3">
                  <c:v>31.101600000000001</c:v>
                </c:pt>
                <c:pt idx="4">
                  <c:v>26.586600000000001</c:v>
                </c:pt>
                <c:pt idx="5">
                  <c:v>24.309100000000001</c:v>
                </c:pt>
                <c:pt idx="6">
                  <c:v>30.3916</c:v>
                </c:pt>
                <c:pt idx="7">
                  <c:v>24.575700000000001</c:v>
                </c:pt>
              </c:numCache>
            </c:numRef>
          </c:xVal>
          <c:yVal>
            <c:numRef>
              <c:f>Sheet1!$B$2:$B$9</c:f>
              <c:numCache>
                <c:formatCode>General</c:formatCode>
                <c:ptCount val="8"/>
                <c:pt idx="0">
                  <c:v>1.099</c:v>
                </c:pt>
                <c:pt idx="1">
                  <c:v>0.58799999999999997</c:v>
                </c:pt>
                <c:pt idx="2">
                  <c:v>2.1539999999999999</c:v>
                </c:pt>
                <c:pt idx="3">
                  <c:v>1.5029999999999999</c:v>
                </c:pt>
                <c:pt idx="4">
                  <c:v>1.2769999999999999</c:v>
                </c:pt>
                <c:pt idx="5">
                  <c:v>1.1040000000000001</c:v>
                </c:pt>
                <c:pt idx="6">
                  <c:v>1.5109999999999999</c:v>
                </c:pt>
                <c:pt idx="7">
                  <c:v>1.117</c:v>
                </c:pt>
              </c:numCache>
            </c:numRef>
          </c:yVal>
          <c:bubbleSize>
            <c:numRef>
              <c:f>Sheet1!$C$2:$C$9</c:f>
              <c:numCache>
                <c:formatCode>General</c:formatCode>
                <c:ptCount val="8"/>
                <c:pt idx="0">
                  <c:v>81150444</c:v>
                </c:pt>
                <c:pt idx="1">
                  <c:v>72856480</c:v>
                </c:pt>
                <c:pt idx="2">
                  <c:v>50422962</c:v>
                </c:pt>
                <c:pt idx="3">
                  <c:v>40350066</c:v>
                </c:pt>
                <c:pt idx="4">
                  <c:v>37152564</c:v>
                </c:pt>
                <c:pt idx="5">
                  <c:v>28145421</c:v>
                </c:pt>
                <c:pt idx="6">
                  <c:v>25366337</c:v>
                </c:pt>
                <c:pt idx="7">
                  <c:v>20162778</c:v>
                </c:pt>
              </c:numCache>
            </c:numRef>
          </c:bubbleSize>
          <c:bubble3D val="0"/>
          <c:extLst>
            <c:ext xmlns:c15="http://schemas.microsoft.com/office/drawing/2012/chart" uri="{02D57815-91ED-43cb-92C2-25804820EDAC}">
              <c15:datalabelsRange>
                <c15:f>Sheet1!$E$2:$E$10</c15:f>
                <c15:dlblRangeCache>
                  <c:ptCount val="9"/>
                  <c:pt idx="0">
                    <c:v>Cfgv</c:v>
                  </c:pt>
                  <c:pt idx="1">
                    <c:v>Vranken Pommery</c:v>
                  </c:pt>
                  <c:pt idx="2">
                    <c:v>Mhcs</c:v>
                  </c:pt>
                  <c:pt idx="3">
                    <c:v>Pernod Ricard</c:v>
                  </c:pt>
                  <c:pt idx="4">
                    <c:v>C&amp;C Sas France</c:v>
                  </c:pt>
                  <c:pt idx="5">
                    <c:v>Maison Burtin</c:v>
                  </c:pt>
                  <c:pt idx="6">
                    <c:v>Lanson-Bcc</c:v>
                  </c:pt>
                  <c:pt idx="7">
                    <c:v>Laurent Perrier</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3"/>
          <c:min val="1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3540000000000001"/>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0D18C939-1E40-43F4-98AD-8704158B136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FA83F4AD-43BB-426E-802A-7619506090F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1392EBB3-4CC4-4885-8F58-8043884632C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D1F07325-460D-4120-BF02-2E0D16CA6F9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51761999-3D99-4DC3-92C7-34243CE614A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48EF-49EC-8B4D-EC25A4464CE3}"/>
                </c:ext>
              </c:extLst>
            </c:dLbl>
            <c:dLbl>
              <c:idx val="6"/>
              <c:tx>
                <c:rich>
                  <a:bodyPr/>
                  <a:lstStyle/>
                  <a:p>
                    <a:fld id="{AA6C0A8F-F8A1-4C37-A0F9-7F7EB102679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48EF-49EC-8B4D-EC25A4464CE3}"/>
                </c:ext>
              </c:extLst>
            </c:dLbl>
            <c:dLbl>
              <c:idx val="7"/>
              <c:tx>
                <c:rich>
                  <a:bodyPr/>
                  <a:lstStyle/>
                  <a:p>
                    <a:fld id="{E166B1E0-41D9-4C50-BB34-CA3840E4286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48EF-49EC-8B4D-EC25A4464CE3}"/>
                </c:ext>
              </c:extLst>
            </c:dLbl>
            <c:dLbl>
              <c:idx val="8"/>
              <c:tx>
                <c:rich>
                  <a:bodyPr/>
                  <a:lstStyle/>
                  <a:p>
                    <a:fld id="{A84A45CC-9228-4D5A-8ADD-2DA448C26BB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17.333100000000002</c:v>
                </c:pt>
                <c:pt idx="1">
                  <c:v>12.973800000000001</c:v>
                </c:pt>
                <c:pt idx="2">
                  <c:v>9.0344999999999995</c:v>
                </c:pt>
                <c:pt idx="3">
                  <c:v>11.645300000000001</c:v>
                </c:pt>
                <c:pt idx="4">
                  <c:v>11.7005</c:v>
                </c:pt>
              </c:numCache>
            </c:numRef>
          </c:xVal>
          <c:yVal>
            <c:numRef>
              <c:f>Sheet1!$B$2:$B$6</c:f>
              <c:numCache>
                <c:formatCode>General</c:formatCode>
                <c:ptCount val="5"/>
                <c:pt idx="0">
                  <c:v>1.5960000000000001</c:v>
                </c:pt>
                <c:pt idx="1">
                  <c:v>1.091</c:v>
                </c:pt>
                <c:pt idx="2">
                  <c:v>0.78300000000000003</c:v>
                </c:pt>
                <c:pt idx="3">
                  <c:v>0.97099999999999997</c:v>
                </c:pt>
                <c:pt idx="4">
                  <c:v>0.98399999999999999</c:v>
                </c:pt>
              </c:numCache>
            </c:numRef>
          </c:yVal>
          <c:bubbleSize>
            <c:numRef>
              <c:f>Sheet1!$C$2:$C$6</c:f>
              <c:numCache>
                <c:formatCode>General</c:formatCode>
                <c:ptCount val="5"/>
                <c:pt idx="0">
                  <c:v>68483</c:v>
                </c:pt>
                <c:pt idx="1">
                  <c:v>3957</c:v>
                </c:pt>
                <c:pt idx="2">
                  <c:v>3930</c:v>
                </c:pt>
                <c:pt idx="3">
                  <c:v>3447</c:v>
                </c:pt>
                <c:pt idx="4">
                  <c:v>2188</c:v>
                </c:pt>
              </c:numCache>
            </c:numRef>
          </c:bubbleSize>
          <c:bubble3D val="0"/>
          <c:extLst>
            <c:ext xmlns:c15="http://schemas.microsoft.com/office/drawing/2012/chart" uri="{02D57815-91ED-43cb-92C2-25804820EDAC}">
              <c15:datalabelsRange>
                <c15:f>Sheet1!$E$2:$E$10</c15:f>
                <c15:dlblRangeCache>
                  <c:ptCount val="9"/>
                  <c:pt idx="0">
                    <c:v>Mure</c:v>
                  </c:pt>
                  <c:pt idx="1">
                    <c:v>Patriarche</c:v>
                  </c:pt>
                  <c:pt idx="2">
                    <c:v>Savian</c:v>
                  </c:pt>
                  <c:pt idx="3">
                    <c:v>Bottega</c:v>
                  </c:pt>
                  <c:pt idx="4">
                    <c:v>Chateau Moncontour</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
          <c:min val="7"/>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EDDAEB7-DA88-4D2C-ADBF-FECFFB474FB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32FF30B-3092-4AD7-AE51-7DB701BDA87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B32B8C6-6B16-4AEF-B23D-F70D47F324E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3547F4B-A2B8-4E3A-8BBF-DDB3794F8EA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21F44C5-683B-4610-85E0-37F412A70CD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4127881-5DFD-4CBB-9E1E-CBF1F86E1CC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24D76EA1-A0BC-4D52-864D-88541A7C487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2FA0F5D2-EADC-4E01-9672-D891A231C95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67.314300000000003</c:v>
                </c:pt>
                <c:pt idx="1">
                  <c:v>53.895200000000003</c:v>
                </c:pt>
                <c:pt idx="2">
                  <c:v>23.5701</c:v>
                </c:pt>
                <c:pt idx="3">
                  <c:v>32.425899999999999</c:v>
                </c:pt>
                <c:pt idx="4">
                  <c:v>46.163699999999999</c:v>
                </c:pt>
                <c:pt idx="5">
                  <c:v>31.455500000000001</c:v>
                </c:pt>
                <c:pt idx="6">
                  <c:v>51.310200000000002</c:v>
                </c:pt>
                <c:pt idx="7">
                  <c:v>39.283900000000003</c:v>
                </c:pt>
              </c:numCache>
            </c:numRef>
          </c:xVal>
          <c:yVal>
            <c:numRef>
              <c:f>Sheet1!$B$2:$B$9</c:f>
              <c:numCache>
                <c:formatCode>General</c:formatCode>
                <c:ptCount val="8"/>
                <c:pt idx="0">
                  <c:v>1.601</c:v>
                </c:pt>
                <c:pt idx="1">
                  <c:v>1.2889999999999999</c:v>
                </c:pt>
                <c:pt idx="2">
                  <c:v>0.56699999999999995</c:v>
                </c:pt>
                <c:pt idx="3">
                  <c:v>0.80700000000000005</c:v>
                </c:pt>
                <c:pt idx="4">
                  <c:v>1.0880000000000001</c:v>
                </c:pt>
                <c:pt idx="5">
                  <c:v>0.753</c:v>
                </c:pt>
                <c:pt idx="6">
                  <c:v>1.107</c:v>
                </c:pt>
                <c:pt idx="7">
                  <c:v>0.997</c:v>
                </c:pt>
              </c:numCache>
            </c:numRef>
          </c:yVal>
          <c:bubbleSize>
            <c:numRef>
              <c:f>Sheet1!$C$2:$C$9</c:f>
              <c:numCache>
                <c:formatCode>General</c:formatCode>
                <c:ptCount val="8"/>
                <c:pt idx="0">
                  <c:v>7393532</c:v>
                </c:pt>
                <c:pt idx="1">
                  <c:v>3103288</c:v>
                </c:pt>
                <c:pt idx="2">
                  <c:v>2507011</c:v>
                </c:pt>
                <c:pt idx="3">
                  <c:v>2078207</c:v>
                </c:pt>
                <c:pt idx="4">
                  <c:v>1572704</c:v>
                </c:pt>
                <c:pt idx="5">
                  <c:v>1556133</c:v>
                </c:pt>
                <c:pt idx="6">
                  <c:v>1443254</c:v>
                </c:pt>
                <c:pt idx="7">
                  <c:v>1102974</c:v>
                </c:pt>
              </c:numCache>
            </c:numRef>
          </c:bubbleSize>
          <c:bubble3D val="0"/>
          <c:extLst>
            <c:ext xmlns:c15="http://schemas.microsoft.com/office/drawing/2012/chart" uri="{02D57815-91ED-43cb-92C2-25804820EDAC}">
              <c15:datalabelsRange>
                <c15:f>Sheet1!$E$2:$E$10</c15:f>
                <c15:dlblRangeCache>
                  <c:ptCount val="9"/>
                  <c:pt idx="0">
                    <c:v>Mhcs</c:v>
                  </c:pt>
                  <c:pt idx="1">
                    <c:v>Roederer</c:v>
                  </c:pt>
                  <c:pt idx="2">
                    <c:v>Malard Nicolas</c:v>
                  </c:pt>
                  <c:pt idx="3">
                    <c:v>Vranken Pommery</c:v>
                  </c:pt>
                  <c:pt idx="4">
                    <c:v>Bollinger</c:v>
                  </c:pt>
                  <c:pt idx="5">
                    <c:v>Malard</c:v>
                  </c:pt>
                  <c:pt idx="6">
                    <c:v>Laurent Perrier</c:v>
                  </c:pt>
                  <c:pt idx="7">
                    <c:v>Lanson-Bcc</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1"/>
          <c:min val="1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800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64C6B40-3F66-4946-AFF9-353BA6766D2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D411D4F-9149-4319-939C-D7EDC120E68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880E683-7957-40AF-ABC6-CF6D193F0D5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B5CEE5C-13DA-4847-A722-770F8BFFA69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C41D838-7E73-46CE-8C5D-4891F3D962F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6059739-C2DA-4463-83A3-D8B00BFD1D1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C68EB65C-BC68-4612-AFB1-758310437D8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39FD3324-51D4-482B-AFE1-34216364106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69.690100000000001</c:v>
                </c:pt>
                <c:pt idx="1">
                  <c:v>23.5991</c:v>
                </c:pt>
                <c:pt idx="2">
                  <c:v>55.277700000000003</c:v>
                </c:pt>
                <c:pt idx="3">
                  <c:v>33.554200000000002</c:v>
                </c:pt>
                <c:pt idx="4">
                  <c:v>31.541399999999999</c:v>
                </c:pt>
                <c:pt idx="5">
                  <c:v>47.192599999999999</c:v>
                </c:pt>
                <c:pt idx="6">
                  <c:v>52.898600000000002</c:v>
                </c:pt>
                <c:pt idx="7">
                  <c:v>40.997399999999999</c:v>
                </c:pt>
              </c:numCache>
            </c:numRef>
          </c:xVal>
          <c:yVal>
            <c:numRef>
              <c:f>Sheet1!$B$2:$B$9</c:f>
              <c:numCache>
                <c:formatCode>General</c:formatCode>
                <c:ptCount val="8"/>
                <c:pt idx="0">
                  <c:v>1.6439999999999999</c:v>
                </c:pt>
                <c:pt idx="1">
                  <c:v>0.56599999999999995</c:v>
                </c:pt>
                <c:pt idx="2">
                  <c:v>1.28</c:v>
                </c:pt>
                <c:pt idx="3">
                  <c:v>0.82599999999999996</c:v>
                </c:pt>
                <c:pt idx="4">
                  <c:v>0.755</c:v>
                </c:pt>
                <c:pt idx="5">
                  <c:v>1.105</c:v>
                </c:pt>
                <c:pt idx="6">
                  <c:v>1.117</c:v>
                </c:pt>
                <c:pt idx="7">
                  <c:v>1.038</c:v>
                </c:pt>
              </c:numCache>
            </c:numRef>
          </c:yVal>
          <c:bubbleSize>
            <c:numRef>
              <c:f>Sheet1!$C$2:$C$9</c:f>
              <c:numCache>
                <c:formatCode>General</c:formatCode>
                <c:ptCount val="8"/>
                <c:pt idx="0">
                  <c:v>3730439</c:v>
                </c:pt>
                <c:pt idx="1">
                  <c:v>1245017</c:v>
                </c:pt>
                <c:pt idx="2">
                  <c:v>1195712</c:v>
                </c:pt>
                <c:pt idx="3">
                  <c:v>925492</c:v>
                </c:pt>
                <c:pt idx="4">
                  <c:v>661770</c:v>
                </c:pt>
                <c:pt idx="5">
                  <c:v>609539</c:v>
                </c:pt>
                <c:pt idx="6">
                  <c:v>505869</c:v>
                </c:pt>
                <c:pt idx="7">
                  <c:v>480407</c:v>
                </c:pt>
              </c:numCache>
            </c:numRef>
          </c:bubbleSize>
          <c:bubble3D val="0"/>
          <c:extLst>
            <c:ext xmlns:c15="http://schemas.microsoft.com/office/drawing/2012/chart" uri="{02D57815-91ED-43cb-92C2-25804820EDAC}">
              <c15:datalabelsRange>
                <c15:f>Sheet1!$E$2:$E$10</c15:f>
                <c15:dlblRangeCache>
                  <c:ptCount val="9"/>
                  <c:pt idx="0">
                    <c:v>Mhcs</c:v>
                  </c:pt>
                  <c:pt idx="1">
                    <c:v>Malard Nicolas</c:v>
                  </c:pt>
                  <c:pt idx="2">
                    <c:v>Roederer</c:v>
                  </c:pt>
                  <c:pt idx="3">
                    <c:v>Vranken Pommery</c:v>
                  </c:pt>
                  <c:pt idx="4">
                    <c:v>Malard</c:v>
                  </c:pt>
                  <c:pt idx="5">
                    <c:v>Bollinger</c:v>
                  </c:pt>
                  <c:pt idx="6">
                    <c:v>Laurent Perrier</c:v>
                  </c:pt>
                  <c:pt idx="7">
                    <c:v>Lanson-Bcc</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4"/>
          <c:min val="1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843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8DF0C8C-E8E8-4505-8D1F-4C21FA3E348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4097EFC-086E-4B85-B79C-4ECECFF468B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21FE988-EA99-4885-B3D0-AB597FE8B9D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EEDD230-4037-4107-9012-E682DCE9197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CD65CBB-5CD9-404B-8D20-CC4D1DB7DE2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0D11C4A-E67F-460E-9AB6-2868E07234F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75071285-0A84-487D-8927-D8C362CC12C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C24869C9-9770-489C-BA6E-B3CE6D0EE9D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70.393500000000003</c:v>
                </c:pt>
                <c:pt idx="1">
                  <c:v>58.051400000000001</c:v>
                </c:pt>
                <c:pt idx="2">
                  <c:v>23.420200000000001</c:v>
                </c:pt>
                <c:pt idx="3">
                  <c:v>54.731400000000001</c:v>
                </c:pt>
                <c:pt idx="4">
                  <c:v>32.419899999999998</c:v>
                </c:pt>
                <c:pt idx="5">
                  <c:v>50.2986</c:v>
                </c:pt>
                <c:pt idx="6">
                  <c:v>31.674299999999999</c:v>
                </c:pt>
                <c:pt idx="7">
                  <c:v>33.087600000000002</c:v>
                </c:pt>
              </c:numCache>
            </c:numRef>
          </c:xVal>
          <c:yVal>
            <c:numRef>
              <c:f>Sheet1!$B$2:$B$9</c:f>
              <c:numCache>
                <c:formatCode>General</c:formatCode>
                <c:ptCount val="8"/>
                <c:pt idx="0">
                  <c:v>1.554</c:v>
                </c:pt>
                <c:pt idx="1">
                  <c:v>1.274</c:v>
                </c:pt>
                <c:pt idx="2">
                  <c:v>0.52500000000000002</c:v>
                </c:pt>
                <c:pt idx="3">
                  <c:v>1.103</c:v>
                </c:pt>
                <c:pt idx="4">
                  <c:v>0.78400000000000003</c:v>
                </c:pt>
                <c:pt idx="5">
                  <c:v>1.083</c:v>
                </c:pt>
                <c:pt idx="6">
                  <c:v>0.70399999999999996</c:v>
                </c:pt>
                <c:pt idx="7">
                  <c:v>0.72699999999999998</c:v>
                </c:pt>
              </c:numCache>
            </c:numRef>
          </c:yVal>
          <c:bubbleSize>
            <c:numRef>
              <c:f>Sheet1!$C$2:$C$9</c:f>
              <c:numCache>
                <c:formatCode>General</c:formatCode>
                <c:ptCount val="8"/>
                <c:pt idx="0">
                  <c:v>2338049</c:v>
                </c:pt>
                <c:pt idx="1">
                  <c:v>873732</c:v>
                </c:pt>
                <c:pt idx="2">
                  <c:v>607941</c:v>
                </c:pt>
                <c:pt idx="3">
                  <c:v>520550</c:v>
                </c:pt>
                <c:pt idx="4">
                  <c:v>463702</c:v>
                </c:pt>
                <c:pt idx="5">
                  <c:v>444438</c:v>
                </c:pt>
                <c:pt idx="6">
                  <c:v>355481</c:v>
                </c:pt>
                <c:pt idx="7">
                  <c:v>286936</c:v>
                </c:pt>
              </c:numCache>
            </c:numRef>
          </c:bubbleSize>
          <c:bubble3D val="0"/>
          <c:extLst>
            <c:ext xmlns:c15="http://schemas.microsoft.com/office/drawing/2012/chart" uri="{02D57815-91ED-43cb-92C2-25804820EDAC}">
              <c15:datalabelsRange>
                <c15:f>Sheet1!$E$2:$E$10</c15:f>
                <c15:dlblRangeCache>
                  <c:ptCount val="9"/>
                  <c:pt idx="0">
                    <c:v>Mhcs</c:v>
                  </c:pt>
                  <c:pt idx="1">
                    <c:v>Roederer</c:v>
                  </c:pt>
                  <c:pt idx="2">
                    <c:v>Malard Nicolas</c:v>
                  </c:pt>
                  <c:pt idx="3">
                    <c:v>Laurent Perrier</c:v>
                  </c:pt>
                  <c:pt idx="4">
                    <c:v>Vranken Pommery</c:v>
                  </c:pt>
                  <c:pt idx="5">
                    <c:v>Bollinger</c:v>
                  </c:pt>
                  <c:pt idx="6">
                    <c:v>Malard</c:v>
                  </c:pt>
                  <c:pt idx="7">
                    <c:v>Cfgv</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4"/>
          <c:min val="1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754"/>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28C0512-D534-4529-AD7C-C37D9B7E876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C35BA87-6EAD-4EF8-88EB-127C1CC8627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830561F-481F-4D19-930E-E4D005F6BCF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9482E14-1ECF-4D5D-A9F9-600CF4D4ABD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0120A37-0A8D-4FBB-A81E-1EE51359BA8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65608A5-9420-44F5-9776-157B4554148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E8AA067-F6FA-4762-8597-6AF7127B9AB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B7BE4E7D-5FF9-43BE-8719-44B6CA26BC9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74.226200000000006</c:v>
                </c:pt>
                <c:pt idx="1">
                  <c:v>60.1402</c:v>
                </c:pt>
                <c:pt idx="2">
                  <c:v>54.381100000000004</c:v>
                </c:pt>
                <c:pt idx="3">
                  <c:v>23.583600000000001</c:v>
                </c:pt>
                <c:pt idx="4">
                  <c:v>49.535800000000002</c:v>
                </c:pt>
                <c:pt idx="5">
                  <c:v>32.756</c:v>
                </c:pt>
                <c:pt idx="6">
                  <c:v>31.808399999999999</c:v>
                </c:pt>
                <c:pt idx="7">
                  <c:v>32.778799999999997</c:v>
                </c:pt>
              </c:numCache>
            </c:numRef>
          </c:xVal>
          <c:yVal>
            <c:numRef>
              <c:f>Sheet1!$B$2:$B$9</c:f>
              <c:numCache>
                <c:formatCode>General</c:formatCode>
                <c:ptCount val="8"/>
                <c:pt idx="0">
                  <c:v>1.51</c:v>
                </c:pt>
                <c:pt idx="1">
                  <c:v>1.208</c:v>
                </c:pt>
                <c:pt idx="2">
                  <c:v>1.0049999999999999</c:v>
                </c:pt>
                <c:pt idx="3">
                  <c:v>0.48799999999999999</c:v>
                </c:pt>
                <c:pt idx="4">
                  <c:v>0.99299999999999999</c:v>
                </c:pt>
                <c:pt idx="5">
                  <c:v>0.71199999999999997</c:v>
                </c:pt>
                <c:pt idx="6">
                  <c:v>0.65300000000000002</c:v>
                </c:pt>
                <c:pt idx="7">
                  <c:v>0.65900000000000003</c:v>
                </c:pt>
              </c:numCache>
            </c:numRef>
          </c:yVal>
          <c:bubbleSize>
            <c:numRef>
              <c:f>Sheet1!$C$2:$C$9</c:f>
              <c:numCache>
                <c:formatCode>General</c:formatCode>
                <c:ptCount val="8"/>
                <c:pt idx="0">
                  <c:v>2105129</c:v>
                </c:pt>
                <c:pt idx="1">
                  <c:v>659076</c:v>
                </c:pt>
                <c:pt idx="2">
                  <c:v>376426</c:v>
                </c:pt>
                <c:pt idx="3">
                  <c:v>341726</c:v>
                </c:pt>
                <c:pt idx="4">
                  <c:v>299345</c:v>
                </c:pt>
                <c:pt idx="5">
                  <c:v>279016</c:v>
                </c:pt>
                <c:pt idx="6">
                  <c:v>210031</c:v>
                </c:pt>
                <c:pt idx="7">
                  <c:v>199000</c:v>
                </c:pt>
              </c:numCache>
            </c:numRef>
          </c:bubbleSize>
          <c:bubble3D val="0"/>
          <c:extLst>
            <c:ext xmlns:c15="http://schemas.microsoft.com/office/drawing/2012/chart" uri="{02D57815-91ED-43cb-92C2-25804820EDAC}">
              <c15:datalabelsRange>
                <c15:f>Sheet1!$E$2:$E$10</c15:f>
                <c15:dlblRangeCache>
                  <c:ptCount val="9"/>
                  <c:pt idx="0">
                    <c:v>Mhcs</c:v>
                  </c:pt>
                  <c:pt idx="1">
                    <c:v>Roederer</c:v>
                  </c:pt>
                  <c:pt idx="2">
                    <c:v>Laurent Perrier</c:v>
                  </c:pt>
                  <c:pt idx="3">
                    <c:v>Malard Nicolas</c:v>
                  </c:pt>
                  <c:pt idx="4">
                    <c:v>Bollinger</c:v>
                  </c:pt>
                  <c:pt idx="5">
                    <c:v>Vranken Pommery</c:v>
                  </c:pt>
                  <c:pt idx="6">
                    <c:v>Malard</c:v>
                  </c:pt>
                  <c:pt idx="7">
                    <c:v>Cfgv</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9"/>
          <c:min val="1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71"/>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E95D12B-A4D9-45AA-80EC-4B8A9F6E6AC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F716772-878D-48CB-BF1B-191D6C56860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162D913-086C-4DD9-9567-07206EC5B0C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51BD072-06D1-4D9D-B047-56999267D0B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EEC1F9E-A504-4F58-A069-5D69A07CF41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3DD5BC9-49A7-4E04-B405-447F381029C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767E84C-85E6-40E9-A73D-58D80C28D34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C907BF41-95DE-4B33-8798-9A9DEAA3B85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73.020300000000006</c:v>
                </c:pt>
                <c:pt idx="1">
                  <c:v>57.9754</c:v>
                </c:pt>
                <c:pt idx="2">
                  <c:v>23.845400000000001</c:v>
                </c:pt>
                <c:pt idx="3">
                  <c:v>33.848300000000002</c:v>
                </c:pt>
                <c:pt idx="4">
                  <c:v>31.915800000000001</c:v>
                </c:pt>
                <c:pt idx="5">
                  <c:v>52.681399999999996</c:v>
                </c:pt>
                <c:pt idx="6">
                  <c:v>56.263100000000001</c:v>
                </c:pt>
                <c:pt idx="7">
                  <c:v>33.282400000000003</c:v>
                </c:pt>
              </c:numCache>
            </c:numRef>
          </c:xVal>
          <c:yVal>
            <c:numRef>
              <c:f>Sheet1!$B$2:$B$9</c:f>
              <c:numCache>
                <c:formatCode>General</c:formatCode>
                <c:ptCount val="8"/>
                <c:pt idx="0">
                  <c:v>1.552</c:v>
                </c:pt>
                <c:pt idx="1">
                  <c:v>1.1759999999999999</c:v>
                </c:pt>
                <c:pt idx="2">
                  <c:v>0.505</c:v>
                </c:pt>
                <c:pt idx="3">
                  <c:v>0.75900000000000001</c:v>
                </c:pt>
                <c:pt idx="4">
                  <c:v>0.67700000000000005</c:v>
                </c:pt>
                <c:pt idx="5">
                  <c:v>1.093</c:v>
                </c:pt>
                <c:pt idx="6">
                  <c:v>1.022</c:v>
                </c:pt>
                <c:pt idx="7">
                  <c:v>0.68799999999999994</c:v>
                </c:pt>
              </c:numCache>
            </c:numRef>
          </c:yVal>
          <c:bubbleSize>
            <c:numRef>
              <c:f>Sheet1!$C$2:$C$9</c:f>
              <c:numCache>
                <c:formatCode>General</c:formatCode>
                <c:ptCount val="8"/>
                <c:pt idx="0">
                  <c:v>1282674</c:v>
                </c:pt>
                <c:pt idx="1">
                  <c:v>337127</c:v>
                </c:pt>
                <c:pt idx="2">
                  <c:v>244415</c:v>
                </c:pt>
                <c:pt idx="3">
                  <c:v>207084</c:v>
                </c:pt>
                <c:pt idx="4">
                  <c:v>135355</c:v>
                </c:pt>
                <c:pt idx="5">
                  <c:v>131124</c:v>
                </c:pt>
                <c:pt idx="6">
                  <c:v>127436</c:v>
                </c:pt>
                <c:pt idx="7">
                  <c:v>107702</c:v>
                </c:pt>
              </c:numCache>
            </c:numRef>
          </c:bubbleSize>
          <c:bubble3D val="0"/>
          <c:extLst>
            <c:ext xmlns:c15="http://schemas.microsoft.com/office/drawing/2012/chart" uri="{02D57815-91ED-43cb-92C2-25804820EDAC}">
              <c15:datalabelsRange>
                <c15:f>Sheet1!$E$2:$E$10</c15:f>
                <c15:dlblRangeCache>
                  <c:ptCount val="9"/>
                  <c:pt idx="0">
                    <c:v>Mhcs</c:v>
                  </c:pt>
                  <c:pt idx="1">
                    <c:v>Roederer</c:v>
                  </c:pt>
                  <c:pt idx="2">
                    <c:v>Malard Nicolas</c:v>
                  </c:pt>
                  <c:pt idx="3">
                    <c:v>Vranken Pommery</c:v>
                  </c:pt>
                  <c:pt idx="4">
                    <c:v>Malard</c:v>
                  </c:pt>
                  <c:pt idx="5">
                    <c:v>Bollinger</c:v>
                  </c:pt>
                  <c:pt idx="6">
                    <c:v>Laurent Perrier</c:v>
                  </c:pt>
                  <c:pt idx="7">
                    <c:v>Cfgv</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8"/>
          <c:min val="1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752"/>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C1D318E-12FB-4E46-8D31-550D634F78F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61DBB7F-DA73-49E7-A6FB-C6437561E1B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B4CABAC-ED96-4738-A85B-C3F6876AACE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B380D2A-D335-421A-9E08-A8797433F4B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5EEDC831-337B-46CF-A845-5ABF8138EC4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B171B6E-4752-45E0-B2A2-146D8FC6441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F7AFF87-0491-4C25-A057-BBDA091639F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865E8DF8-9CFB-422F-9426-6F7A6A7FC10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68.956500000000005</c:v>
                </c:pt>
                <c:pt idx="1">
                  <c:v>55.317399999999999</c:v>
                </c:pt>
                <c:pt idx="2">
                  <c:v>23.517700000000001</c:v>
                </c:pt>
                <c:pt idx="3">
                  <c:v>32.700099999999999</c:v>
                </c:pt>
                <c:pt idx="4">
                  <c:v>52.257300000000001</c:v>
                </c:pt>
                <c:pt idx="5">
                  <c:v>47.410200000000003</c:v>
                </c:pt>
                <c:pt idx="6">
                  <c:v>31.525200000000002</c:v>
                </c:pt>
                <c:pt idx="7">
                  <c:v>40.2515</c:v>
                </c:pt>
              </c:numCache>
            </c:numRef>
          </c:xVal>
          <c:yVal>
            <c:numRef>
              <c:f>Sheet1!$B$2:$B$9</c:f>
              <c:numCache>
                <c:formatCode>General</c:formatCode>
                <c:ptCount val="8"/>
                <c:pt idx="0">
                  <c:v>1.5860000000000001</c:v>
                </c:pt>
                <c:pt idx="1">
                  <c:v>1.2729999999999999</c:v>
                </c:pt>
                <c:pt idx="2">
                  <c:v>0.54800000000000004</c:v>
                </c:pt>
                <c:pt idx="3">
                  <c:v>0.79</c:v>
                </c:pt>
                <c:pt idx="4">
                  <c:v>1.0920000000000001</c:v>
                </c:pt>
                <c:pt idx="5">
                  <c:v>1.0760000000000001</c:v>
                </c:pt>
                <c:pt idx="6">
                  <c:v>0.72899999999999998</c:v>
                </c:pt>
                <c:pt idx="7">
                  <c:v>0.98299999999999998</c:v>
                </c:pt>
              </c:numCache>
            </c:numRef>
          </c:yVal>
          <c:bubbleSize>
            <c:numRef>
              <c:f>Sheet1!$C$2:$C$9</c:f>
              <c:numCache>
                <c:formatCode>General</c:formatCode>
                <c:ptCount val="8"/>
                <c:pt idx="0">
                  <c:v>13357496</c:v>
                </c:pt>
                <c:pt idx="1">
                  <c:v>4898521</c:v>
                </c:pt>
                <c:pt idx="2">
                  <c:v>3777041</c:v>
                </c:pt>
                <c:pt idx="3">
                  <c:v>3042742</c:v>
                </c:pt>
                <c:pt idx="4">
                  <c:v>2432264</c:v>
                </c:pt>
                <c:pt idx="5">
                  <c:v>2388003</c:v>
                </c:pt>
                <c:pt idx="6">
                  <c:v>2351274</c:v>
                </c:pt>
                <c:pt idx="7">
                  <c:v>1679536</c:v>
                </c:pt>
              </c:numCache>
            </c:numRef>
          </c:bubbleSize>
          <c:bubble3D val="0"/>
          <c:extLst>
            <c:ext xmlns:c15="http://schemas.microsoft.com/office/drawing/2012/chart" uri="{02D57815-91ED-43cb-92C2-25804820EDAC}">
              <c15:datalabelsRange>
                <c15:f>Sheet1!$E$2:$E$10</c15:f>
                <c15:dlblRangeCache>
                  <c:ptCount val="9"/>
                  <c:pt idx="0">
                    <c:v>Mhcs</c:v>
                  </c:pt>
                  <c:pt idx="1">
                    <c:v>Roederer</c:v>
                  </c:pt>
                  <c:pt idx="2">
                    <c:v>Malard Nicolas</c:v>
                  </c:pt>
                  <c:pt idx="3">
                    <c:v>Vranken Pommery</c:v>
                  </c:pt>
                  <c:pt idx="4">
                    <c:v>Laurent Perrier</c:v>
                  </c:pt>
                  <c:pt idx="5">
                    <c:v>Bollinger</c:v>
                  </c:pt>
                  <c:pt idx="6">
                    <c:v>Malard</c:v>
                  </c:pt>
                  <c:pt idx="7">
                    <c:v>Lanson-Bcc</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3"/>
          <c:min val="1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786"/>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D536ED3-2276-41A7-8364-D9ADD064E15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5B8B927-7067-4C11-9C7D-47F926C928D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8BA7C35-78C2-47F7-B4F6-D08354D8DCF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5EFB3A6-A48F-4EFE-9753-62C3F09711F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54ED7C6-7078-49DF-BB42-B540D0E44B8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DE0ABDC-B491-45C1-B338-53157993A50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5C075D51-4001-4646-A31E-3902304C3F5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161C0B7D-6D01-4AB0-9D98-57206D1FF93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73.842799999999997</c:v>
                </c:pt>
                <c:pt idx="1">
                  <c:v>58.642800000000001</c:v>
                </c:pt>
                <c:pt idx="2">
                  <c:v>23.5246</c:v>
                </c:pt>
                <c:pt idx="3">
                  <c:v>32.865099999999998</c:v>
                </c:pt>
                <c:pt idx="4">
                  <c:v>54.3947</c:v>
                </c:pt>
                <c:pt idx="5">
                  <c:v>50.677700000000002</c:v>
                </c:pt>
                <c:pt idx="6">
                  <c:v>31.468499999999999</c:v>
                </c:pt>
                <c:pt idx="7">
                  <c:v>57.941000000000003</c:v>
                </c:pt>
              </c:numCache>
            </c:numRef>
          </c:xVal>
          <c:yVal>
            <c:numRef>
              <c:f>Sheet1!$B$2:$B$9</c:f>
              <c:numCache>
                <c:formatCode>General</c:formatCode>
                <c:ptCount val="8"/>
                <c:pt idx="0">
                  <c:v>1.583</c:v>
                </c:pt>
                <c:pt idx="1">
                  <c:v>1.222</c:v>
                </c:pt>
                <c:pt idx="2">
                  <c:v>0.51500000000000001</c:v>
                </c:pt>
                <c:pt idx="3">
                  <c:v>0.75</c:v>
                </c:pt>
                <c:pt idx="4">
                  <c:v>1.073</c:v>
                </c:pt>
                <c:pt idx="5">
                  <c:v>1.08</c:v>
                </c:pt>
                <c:pt idx="6">
                  <c:v>0.69099999999999995</c:v>
                </c:pt>
                <c:pt idx="7">
                  <c:v>1.0880000000000001</c:v>
                </c:pt>
              </c:numCache>
            </c:numRef>
          </c:yVal>
          <c:bubbleSize>
            <c:numRef>
              <c:f>Sheet1!$C$2:$C$9</c:f>
              <c:numCache>
                <c:formatCode>General</c:formatCode>
                <c:ptCount val="8"/>
                <c:pt idx="0">
                  <c:v>2321247</c:v>
                </c:pt>
                <c:pt idx="1">
                  <c:v>726291</c:v>
                </c:pt>
                <c:pt idx="2">
                  <c:v>627165</c:v>
                </c:pt>
                <c:pt idx="3">
                  <c:v>457943</c:v>
                </c:pt>
                <c:pt idx="4">
                  <c:v>344699</c:v>
                </c:pt>
                <c:pt idx="5">
                  <c:v>289167</c:v>
                </c:pt>
                <c:pt idx="6">
                  <c:v>211311</c:v>
                </c:pt>
                <c:pt idx="7">
                  <c:v>180776</c:v>
                </c:pt>
              </c:numCache>
            </c:numRef>
          </c:bubbleSize>
          <c:bubble3D val="0"/>
          <c:extLst>
            <c:ext xmlns:c15="http://schemas.microsoft.com/office/drawing/2012/chart" uri="{02D57815-91ED-43cb-92C2-25804820EDAC}">
              <c15:datalabelsRange>
                <c15:f>Sheet1!$E$2:$E$10</c15:f>
                <c15:dlblRangeCache>
                  <c:ptCount val="9"/>
                  <c:pt idx="0">
                    <c:v>Mhcs</c:v>
                  </c:pt>
                  <c:pt idx="1">
                    <c:v>Roederer</c:v>
                  </c:pt>
                  <c:pt idx="2">
                    <c:v>Malard Nicolas</c:v>
                  </c:pt>
                  <c:pt idx="3">
                    <c:v>Vranken Pommery</c:v>
                  </c:pt>
                  <c:pt idx="4">
                    <c:v>Laurent Perrier</c:v>
                  </c:pt>
                  <c:pt idx="5">
                    <c:v>Bollinger</c:v>
                  </c:pt>
                  <c:pt idx="6">
                    <c:v>Malard</c:v>
                  </c:pt>
                  <c:pt idx="7">
                    <c:v>Taittinger</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9"/>
          <c:min val="1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782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6A47619-5905-41A1-ADD0-5B2399853F9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5F41622-EFC1-46C2-A49B-0250492EA48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EF52427-DF8D-4B03-9F79-1BB12C0B479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B26F5A7-A086-4C4E-89BD-2EE6546153B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519D10BA-E770-4119-8522-C09B1C45B3C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A64FF46-A3E4-4A0A-9FBC-1935C1DF77B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138FDC77-A0A0-4F9E-95E9-0BE28CF2BD6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595E0194-7979-4355-86B1-B16EDC44A90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72.195400000000006</c:v>
                </c:pt>
                <c:pt idx="1">
                  <c:v>55.173999999999999</c:v>
                </c:pt>
                <c:pt idx="2">
                  <c:v>24.571100000000001</c:v>
                </c:pt>
                <c:pt idx="3">
                  <c:v>32.592799999999997</c:v>
                </c:pt>
                <c:pt idx="4">
                  <c:v>47.9236</c:v>
                </c:pt>
                <c:pt idx="5">
                  <c:v>31.674600000000002</c:v>
                </c:pt>
                <c:pt idx="6">
                  <c:v>56.163400000000003</c:v>
                </c:pt>
                <c:pt idx="7">
                  <c:v>40.958199999999998</c:v>
                </c:pt>
              </c:numCache>
            </c:numRef>
          </c:xVal>
          <c:yVal>
            <c:numRef>
              <c:f>Sheet1!$B$2:$B$9</c:f>
              <c:numCache>
                <c:formatCode>General</c:formatCode>
                <c:ptCount val="8"/>
                <c:pt idx="0">
                  <c:v>1.609</c:v>
                </c:pt>
                <c:pt idx="1">
                  <c:v>1.202</c:v>
                </c:pt>
                <c:pt idx="2">
                  <c:v>0.55300000000000005</c:v>
                </c:pt>
                <c:pt idx="3">
                  <c:v>0.77300000000000002</c:v>
                </c:pt>
                <c:pt idx="4">
                  <c:v>1.0640000000000001</c:v>
                </c:pt>
                <c:pt idx="5">
                  <c:v>0.71699999999999997</c:v>
                </c:pt>
                <c:pt idx="6">
                  <c:v>1.081</c:v>
                </c:pt>
                <c:pt idx="7">
                  <c:v>0.98299999999999998</c:v>
                </c:pt>
              </c:numCache>
            </c:numRef>
          </c:yVal>
          <c:bubbleSize>
            <c:numRef>
              <c:f>Sheet1!$C$2:$C$9</c:f>
              <c:numCache>
                <c:formatCode>General</c:formatCode>
                <c:ptCount val="8"/>
                <c:pt idx="0">
                  <c:v>1062933</c:v>
                </c:pt>
                <c:pt idx="1">
                  <c:v>426385</c:v>
                </c:pt>
                <c:pt idx="2">
                  <c:v>277285</c:v>
                </c:pt>
                <c:pt idx="3">
                  <c:v>254713</c:v>
                </c:pt>
                <c:pt idx="4">
                  <c:v>211918</c:v>
                </c:pt>
                <c:pt idx="5">
                  <c:v>176681</c:v>
                </c:pt>
                <c:pt idx="6">
                  <c:v>160908</c:v>
                </c:pt>
                <c:pt idx="7">
                  <c:v>126274</c:v>
                </c:pt>
              </c:numCache>
            </c:numRef>
          </c:bubbleSize>
          <c:bubble3D val="0"/>
          <c:extLst>
            <c:ext xmlns:c15="http://schemas.microsoft.com/office/drawing/2012/chart" uri="{02D57815-91ED-43cb-92C2-25804820EDAC}">
              <c15:datalabelsRange>
                <c15:f>Sheet1!$E$2:$E$10</c15:f>
                <c15:dlblRangeCache>
                  <c:ptCount val="9"/>
                  <c:pt idx="0">
                    <c:v>Mhcs</c:v>
                  </c:pt>
                  <c:pt idx="1">
                    <c:v>Roederer</c:v>
                  </c:pt>
                  <c:pt idx="2">
                    <c:v>Malard Nicolas</c:v>
                  </c:pt>
                  <c:pt idx="3">
                    <c:v>Vranken Pommery</c:v>
                  </c:pt>
                  <c:pt idx="4">
                    <c:v>Bollinger</c:v>
                  </c:pt>
                  <c:pt idx="5">
                    <c:v>Malard</c:v>
                  </c:pt>
                  <c:pt idx="6">
                    <c:v>Laurent Perrier</c:v>
                  </c:pt>
                  <c:pt idx="7">
                    <c:v>Lanson-Bcc</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7"/>
          <c:min val="2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808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B426BE8-C941-47F3-9D7A-5D6221DEBB1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9F47456-D31C-498A-A3B8-DE0DF6C0ED7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63455CA-0B4D-4786-BBA3-18474278E0F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53749EB-407E-4311-875F-7BFCFC73B2E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52DFB65-0CC1-498D-B8CE-4CAB37D7B12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7FDE0FE-7E55-4B6F-8017-9E070656DC0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12FD5BD4-04AC-47B4-8308-EBBB9455E4B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710038E0-19B1-4F53-906D-C6F86CCBE5D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70.899100000000004</c:v>
                </c:pt>
                <c:pt idx="1">
                  <c:v>54.712299999999999</c:v>
                </c:pt>
                <c:pt idx="2">
                  <c:v>23.0381</c:v>
                </c:pt>
                <c:pt idx="3">
                  <c:v>32.217399999999998</c:v>
                </c:pt>
                <c:pt idx="4">
                  <c:v>46.205500000000001</c:v>
                </c:pt>
                <c:pt idx="5">
                  <c:v>31.597000000000001</c:v>
                </c:pt>
                <c:pt idx="6">
                  <c:v>42.406300000000002</c:v>
                </c:pt>
                <c:pt idx="7">
                  <c:v>30.6097</c:v>
                </c:pt>
              </c:numCache>
            </c:numRef>
          </c:xVal>
          <c:yVal>
            <c:numRef>
              <c:f>Sheet1!$B$2:$B$9</c:f>
              <c:numCache>
                <c:formatCode>General</c:formatCode>
                <c:ptCount val="8"/>
                <c:pt idx="0">
                  <c:v>1.7030000000000001</c:v>
                </c:pt>
                <c:pt idx="1">
                  <c:v>1.3089999999999999</c:v>
                </c:pt>
                <c:pt idx="2">
                  <c:v>0.56599999999999995</c:v>
                </c:pt>
                <c:pt idx="3">
                  <c:v>0.81</c:v>
                </c:pt>
                <c:pt idx="4">
                  <c:v>1.113</c:v>
                </c:pt>
                <c:pt idx="5">
                  <c:v>0.77300000000000002</c:v>
                </c:pt>
                <c:pt idx="6">
                  <c:v>1.077</c:v>
                </c:pt>
                <c:pt idx="7">
                  <c:v>0.75</c:v>
                </c:pt>
              </c:numCache>
            </c:numRef>
          </c:yVal>
          <c:bubbleSize>
            <c:numRef>
              <c:f>Sheet1!$C$2:$C$9</c:f>
              <c:numCache>
                <c:formatCode>General</c:formatCode>
                <c:ptCount val="8"/>
                <c:pt idx="0">
                  <c:v>463893</c:v>
                </c:pt>
                <c:pt idx="1">
                  <c:v>228424</c:v>
                </c:pt>
                <c:pt idx="2">
                  <c:v>215798</c:v>
                </c:pt>
                <c:pt idx="3">
                  <c:v>155127</c:v>
                </c:pt>
                <c:pt idx="4">
                  <c:v>112418</c:v>
                </c:pt>
                <c:pt idx="5">
                  <c:v>95486</c:v>
                </c:pt>
                <c:pt idx="6">
                  <c:v>75568</c:v>
                </c:pt>
                <c:pt idx="7">
                  <c:v>71290</c:v>
                </c:pt>
              </c:numCache>
            </c:numRef>
          </c:bubbleSize>
          <c:bubble3D val="0"/>
          <c:extLst>
            <c:ext xmlns:c15="http://schemas.microsoft.com/office/drawing/2012/chart" uri="{02D57815-91ED-43cb-92C2-25804820EDAC}">
              <c15:datalabelsRange>
                <c15:f>Sheet1!$E$2:$E$10</c15:f>
                <c15:dlblRangeCache>
                  <c:ptCount val="9"/>
                  <c:pt idx="0">
                    <c:v>Mhcs</c:v>
                  </c:pt>
                  <c:pt idx="1">
                    <c:v>Roederer</c:v>
                  </c:pt>
                  <c:pt idx="2">
                    <c:v>Malard Nicolas</c:v>
                  </c:pt>
                  <c:pt idx="3">
                    <c:v>Vranken Pommery</c:v>
                  </c:pt>
                  <c:pt idx="4">
                    <c:v>Bollinger</c:v>
                  </c:pt>
                  <c:pt idx="5">
                    <c:v>Malard</c:v>
                  </c:pt>
                  <c:pt idx="6">
                    <c:v>Lanson-Bcc</c:v>
                  </c:pt>
                  <c:pt idx="7">
                    <c:v>De Blign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5"/>
          <c:min val="1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903"/>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F96C530-55AF-470E-A791-9AD181F71CB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2EC4FA8-676E-48DA-9C4C-641160A18C7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A75E145-B917-486F-9507-DF834376E3F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66127F0-5E0B-49BF-9837-F2DE1BD95F9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8418D8E-29F9-4AEE-A062-23D81515E19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CF437B9-4564-485B-AFA1-D4015E5F8F8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4534C820-0CE3-49A1-A59F-BC93CADD876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3B598249-2B03-4920-9C27-747AFCE19A5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69.493499999999997</c:v>
                </c:pt>
                <c:pt idx="1">
                  <c:v>23.1036</c:v>
                </c:pt>
                <c:pt idx="2">
                  <c:v>57.791600000000003</c:v>
                </c:pt>
                <c:pt idx="3">
                  <c:v>35.407400000000003</c:v>
                </c:pt>
                <c:pt idx="4">
                  <c:v>51.795299999999997</c:v>
                </c:pt>
                <c:pt idx="5">
                  <c:v>32.034199999999998</c:v>
                </c:pt>
                <c:pt idx="6">
                  <c:v>55.900500000000001</c:v>
                </c:pt>
                <c:pt idx="7">
                  <c:v>41.172800000000002</c:v>
                </c:pt>
              </c:numCache>
            </c:numRef>
          </c:xVal>
          <c:yVal>
            <c:numRef>
              <c:f>Sheet1!$B$2:$B$9</c:f>
              <c:numCache>
                <c:formatCode>General</c:formatCode>
                <c:ptCount val="8"/>
                <c:pt idx="0">
                  <c:v>1.681</c:v>
                </c:pt>
                <c:pt idx="1">
                  <c:v>0.57599999999999996</c:v>
                </c:pt>
                <c:pt idx="2">
                  <c:v>1.391</c:v>
                </c:pt>
                <c:pt idx="3">
                  <c:v>0.93</c:v>
                </c:pt>
                <c:pt idx="4">
                  <c:v>1.244</c:v>
                </c:pt>
                <c:pt idx="5">
                  <c:v>0.79800000000000004</c:v>
                </c:pt>
                <c:pt idx="6">
                  <c:v>1.1919999999999999</c:v>
                </c:pt>
                <c:pt idx="7">
                  <c:v>1.0780000000000001</c:v>
                </c:pt>
              </c:numCache>
            </c:numRef>
          </c:yVal>
          <c:bubbleSize>
            <c:numRef>
              <c:f>Sheet1!$C$2:$C$9</c:f>
              <c:numCache>
                <c:formatCode>General</c:formatCode>
                <c:ptCount val="8"/>
                <c:pt idx="0">
                  <c:v>368107</c:v>
                </c:pt>
                <c:pt idx="1">
                  <c:v>151005</c:v>
                </c:pt>
                <c:pt idx="2">
                  <c:v>145057</c:v>
                </c:pt>
                <c:pt idx="3">
                  <c:v>100557</c:v>
                </c:pt>
                <c:pt idx="4">
                  <c:v>99706</c:v>
                </c:pt>
                <c:pt idx="5">
                  <c:v>71244</c:v>
                </c:pt>
                <c:pt idx="6">
                  <c:v>66298</c:v>
                </c:pt>
                <c:pt idx="7">
                  <c:v>66000</c:v>
                </c:pt>
              </c:numCache>
            </c:numRef>
          </c:bubbleSize>
          <c:bubble3D val="0"/>
          <c:extLst>
            <c:ext xmlns:c15="http://schemas.microsoft.com/office/drawing/2012/chart" uri="{02D57815-91ED-43cb-92C2-25804820EDAC}">
              <c15:datalabelsRange>
                <c15:f>Sheet1!$E$2:$E$10</c15:f>
                <c15:dlblRangeCache>
                  <c:ptCount val="9"/>
                  <c:pt idx="0">
                    <c:v>Mhcs</c:v>
                  </c:pt>
                  <c:pt idx="1">
                    <c:v>Malard Nicolas</c:v>
                  </c:pt>
                  <c:pt idx="2">
                    <c:v>Roederer</c:v>
                  </c:pt>
                  <c:pt idx="3">
                    <c:v>Vranken Pommery</c:v>
                  </c:pt>
                  <c:pt idx="4">
                    <c:v>Bollinger</c:v>
                  </c:pt>
                  <c:pt idx="5">
                    <c:v>Malard</c:v>
                  </c:pt>
                  <c:pt idx="6">
                    <c:v>Laurent Perrier</c:v>
                  </c:pt>
                  <c:pt idx="7">
                    <c:v>Lanson-Bcc</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3"/>
          <c:min val="1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881"/>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1D1A7543-0D08-432D-838D-159737EBF0E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76612F93-4A03-4797-A14F-BCE93F07DCB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D871-46D6-BBFE-7C00E0D51738}"/>
                </c:ext>
              </c:extLst>
            </c:dLbl>
            <c:dLbl>
              <c:idx val="3"/>
              <c:tx>
                <c:rich>
                  <a:bodyPr/>
                  <a:lstStyle/>
                  <a:p>
                    <a:fld id="{619B0D53-9F8C-4C57-A2FF-4E76E146481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D871-46D6-BBFE-7C00E0D51738}"/>
                </c:ext>
              </c:extLst>
            </c:dLbl>
            <c:dLbl>
              <c:idx val="4"/>
              <c:tx>
                <c:rich>
                  <a:bodyPr/>
                  <a:lstStyle/>
                  <a:p>
                    <a:fld id="{129A1241-1B9F-4FF7-9D67-13171E173AF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D871-46D6-BBFE-7C00E0D51738}"/>
                </c:ext>
              </c:extLst>
            </c:dLbl>
            <c:dLbl>
              <c:idx val="5"/>
              <c:tx>
                <c:rich>
                  <a:bodyPr/>
                  <a:lstStyle/>
                  <a:p>
                    <a:fld id="{4FE9971F-498E-4F5A-8C1A-30BBD934304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71-46D6-BBFE-7C00E0D51738}"/>
                </c:ext>
              </c:extLst>
            </c:dLbl>
            <c:dLbl>
              <c:idx val="6"/>
              <c:tx>
                <c:rich>
                  <a:bodyPr/>
                  <a:lstStyle/>
                  <a:p>
                    <a:fld id="{6CEA5436-4453-44F7-A5A6-ED92BF380E3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71-46D6-BBFE-7C00E0D51738}"/>
                </c:ext>
              </c:extLst>
            </c:dLbl>
            <c:dLbl>
              <c:idx val="7"/>
              <c:tx>
                <c:rich>
                  <a:bodyPr/>
                  <a:lstStyle/>
                  <a:p>
                    <a:fld id="{5113D89E-C398-4F15-9E30-19BEB31E706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71-46D6-BBFE-7C00E0D51738}"/>
                </c:ext>
              </c:extLst>
            </c:dLbl>
            <c:dLbl>
              <c:idx val="8"/>
              <c:tx>
                <c:rich>
                  <a:bodyPr/>
                  <a:lstStyle/>
                  <a:p>
                    <a:fld id="{4B29D664-C622-4464-AE49-E5271F0C28B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29.984000000000002</c:v>
                </c:pt>
                <c:pt idx="1">
                  <c:v>11.5024</c:v>
                </c:pt>
              </c:numCache>
            </c:numRef>
          </c:xVal>
          <c:yVal>
            <c:numRef>
              <c:f>Sheet1!$B$2:$B$3</c:f>
              <c:numCache>
                <c:formatCode>General</c:formatCode>
                <c:ptCount val="2"/>
                <c:pt idx="0">
                  <c:v>1.706</c:v>
                </c:pt>
                <c:pt idx="1">
                  <c:v>0.68300000000000005</c:v>
                </c:pt>
              </c:numCache>
            </c:numRef>
          </c:yVal>
          <c:bubbleSize>
            <c:numRef>
              <c:f>Sheet1!$C$2:$C$3</c:f>
              <c:numCache>
                <c:formatCode>General</c:formatCode>
                <c:ptCount val="2"/>
                <c:pt idx="0">
                  <c:v>5637</c:v>
                </c:pt>
                <c:pt idx="1">
                  <c:v>4716</c:v>
                </c:pt>
              </c:numCache>
            </c:numRef>
          </c:bubbleSize>
          <c:bubble3D val="0"/>
          <c:extLst>
            <c:ext xmlns:c15="http://schemas.microsoft.com/office/drawing/2012/chart" uri="{02D57815-91ED-43cb-92C2-25804820EDAC}">
              <c15:datalabelsRange>
                <c15:f>Sheet1!$E$2:$E$10</c15:f>
                <c15:dlblRangeCache>
                  <c:ptCount val="9"/>
                  <c:pt idx="0">
                    <c:v>De Chanceny</c:v>
                  </c:pt>
                  <c:pt idx="1">
                    <c:v>Lyre's</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6"/>
          <c:min val="9"/>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907BADC-B6E7-4FFC-9FA0-1B86B8EAC4E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1C8EE12-5525-4476-B2AF-7F1C4661620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9F8A5FB-BD0F-42A8-B9EB-4D7EAE9B1EC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16697FD-8A67-41F9-A626-9BB54F1F8B0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43EBE7B-AB2D-4F37-A996-536832D1774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02778AF-39EB-46B8-8EF9-6FC422DE75F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3201F652-7617-4722-A790-099954A53DB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E7F9F64B-2CD4-48A0-9ADD-3D5B307F29F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73.257900000000006</c:v>
                </c:pt>
                <c:pt idx="1">
                  <c:v>59.653399999999998</c:v>
                </c:pt>
                <c:pt idx="2">
                  <c:v>23.547599999999999</c:v>
                </c:pt>
                <c:pt idx="3">
                  <c:v>32.562199999999997</c:v>
                </c:pt>
                <c:pt idx="4">
                  <c:v>54.731099999999998</c:v>
                </c:pt>
                <c:pt idx="5">
                  <c:v>49.309899999999999</c:v>
                </c:pt>
                <c:pt idx="6">
                  <c:v>31.505700000000001</c:v>
                </c:pt>
                <c:pt idx="7">
                  <c:v>32.752200000000002</c:v>
                </c:pt>
              </c:numCache>
            </c:numRef>
          </c:xVal>
          <c:yVal>
            <c:numRef>
              <c:f>Sheet1!$B$2:$B$9</c:f>
              <c:numCache>
                <c:formatCode>General</c:formatCode>
                <c:ptCount val="8"/>
                <c:pt idx="0">
                  <c:v>1.5860000000000001</c:v>
                </c:pt>
                <c:pt idx="1">
                  <c:v>1.284</c:v>
                </c:pt>
                <c:pt idx="2">
                  <c:v>0.51500000000000001</c:v>
                </c:pt>
                <c:pt idx="3">
                  <c:v>0.751</c:v>
                </c:pt>
                <c:pt idx="4">
                  <c:v>1.0740000000000001</c:v>
                </c:pt>
                <c:pt idx="5">
                  <c:v>1.0469999999999999</c:v>
                </c:pt>
                <c:pt idx="6">
                  <c:v>0.68600000000000005</c:v>
                </c:pt>
                <c:pt idx="7">
                  <c:v>0.70499999999999996</c:v>
                </c:pt>
              </c:numCache>
            </c:numRef>
          </c:yVal>
          <c:bubbleSize>
            <c:numRef>
              <c:f>Sheet1!$C$2:$C$9</c:f>
              <c:numCache>
                <c:formatCode>General</c:formatCode>
                <c:ptCount val="8"/>
                <c:pt idx="0">
                  <c:v>6310000</c:v>
                </c:pt>
                <c:pt idx="1">
                  <c:v>2210575</c:v>
                </c:pt>
                <c:pt idx="2">
                  <c:v>1456865</c:v>
                </c:pt>
                <c:pt idx="3">
                  <c:v>1190148</c:v>
                </c:pt>
                <c:pt idx="4">
                  <c:v>1142622</c:v>
                </c:pt>
                <c:pt idx="5">
                  <c:v>1020320</c:v>
                </c:pt>
                <c:pt idx="6">
                  <c:v>828914</c:v>
                </c:pt>
                <c:pt idx="7">
                  <c:v>634868</c:v>
                </c:pt>
              </c:numCache>
            </c:numRef>
          </c:bubbleSize>
          <c:bubble3D val="0"/>
          <c:extLst>
            <c:ext xmlns:c15="http://schemas.microsoft.com/office/drawing/2012/chart" uri="{02D57815-91ED-43cb-92C2-25804820EDAC}">
              <c15:datalabelsRange>
                <c15:f>Sheet1!$E$2:$E$10</c15:f>
                <c15:dlblRangeCache>
                  <c:ptCount val="9"/>
                  <c:pt idx="0">
                    <c:v>Mhcs</c:v>
                  </c:pt>
                  <c:pt idx="1">
                    <c:v>Roederer</c:v>
                  </c:pt>
                  <c:pt idx="2">
                    <c:v>Malard Nicolas</c:v>
                  </c:pt>
                  <c:pt idx="3">
                    <c:v>Vranken Pommery</c:v>
                  </c:pt>
                  <c:pt idx="4">
                    <c:v>Laurent Perrier</c:v>
                  </c:pt>
                  <c:pt idx="5">
                    <c:v>Bollinger</c:v>
                  </c:pt>
                  <c:pt idx="6">
                    <c:v>Malard</c:v>
                  </c:pt>
                  <c:pt idx="7">
                    <c:v>Cfgv</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8"/>
          <c:min val="1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786"/>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0462DE2-A913-40EE-9D3A-886E1310F00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20F2878-FA01-41CB-BEBE-EB0F94C1389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55B3BA4-1BEE-4E12-B904-BF02FF367DF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86F45B2-D527-424D-B266-380F9801EE4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777ACB2-CB82-4EB3-ACC6-F1FABD971C2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C91F5DA5-71DF-42FE-AFB2-89C80FCC9FD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7D23766-B561-4538-AF58-D5FBE11C569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9B790D0A-B7BC-4352-BA41-85A9D86F588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67.626400000000004</c:v>
                </c:pt>
                <c:pt idx="1">
                  <c:v>53.305</c:v>
                </c:pt>
                <c:pt idx="2">
                  <c:v>23.331199999999999</c:v>
                </c:pt>
                <c:pt idx="3">
                  <c:v>32.874699999999997</c:v>
                </c:pt>
                <c:pt idx="4">
                  <c:v>51.434100000000001</c:v>
                </c:pt>
                <c:pt idx="5">
                  <c:v>46.979399999999998</c:v>
                </c:pt>
                <c:pt idx="6">
                  <c:v>31.512499999999999</c:v>
                </c:pt>
                <c:pt idx="7">
                  <c:v>40.131700000000002</c:v>
                </c:pt>
              </c:numCache>
            </c:numRef>
          </c:xVal>
          <c:yVal>
            <c:numRef>
              <c:f>Sheet1!$B$2:$B$9</c:f>
              <c:numCache>
                <c:formatCode>General</c:formatCode>
                <c:ptCount val="8"/>
                <c:pt idx="0">
                  <c:v>1.585</c:v>
                </c:pt>
                <c:pt idx="1">
                  <c:v>1.252</c:v>
                </c:pt>
                <c:pt idx="2">
                  <c:v>0.55600000000000005</c:v>
                </c:pt>
                <c:pt idx="3">
                  <c:v>0.80700000000000005</c:v>
                </c:pt>
                <c:pt idx="4">
                  <c:v>1.1000000000000001</c:v>
                </c:pt>
                <c:pt idx="5">
                  <c:v>1.091</c:v>
                </c:pt>
                <c:pt idx="6">
                  <c:v>0.747</c:v>
                </c:pt>
                <c:pt idx="7">
                  <c:v>1.0109999999999999</c:v>
                </c:pt>
              </c:numCache>
            </c:numRef>
          </c:yVal>
          <c:bubbleSize>
            <c:numRef>
              <c:f>Sheet1!$C$2:$C$9</c:f>
              <c:numCache>
                <c:formatCode>General</c:formatCode>
                <c:ptCount val="8"/>
                <c:pt idx="0">
                  <c:v>2621943</c:v>
                </c:pt>
                <c:pt idx="1">
                  <c:v>1039074</c:v>
                </c:pt>
                <c:pt idx="2">
                  <c:v>846597</c:v>
                </c:pt>
                <c:pt idx="3">
                  <c:v>661800</c:v>
                </c:pt>
                <c:pt idx="4">
                  <c:v>525811</c:v>
                </c:pt>
                <c:pt idx="5">
                  <c:v>476747</c:v>
                </c:pt>
                <c:pt idx="6">
                  <c:v>464085</c:v>
                </c:pt>
                <c:pt idx="7">
                  <c:v>345173</c:v>
                </c:pt>
              </c:numCache>
            </c:numRef>
          </c:bubbleSize>
          <c:bubble3D val="0"/>
          <c:extLst>
            <c:ext xmlns:c15="http://schemas.microsoft.com/office/drawing/2012/chart" uri="{02D57815-91ED-43cb-92C2-25804820EDAC}">
              <c15:datalabelsRange>
                <c15:f>Sheet1!$E$2:$E$10</c15:f>
                <c15:dlblRangeCache>
                  <c:ptCount val="9"/>
                  <c:pt idx="0">
                    <c:v>Mhcs</c:v>
                  </c:pt>
                  <c:pt idx="1">
                    <c:v>Roederer</c:v>
                  </c:pt>
                  <c:pt idx="2">
                    <c:v>Malard Nicolas</c:v>
                  </c:pt>
                  <c:pt idx="3">
                    <c:v>Vranken Pommery</c:v>
                  </c:pt>
                  <c:pt idx="4">
                    <c:v>Laurent Perrier</c:v>
                  </c:pt>
                  <c:pt idx="5">
                    <c:v>Bollinger</c:v>
                  </c:pt>
                  <c:pt idx="6">
                    <c:v>Malard</c:v>
                  </c:pt>
                  <c:pt idx="7">
                    <c:v>Lanson-Bcc</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1"/>
          <c:min val="1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784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F5D70F6-5420-4606-BCEC-AEFAF8ECB95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3D34190-DD9D-429D-9014-ABD4C89E442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99D77D1-A4BA-4BF1-8699-C158AB577A1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CB852FA-53D1-4C8B-BCBB-9BB5244E97B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CE978D6-F80A-4E8A-9BA8-90826813899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C97FA847-9B47-4721-84B0-ED9891764B5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C0BF0122-8E5A-4A98-A874-10041DEDCC8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4BDA36E-46D7-412F-B29D-68FB084360E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68.836399999999998</c:v>
                </c:pt>
                <c:pt idx="1">
                  <c:v>54.970700000000001</c:v>
                </c:pt>
                <c:pt idx="2">
                  <c:v>23.511199999999999</c:v>
                </c:pt>
                <c:pt idx="3">
                  <c:v>32.854700000000001</c:v>
                </c:pt>
                <c:pt idx="4">
                  <c:v>46.3675</c:v>
                </c:pt>
                <c:pt idx="5">
                  <c:v>31.48</c:v>
                </c:pt>
                <c:pt idx="6">
                  <c:v>52.412700000000001</c:v>
                </c:pt>
                <c:pt idx="7">
                  <c:v>40.483800000000002</c:v>
                </c:pt>
              </c:numCache>
            </c:numRef>
          </c:xVal>
          <c:yVal>
            <c:numRef>
              <c:f>Sheet1!$B$2:$B$9</c:f>
              <c:numCache>
                <c:formatCode>General</c:formatCode>
                <c:ptCount val="8"/>
                <c:pt idx="0">
                  <c:v>1.609</c:v>
                </c:pt>
                <c:pt idx="1">
                  <c:v>1.2749999999999999</c:v>
                </c:pt>
                <c:pt idx="2">
                  <c:v>0.55900000000000005</c:v>
                </c:pt>
                <c:pt idx="3">
                  <c:v>0.80700000000000005</c:v>
                </c:pt>
                <c:pt idx="4">
                  <c:v>1.0780000000000001</c:v>
                </c:pt>
                <c:pt idx="5">
                  <c:v>0.745</c:v>
                </c:pt>
                <c:pt idx="6">
                  <c:v>1.1080000000000001</c:v>
                </c:pt>
                <c:pt idx="7">
                  <c:v>1.01</c:v>
                </c:pt>
              </c:numCache>
            </c:numRef>
          </c:yVal>
          <c:bubbleSize>
            <c:numRef>
              <c:f>Sheet1!$C$2:$C$9</c:f>
              <c:numCache>
                <c:formatCode>General</c:formatCode>
                <c:ptCount val="8"/>
                <c:pt idx="0">
                  <c:v>4168455</c:v>
                </c:pt>
                <c:pt idx="1">
                  <c:v>1504989</c:v>
                </c:pt>
                <c:pt idx="2">
                  <c:v>1311876</c:v>
                </c:pt>
                <c:pt idx="3">
                  <c:v>1024081</c:v>
                </c:pt>
                <c:pt idx="4">
                  <c:v>791865</c:v>
                </c:pt>
                <c:pt idx="5">
                  <c:v>730304</c:v>
                </c:pt>
                <c:pt idx="6">
                  <c:v>682885</c:v>
                </c:pt>
                <c:pt idx="7">
                  <c:v>528597</c:v>
                </c:pt>
              </c:numCache>
            </c:numRef>
          </c:bubbleSize>
          <c:bubble3D val="0"/>
          <c:extLst>
            <c:ext xmlns:c15="http://schemas.microsoft.com/office/drawing/2012/chart" uri="{02D57815-91ED-43cb-92C2-25804820EDAC}">
              <c15:datalabelsRange>
                <c15:f>Sheet1!$E$2:$E$10</c15:f>
                <c15:dlblRangeCache>
                  <c:ptCount val="9"/>
                  <c:pt idx="0">
                    <c:v>Mhcs</c:v>
                  </c:pt>
                  <c:pt idx="1">
                    <c:v>Roederer</c:v>
                  </c:pt>
                  <c:pt idx="2">
                    <c:v>Malard Nicolas</c:v>
                  </c:pt>
                  <c:pt idx="3">
                    <c:v>Vranken Pommery</c:v>
                  </c:pt>
                  <c:pt idx="4">
                    <c:v>Bollinger</c:v>
                  </c:pt>
                  <c:pt idx="5">
                    <c:v>Malard</c:v>
                  </c:pt>
                  <c:pt idx="6">
                    <c:v>Laurent Perrier</c:v>
                  </c:pt>
                  <c:pt idx="7">
                    <c:v>Lanson-Bcc</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3"/>
          <c:min val="1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808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9495529-7745-4268-A1D3-4E8B33A58A2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20EB11D-194D-413B-BC06-40F415DDC67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B34B0F0-4BFF-4011-A4EE-986CB0C7C60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24C3A7C-8DA6-44C7-8F2C-75A947D2FC5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6CB4DE8-51B2-4ED3-8C1C-55E5805CB5D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9E93C46-FD4C-4F7C-A184-659BC9DC3DE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D63FA3F-8832-4470-9465-0FE0CB774F8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45360875-2AA4-4939-A878-4BA6E36C997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68.467699999999994</c:v>
                </c:pt>
                <c:pt idx="1">
                  <c:v>53.702399999999997</c:v>
                </c:pt>
                <c:pt idx="2">
                  <c:v>23.655200000000001</c:v>
                </c:pt>
                <c:pt idx="3">
                  <c:v>32.689100000000003</c:v>
                </c:pt>
                <c:pt idx="4">
                  <c:v>31.5063</c:v>
                </c:pt>
                <c:pt idx="5">
                  <c:v>47.947299999999998</c:v>
                </c:pt>
                <c:pt idx="6">
                  <c:v>52.280799999999999</c:v>
                </c:pt>
                <c:pt idx="7">
                  <c:v>40.0745</c:v>
                </c:pt>
              </c:numCache>
            </c:numRef>
          </c:xVal>
          <c:yVal>
            <c:numRef>
              <c:f>Sheet1!$B$2:$B$9</c:f>
              <c:numCache>
                <c:formatCode>General</c:formatCode>
                <c:ptCount val="8"/>
                <c:pt idx="0">
                  <c:v>1.6040000000000001</c:v>
                </c:pt>
                <c:pt idx="1">
                  <c:v>1.248</c:v>
                </c:pt>
                <c:pt idx="2">
                  <c:v>0.56399999999999995</c:v>
                </c:pt>
                <c:pt idx="3">
                  <c:v>0.80700000000000005</c:v>
                </c:pt>
                <c:pt idx="4">
                  <c:v>0.748</c:v>
                </c:pt>
                <c:pt idx="5">
                  <c:v>1.111</c:v>
                </c:pt>
                <c:pt idx="6">
                  <c:v>1.0960000000000001</c:v>
                </c:pt>
                <c:pt idx="7">
                  <c:v>1.002</c:v>
                </c:pt>
              </c:numCache>
            </c:numRef>
          </c:yVal>
          <c:bubbleSize>
            <c:numRef>
              <c:f>Sheet1!$C$2:$C$9</c:f>
              <c:numCache>
                <c:formatCode>General</c:formatCode>
                <c:ptCount val="8"/>
                <c:pt idx="0">
                  <c:v>3276523</c:v>
                </c:pt>
                <c:pt idx="1">
                  <c:v>1220549</c:v>
                </c:pt>
                <c:pt idx="2">
                  <c:v>1019585</c:v>
                </c:pt>
                <c:pt idx="3">
                  <c:v>838932</c:v>
                </c:pt>
                <c:pt idx="4">
                  <c:v>627069</c:v>
                </c:pt>
                <c:pt idx="5">
                  <c:v>586875</c:v>
                </c:pt>
                <c:pt idx="6">
                  <c:v>511724</c:v>
                </c:pt>
                <c:pt idx="7">
                  <c:v>492516</c:v>
                </c:pt>
              </c:numCache>
            </c:numRef>
          </c:bubbleSize>
          <c:bubble3D val="0"/>
          <c:extLst>
            <c:ext xmlns:c15="http://schemas.microsoft.com/office/drawing/2012/chart" uri="{02D57815-91ED-43cb-92C2-25804820EDAC}">
              <c15:datalabelsRange>
                <c15:f>Sheet1!$E$2:$E$10</c15:f>
                <c15:dlblRangeCache>
                  <c:ptCount val="9"/>
                  <c:pt idx="0">
                    <c:v>Mhcs</c:v>
                  </c:pt>
                  <c:pt idx="1">
                    <c:v>Roederer</c:v>
                  </c:pt>
                  <c:pt idx="2">
                    <c:v>Malard Nicolas</c:v>
                  </c:pt>
                  <c:pt idx="3">
                    <c:v>Vranken Pommery</c:v>
                  </c:pt>
                  <c:pt idx="4">
                    <c:v>Malard</c:v>
                  </c:pt>
                  <c:pt idx="5">
                    <c:v>Bollinger</c:v>
                  </c:pt>
                  <c:pt idx="6">
                    <c:v>Laurent Perrier</c:v>
                  </c:pt>
                  <c:pt idx="7">
                    <c:v>Lanson-Bcc</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2"/>
          <c:min val="1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804"/>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FE84C98-6CEC-4113-BD3B-880A48D0863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FCEC0C1-73D1-411F-871C-957D6C475F5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9086430-49B4-41BB-BE12-681CED95E9E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2B7B1AD-96D6-47D6-8D4F-2D0D10BAA75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1E546652-E980-461A-B29F-E6882EA87F7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6AC2AD7-AA87-447D-92F7-C1193A811F1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1ADC9B6C-2B27-4714-99D7-BCA18CF5287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A8437382-F344-4BA7-8E03-C7AD1733EC6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67.668199999999999</c:v>
                </c:pt>
                <c:pt idx="1">
                  <c:v>54.089399999999998</c:v>
                </c:pt>
                <c:pt idx="2">
                  <c:v>23.724799999999998</c:v>
                </c:pt>
                <c:pt idx="3">
                  <c:v>32.999400000000001</c:v>
                </c:pt>
                <c:pt idx="4">
                  <c:v>31.6996</c:v>
                </c:pt>
                <c:pt idx="5">
                  <c:v>46.7316</c:v>
                </c:pt>
                <c:pt idx="6">
                  <c:v>52.491900000000001</c:v>
                </c:pt>
                <c:pt idx="7">
                  <c:v>40.946800000000003</c:v>
                </c:pt>
              </c:numCache>
            </c:numRef>
          </c:xVal>
          <c:yVal>
            <c:numRef>
              <c:f>Sheet1!$B$2:$B$9</c:f>
              <c:numCache>
                <c:formatCode>General</c:formatCode>
                <c:ptCount val="8"/>
                <c:pt idx="0">
                  <c:v>1.6080000000000001</c:v>
                </c:pt>
                <c:pt idx="1">
                  <c:v>1.256</c:v>
                </c:pt>
                <c:pt idx="2">
                  <c:v>0.57199999999999995</c:v>
                </c:pt>
                <c:pt idx="3">
                  <c:v>0.81699999999999995</c:v>
                </c:pt>
                <c:pt idx="4">
                  <c:v>0.76200000000000001</c:v>
                </c:pt>
                <c:pt idx="5">
                  <c:v>1.103</c:v>
                </c:pt>
                <c:pt idx="6">
                  <c:v>1.1220000000000001</c:v>
                </c:pt>
                <c:pt idx="7">
                  <c:v>1.038</c:v>
                </c:pt>
              </c:numCache>
            </c:numRef>
          </c:yVal>
          <c:bubbleSize>
            <c:numRef>
              <c:f>Sheet1!$C$2:$C$9</c:f>
              <c:numCache>
                <c:formatCode>General</c:formatCode>
                <c:ptCount val="8"/>
                <c:pt idx="0">
                  <c:v>2905740</c:v>
                </c:pt>
                <c:pt idx="1">
                  <c:v>1063669</c:v>
                </c:pt>
                <c:pt idx="2">
                  <c:v>1047473</c:v>
                </c:pt>
                <c:pt idx="3">
                  <c:v>792679</c:v>
                </c:pt>
                <c:pt idx="4">
                  <c:v>584730</c:v>
                </c:pt>
                <c:pt idx="5">
                  <c:v>571995</c:v>
                </c:pt>
                <c:pt idx="6">
                  <c:v>451798</c:v>
                </c:pt>
                <c:pt idx="7">
                  <c:v>403940</c:v>
                </c:pt>
              </c:numCache>
            </c:numRef>
          </c:bubbleSize>
          <c:bubble3D val="0"/>
          <c:extLst>
            <c:ext xmlns:c15="http://schemas.microsoft.com/office/drawing/2012/chart" uri="{02D57815-91ED-43cb-92C2-25804820EDAC}">
              <c15:datalabelsRange>
                <c15:f>Sheet1!$E$2:$E$10</c15:f>
                <c15:dlblRangeCache>
                  <c:ptCount val="9"/>
                  <c:pt idx="0">
                    <c:v>Mhcs</c:v>
                  </c:pt>
                  <c:pt idx="1">
                    <c:v>Roederer</c:v>
                  </c:pt>
                  <c:pt idx="2">
                    <c:v>Malard Nicolas</c:v>
                  </c:pt>
                  <c:pt idx="3">
                    <c:v>Vranken Pommery</c:v>
                  </c:pt>
                  <c:pt idx="4">
                    <c:v>Malard</c:v>
                  </c:pt>
                  <c:pt idx="5">
                    <c:v>Bollinger</c:v>
                  </c:pt>
                  <c:pt idx="6">
                    <c:v>Laurent Perrier</c:v>
                  </c:pt>
                  <c:pt idx="7">
                    <c:v>Lanson-Bcc</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1"/>
          <c:min val="1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8080000000000001"/>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6003BF0-B147-4084-AED3-CC18FCFAC5E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0B240A8-E5D0-4083-9852-EE121A4948A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790B54A-B92B-455A-B11F-17864EB907B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61A0FC1-071B-4187-9A3B-CE5060918BC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16C5138-C5A8-4863-A087-7A43ACE24DA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7478CB4-6D09-4CF7-A407-32267DF9661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36A2FBA3-1EE7-425C-8343-88CF30EEF49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6AB74F6B-2B5D-429C-8AE3-027684899CA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4.4570999999999996</c:v>
                </c:pt>
                <c:pt idx="1">
                  <c:v>3.3847999999999998</c:v>
                </c:pt>
                <c:pt idx="2">
                  <c:v>5.8516000000000004</c:v>
                </c:pt>
                <c:pt idx="3">
                  <c:v>7.1054000000000004</c:v>
                </c:pt>
                <c:pt idx="4">
                  <c:v>6.9976000000000003</c:v>
                </c:pt>
                <c:pt idx="5">
                  <c:v>6.3041999999999998</c:v>
                </c:pt>
                <c:pt idx="6">
                  <c:v>5.0248999999999997</c:v>
                </c:pt>
                <c:pt idx="7">
                  <c:v>7.1954000000000002</c:v>
                </c:pt>
              </c:numCache>
            </c:numRef>
          </c:xVal>
          <c:yVal>
            <c:numRef>
              <c:f>Sheet1!$B$2:$B$9</c:f>
              <c:numCache>
                <c:formatCode>General</c:formatCode>
                <c:ptCount val="8"/>
                <c:pt idx="0">
                  <c:v>1.1240000000000001</c:v>
                </c:pt>
                <c:pt idx="1">
                  <c:v>0.39100000000000001</c:v>
                </c:pt>
                <c:pt idx="2">
                  <c:v>1.286</c:v>
                </c:pt>
                <c:pt idx="3">
                  <c:v>1.3109999999999999</c:v>
                </c:pt>
                <c:pt idx="4">
                  <c:v>1.8540000000000001</c:v>
                </c:pt>
                <c:pt idx="5">
                  <c:v>1.5669999999999999</c:v>
                </c:pt>
                <c:pt idx="6">
                  <c:v>0.45300000000000001</c:v>
                </c:pt>
                <c:pt idx="7">
                  <c:v>1.446</c:v>
                </c:pt>
              </c:numCache>
            </c:numRef>
          </c:yVal>
          <c:bubbleSize>
            <c:numRef>
              <c:f>Sheet1!$C$2:$C$9</c:f>
              <c:numCache>
                <c:formatCode>General</c:formatCode>
                <c:ptCount val="8"/>
                <c:pt idx="0">
                  <c:v>132987950</c:v>
                </c:pt>
                <c:pt idx="1">
                  <c:v>64054234</c:v>
                </c:pt>
                <c:pt idx="2">
                  <c:v>33996423</c:v>
                </c:pt>
                <c:pt idx="3">
                  <c:v>32603771</c:v>
                </c:pt>
                <c:pt idx="4">
                  <c:v>26217786</c:v>
                </c:pt>
                <c:pt idx="5">
                  <c:v>25107246</c:v>
                </c:pt>
                <c:pt idx="6">
                  <c:v>19939067</c:v>
                </c:pt>
                <c:pt idx="7">
                  <c:v>17071028</c:v>
                </c:pt>
              </c:numCache>
            </c:numRef>
          </c:bubbleSize>
          <c:bubble3D val="0"/>
          <c:extLst>
            <c:ext xmlns:c15="http://schemas.microsoft.com/office/drawing/2012/chart" uri="{02D57815-91ED-43cb-92C2-25804820EDAC}">
              <c15:datalabelsRange>
                <c15:f>Sheet1!$E$2:$E$10</c15:f>
                <c15:dlblRangeCache>
                  <c:ptCount val="9"/>
                  <c:pt idx="0">
                    <c:v>Mdd</c:v>
                  </c:pt>
                  <c:pt idx="1">
                    <c:v>Cfgv</c:v>
                  </c:pt>
                  <c:pt idx="2">
                    <c:v>Freixenet</c:v>
                  </c:pt>
                  <c:pt idx="3">
                    <c:v>Wolfberger</c:v>
                  </c:pt>
                  <c:pt idx="4">
                    <c:v>Campari</c:v>
                  </c:pt>
                  <c:pt idx="5">
                    <c:v>Castel</c:v>
                  </c:pt>
                  <c:pt idx="6">
                    <c:v>Kriter</c:v>
                  </c:pt>
                  <c:pt idx="7">
                    <c:v>Arthur Metz</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9"/>
          <c:min val="3"/>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0540000000000003"/>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BB0A55A-7D1E-4567-BC21-D3DD4D46459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30C2F74-F8AE-416D-BA1D-E6AC2CD405C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24D1A7D-D2A0-48D5-8BA3-3FFC074FD76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73FDCE2-9336-46C9-A139-1AD8368DD09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4E76123-62A0-41A9-B5AB-B098E3B17DF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11828E7-FEAB-4AF1-BECF-833DE7828DA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9FE5861-0947-4F57-9703-A51BFAF0DC6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EC9D1F1A-7043-417C-BB2B-6D516AABA2A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7.3982000000000001</c:v>
                </c:pt>
                <c:pt idx="1">
                  <c:v>11.451499999999999</c:v>
                </c:pt>
                <c:pt idx="2">
                  <c:v>10.206799999999999</c:v>
                </c:pt>
                <c:pt idx="3">
                  <c:v>17.4328</c:v>
                </c:pt>
                <c:pt idx="4">
                  <c:v>9.1104000000000003</c:v>
                </c:pt>
                <c:pt idx="5">
                  <c:v>11.800599999999999</c:v>
                </c:pt>
                <c:pt idx="6">
                  <c:v>11.4077</c:v>
                </c:pt>
                <c:pt idx="7">
                  <c:v>13.4663</c:v>
                </c:pt>
              </c:numCache>
            </c:numRef>
          </c:xVal>
          <c:yVal>
            <c:numRef>
              <c:f>Sheet1!$B$2:$B$9</c:f>
              <c:numCache>
                <c:formatCode>General</c:formatCode>
                <c:ptCount val="8"/>
                <c:pt idx="0">
                  <c:v>0.7</c:v>
                </c:pt>
                <c:pt idx="1">
                  <c:v>1.083</c:v>
                </c:pt>
                <c:pt idx="2">
                  <c:v>0.96499999999999997</c:v>
                </c:pt>
                <c:pt idx="3">
                  <c:v>1.667</c:v>
                </c:pt>
                <c:pt idx="4">
                  <c:v>0.86199999999999999</c:v>
                </c:pt>
                <c:pt idx="5">
                  <c:v>1.0640000000000001</c:v>
                </c:pt>
                <c:pt idx="6">
                  <c:v>1.08</c:v>
                </c:pt>
                <c:pt idx="7">
                  <c:v>1.2729999999999999</c:v>
                </c:pt>
              </c:numCache>
            </c:numRef>
          </c:yVal>
          <c:bubbleSize>
            <c:numRef>
              <c:f>Sheet1!$C$2:$C$9</c:f>
              <c:numCache>
                <c:formatCode>General</c:formatCode>
                <c:ptCount val="8"/>
                <c:pt idx="0">
                  <c:v>670018</c:v>
                </c:pt>
                <c:pt idx="1">
                  <c:v>607538</c:v>
                </c:pt>
                <c:pt idx="2">
                  <c:v>485974</c:v>
                </c:pt>
                <c:pt idx="3">
                  <c:v>388332</c:v>
                </c:pt>
                <c:pt idx="4">
                  <c:v>323774</c:v>
                </c:pt>
                <c:pt idx="5">
                  <c:v>305234</c:v>
                </c:pt>
                <c:pt idx="6">
                  <c:v>282454</c:v>
                </c:pt>
                <c:pt idx="7">
                  <c:v>158041</c:v>
                </c:pt>
              </c:numCache>
            </c:numRef>
          </c:bubbleSize>
          <c:bubble3D val="0"/>
          <c:extLst>
            <c:ext xmlns:c15="http://schemas.microsoft.com/office/drawing/2012/chart" uri="{02D57815-91ED-43cb-92C2-25804820EDAC}">
              <c15:datalabelsRange>
                <c15:f>Sheet1!$E$2:$E$10</c15:f>
                <c15:dlblRangeCache>
                  <c:ptCount val="9"/>
                  <c:pt idx="0">
                    <c:v>Cantine Vitevis</c:v>
                  </c:pt>
                  <c:pt idx="1">
                    <c:v>Bottega</c:v>
                  </c:pt>
                  <c:pt idx="2">
                    <c:v>Kriter</c:v>
                  </c:pt>
                  <c:pt idx="3">
                    <c:v>Mure</c:v>
                  </c:pt>
                  <c:pt idx="4">
                    <c:v>Chardonnier</c:v>
                  </c:pt>
                  <c:pt idx="5">
                    <c:v>Bouvet-Ladubay</c:v>
                  </c:pt>
                  <c:pt idx="6">
                    <c:v>Chateau Moncontour</c:v>
                  </c:pt>
                  <c:pt idx="7">
                    <c:v>De Chancen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
          <c:min val="6"/>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867"/>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9487E0C-E73B-479A-911E-636C0741EBD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F45FF1E-448E-4453-BE64-71EC889A349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3499A19-55AC-4A37-9649-76D4AA098C7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6CC3469-7420-4011-8BC9-57956966D04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C2340FB-9379-4A6F-86BA-541075BAE22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5AAE84C-892E-4B22-998F-DFDA6B592A2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602C94C-AC18-4DE4-B01A-01C0FD9D1BE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1CE2F8FE-F246-4825-8EA7-F06B9693BA1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4.4570999999999996</c:v>
                </c:pt>
                <c:pt idx="1">
                  <c:v>3.3847999999999998</c:v>
                </c:pt>
                <c:pt idx="2">
                  <c:v>5.8516000000000004</c:v>
                </c:pt>
                <c:pt idx="3">
                  <c:v>7.1054000000000004</c:v>
                </c:pt>
                <c:pt idx="4">
                  <c:v>6.9976000000000003</c:v>
                </c:pt>
                <c:pt idx="5">
                  <c:v>6.3041999999999998</c:v>
                </c:pt>
                <c:pt idx="6">
                  <c:v>4.9625000000000004</c:v>
                </c:pt>
                <c:pt idx="7">
                  <c:v>7.1954000000000002</c:v>
                </c:pt>
              </c:numCache>
            </c:numRef>
          </c:xVal>
          <c:yVal>
            <c:numRef>
              <c:f>Sheet1!$B$2:$B$9</c:f>
              <c:numCache>
                <c:formatCode>General</c:formatCode>
                <c:ptCount val="8"/>
                <c:pt idx="0">
                  <c:v>1.129</c:v>
                </c:pt>
                <c:pt idx="1">
                  <c:v>0.39300000000000002</c:v>
                </c:pt>
                <c:pt idx="2">
                  <c:v>1.2929999999999999</c:v>
                </c:pt>
                <c:pt idx="3">
                  <c:v>1.3169999999999999</c:v>
                </c:pt>
                <c:pt idx="4">
                  <c:v>1.863</c:v>
                </c:pt>
                <c:pt idx="5">
                  <c:v>1.575</c:v>
                </c:pt>
                <c:pt idx="6">
                  <c:v>0.44600000000000001</c:v>
                </c:pt>
                <c:pt idx="7">
                  <c:v>1.4530000000000001</c:v>
                </c:pt>
              </c:numCache>
            </c:numRef>
          </c:yVal>
          <c:bubbleSize>
            <c:numRef>
              <c:f>Sheet1!$C$2:$C$9</c:f>
              <c:numCache>
                <c:formatCode>General</c:formatCode>
                <c:ptCount val="8"/>
                <c:pt idx="0">
                  <c:v>132987950</c:v>
                </c:pt>
                <c:pt idx="1">
                  <c:v>64054234</c:v>
                </c:pt>
                <c:pt idx="2">
                  <c:v>33996423</c:v>
                </c:pt>
                <c:pt idx="3">
                  <c:v>32603771</c:v>
                </c:pt>
                <c:pt idx="4">
                  <c:v>26217786</c:v>
                </c:pt>
                <c:pt idx="5">
                  <c:v>25099521</c:v>
                </c:pt>
                <c:pt idx="6">
                  <c:v>19453979</c:v>
                </c:pt>
                <c:pt idx="7">
                  <c:v>17071028</c:v>
                </c:pt>
              </c:numCache>
            </c:numRef>
          </c:bubbleSize>
          <c:bubble3D val="0"/>
          <c:extLst>
            <c:ext xmlns:c15="http://schemas.microsoft.com/office/drawing/2012/chart" uri="{02D57815-91ED-43cb-92C2-25804820EDAC}">
              <c15:datalabelsRange>
                <c15:f>Sheet1!$E$2:$E$10</c15:f>
                <c15:dlblRangeCache>
                  <c:ptCount val="9"/>
                  <c:pt idx="0">
                    <c:v>Mdd</c:v>
                  </c:pt>
                  <c:pt idx="1">
                    <c:v>Cfgv</c:v>
                  </c:pt>
                  <c:pt idx="2">
                    <c:v>Freixenet</c:v>
                  </c:pt>
                  <c:pt idx="3">
                    <c:v>Wolfberger</c:v>
                  </c:pt>
                  <c:pt idx="4">
                    <c:v>Campari</c:v>
                  </c:pt>
                  <c:pt idx="5">
                    <c:v>Castel</c:v>
                  </c:pt>
                  <c:pt idx="6">
                    <c:v>Kriter</c:v>
                  </c:pt>
                  <c:pt idx="7">
                    <c:v>Arthur Metz</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9"/>
          <c:min val="3"/>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0630000000000002"/>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C1B08BF-E06D-4CDC-8678-F06C9FD0098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4A9CF74-024C-4259-87CC-B8B3FF038D8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5E8703C-4F6A-4314-9C2A-EFBCF50F291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3CAFD8E-A5C4-4340-BD23-9159F94CD2C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B6839C0-556C-47D9-8B5E-9BFB68AE02C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2E7589C-E8F8-4DEE-852D-468F9FDBCB2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C3CC3461-A658-4147-B243-DA47713A797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39D518C2-3785-4F17-BCB4-17A6CBBEBC9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7.4409999999999998</c:v>
                </c:pt>
                <c:pt idx="1">
                  <c:v>11.4527</c:v>
                </c:pt>
                <c:pt idx="2">
                  <c:v>10.164400000000001</c:v>
                </c:pt>
                <c:pt idx="3">
                  <c:v>17.365300000000001</c:v>
                </c:pt>
                <c:pt idx="4">
                  <c:v>9.0898000000000003</c:v>
                </c:pt>
                <c:pt idx="5">
                  <c:v>11.398199999999999</c:v>
                </c:pt>
                <c:pt idx="6">
                  <c:v>11.792999999999999</c:v>
                </c:pt>
                <c:pt idx="7">
                  <c:v>13.5303</c:v>
                </c:pt>
              </c:numCache>
            </c:numRef>
          </c:xVal>
          <c:yVal>
            <c:numRef>
              <c:f>Sheet1!$B$2:$B$9</c:f>
              <c:numCache>
                <c:formatCode>General</c:formatCode>
                <c:ptCount val="8"/>
                <c:pt idx="0">
                  <c:v>0.70599999999999996</c:v>
                </c:pt>
                <c:pt idx="1">
                  <c:v>1.0860000000000001</c:v>
                </c:pt>
                <c:pt idx="2">
                  <c:v>0.96399999999999997</c:v>
                </c:pt>
                <c:pt idx="3">
                  <c:v>1.659</c:v>
                </c:pt>
                <c:pt idx="4">
                  <c:v>0.86199999999999999</c:v>
                </c:pt>
                <c:pt idx="5">
                  <c:v>1.081</c:v>
                </c:pt>
                <c:pt idx="6">
                  <c:v>1.069</c:v>
                </c:pt>
                <c:pt idx="7">
                  <c:v>1.284</c:v>
                </c:pt>
              </c:numCache>
            </c:numRef>
          </c:yVal>
          <c:bubbleSize>
            <c:numRef>
              <c:f>Sheet1!$C$2:$C$9</c:f>
              <c:numCache>
                <c:formatCode>General</c:formatCode>
                <c:ptCount val="8"/>
                <c:pt idx="0">
                  <c:v>328526</c:v>
                </c:pt>
                <c:pt idx="1">
                  <c:v>290933</c:v>
                </c:pt>
                <c:pt idx="2">
                  <c:v>225253</c:v>
                </c:pt>
                <c:pt idx="3">
                  <c:v>179505</c:v>
                </c:pt>
                <c:pt idx="4">
                  <c:v>172107</c:v>
                </c:pt>
                <c:pt idx="5">
                  <c:v>151528</c:v>
                </c:pt>
                <c:pt idx="6">
                  <c:v>144783</c:v>
                </c:pt>
                <c:pt idx="7">
                  <c:v>89327</c:v>
                </c:pt>
              </c:numCache>
            </c:numRef>
          </c:bubbleSize>
          <c:bubble3D val="0"/>
          <c:extLst>
            <c:ext xmlns:c15="http://schemas.microsoft.com/office/drawing/2012/chart" uri="{02D57815-91ED-43cb-92C2-25804820EDAC}">
              <c15:datalabelsRange>
                <c15:f>Sheet1!$E$2:$E$10</c15:f>
                <c15:dlblRangeCache>
                  <c:ptCount val="9"/>
                  <c:pt idx="0">
                    <c:v>Cantine Vitevis</c:v>
                  </c:pt>
                  <c:pt idx="1">
                    <c:v>Bottega</c:v>
                  </c:pt>
                  <c:pt idx="2">
                    <c:v>Kriter</c:v>
                  </c:pt>
                  <c:pt idx="3">
                    <c:v>Mure</c:v>
                  </c:pt>
                  <c:pt idx="4">
                    <c:v>Chardonnier</c:v>
                  </c:pt>
                  <c:pt idx="5">
                    <c:v>Chateau Moncontour</c:v>
                  </c:pt>
                  <c:pt idx="6">
                    <c:v>Bouvet-Ladubay</c:v>
                  </c:pt>
                  <c:pt idx="7">
                    <c:v>De Chancen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
          <c:min val="6"/>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85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DC6ED3F-2190-45CC-9AE1-93EDECD90F2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5B51A59-D38F-4B95-986B-ABE2F5FE99D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10FA5AA-3173-4944-87F8-1599F77D8E3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391B519-A507-4E70-82FC-9C6EEB8D6F8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8D65A03-8335-473E-A88D-AE12F91BF30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D2D6D67-F1CD-432D-B7BF-0D5541AF092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76F9DE27-0FA0-43F9-A866-257ADE7427F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2E789535-A90D-4B2A-9050-CA01DA9E57C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7.3243999999999998</c:v>
                </c:pt>
                <c:pt idx="1">
                  <c:v>9.9948999999999995</c:v>
                </c:pt>
                <c:pt idx="2">
                  <c:v>11.3698</c:v>
                </c:pt>
                <c:pt idx="3">
                  <c:v>17.401599999999998</c:v>
                </c:pt>
                <c:pt idx="4">
                  <c:v>11.7576</c:v>
                </c:pt>
                <c:pt idx="5">
                  <c:v>11.376799999999999</c:v>
                </c:pt>
                <c:pt idx="6">
                  <c:v>9.0983000000000001</c:v>
                </c:pt>
                <c:pt idx="7">
                  <c:v>13.245200000000001</c:v>
                </c:pt>
              </c:numCache>
            </c:numRef>
          </c:xVal>
          <c:yVal>
            <c:numRef>
              <c:f>Sheet1!$B$2:$B$9</c:f>
              <c:numCache>
                <c:formatCode>General</c:formatCode>
                <c:ptCount val="8"/>
                <c:pt idx="0">
                  <c:v>0.69299999999999995</c:v>
                </c:pt>
                <c:pt idx="1">
                  <c:v>0.94599999999999995</c:v>
                </c:pt>
                <c:pt idx="2">
                  <c:v>1.075</c:v>
                </c:pt>
                <c:pt idx="3">
                  <c:v>1.65</c:v>
                </c:pt>
                <c:pt idx="4">
                  <c:v>1.0609999999999999</c:v>
                </c:pt>
                <c:pt idx="5">
                  <c:v>1.077</c:v>
                </c:pt>
                <c:pt idx="6">
                  <c:v>0.86199999999999999</c:v>
                </c:pt>
                <c:pt idx="7">
                  <c:v>1.256</c:v>
                </c:pt>
              </c:numCache>
            </c:numRef>
          </c:yVal>
          <c:bubbleSize>
            <c:numRef>
              <c:f>Sheet1!$C$2:$C$9</c:f>
              <c:numCache>
                <c:formatCode>General</c:formatCode>
                <c:ptCount val="8"/>
                <c:pt idx="0">
                  <c:v>120296</c:v>
                </c:pt>
                <c:pt idx="1">
                  <c:v>114502</c:v>
                </c:pt>
                <c:pt idx="2">
                  <c:v>108729</c:v>
                </c:pt>
                <c:pt idx="3">
                  <c:v>74009</c:v>
                </c:pt>
                <c:pt idx="4">
                  <c:v>61739</c:v>
                </c:pt>
                <c:pt idx="5">
                  <c:v>55701</c:v>
                </c:pt>
                <c:pt idx="6">
                  <c:v>55136</c:v>
                </c:pt>
                <c:pt idx="7">
                  <c:v>28093</c:v>
                </c:pt>
              </c:numCache>
            </c:numRef>
          </c:bubbleSize>
          <c:bubble3D val="0"/>
          <c:extLst>
            <c:ext xmlns:c15="http://schemas.microsoft.com/office/drawing/2012/chart" uri="{02D57815-91ED-43cb-92C2-25804820EDAC}">
              <c15:datalabelsRange>
                <c15:f>Sheet1!$E$2:$E$10</c15:f>
                <c15:dlblRangeCache>
                  <c:ptCount val="9"/>
                  <c:pt idx="0">
                    <c:v>Cantine Vitevis</c:v>
                  </c:pt>
                  <c:pt idx="1">
                    <c:v>Kriter</c:v>
                  </c:pt>
                  <c:pt idx="2">
                    <c:v>Bottega</c:v>
                  </c:pt>
                  <c:pt idx="3">
                    <c:v>Mure</c:v>
                  </c:pt>
                  <c:pt idx="4">
                    <c:v>Bouvet-Ladubay</c:v>
                  </c:pt>
                  <c:pt idx="5">
                    <c:v>Chateau Moncontour</c:v>
                  </c:pt>
                  <c:pt idx="6">
                    <c:v>Chardonnier</c:v>
                  </c:pt>
                  <c:pt idx="7">
                    <c:v>De Chancen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
          <c:min val="6"/>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849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1A287CC-605B-4BA0-B9A2-30DBA7F6439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554976F-38C6-42B0-86A8-49329D599F6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D37616F-C4CE-41BA-B5DD-7F8FAC6175D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A69A9C3-FDD5-4F13-997B-798A17F9C58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4BE70D4-D29F-4932-9631-EDA714499E7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A1123BF-965D-4961-8872-E01CCC23AB2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740EDBC5-8866-4D5C-99FA-DBD7D87F771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4DB418B4-B7C4-43D3-B5B0-C46DB8015F9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71.709699999999998</c:v>
                </c:pt>
                <c:pt idx="1">
                  <c:v>23.626300000000001</c:v>
                </c:pt>
                <c:pt idx="2">
                  <c:v>50.448099999999997</c:v>
                </c:pt>
                <c:pt idx="3">
                  <c:v>53.660699999999999</c:v>
                </c:pt>
                <c:pt idx="4">
                  <c:v>31.505700000000001</c:v>
                </c:pt>
                <c:pt idx="5">
                  <c:v>88.677499999999995</c:v>
                </c:pt>
                <c:pt idx="6">
                  <c:v>32.752200000000002</c:v>
                </c:pt>
                <c:pt idx="7">
                  <c:v>291.98700000000002</c:v>
                </c:pt>
              </c:numCache>
            </c:numRef>
          </c:xVal>
          <c:yVal>
            <c:numRef>
              <c:f>Sheet1!$B$2:$B$9</c:f>
              <c:numCache>
                <c:formatCode>General</c:formatCode>
                <c:ptCount val="8"/>
                <c:pt idx="0">
                  <c:v>1.5509999999999999</c:v>
                </c:pt>
                <c:pt idx="1">
                  <c:v>0.51600000000000001</c:v>
                </c:pt>
                <c:pt idx="2">
                  <c:v>1.08</c:v>
                </c:pt>
                <c:pt idx="3">
                  <c:v>1.0529999999999999</c:v>
                </c:pt>
                <c:pt idx="4">
                  <c:v>0.68600000000000005</c:v>
                </c:pt>
                <c:pt idx="5">
                  <c:v>1.9419999999999999</c:v>
                </c:pt>
                <c:pt idx="6">
                  <c:v>0.70499999999999996</c:v>
                </c:pt>
                <c:pt idx="7">
                  <c:v>6.2690000000000001</c:v>
                </c:pt>
              </c:numCache>
            </c:numRef>
          </c:yVal>
          <c:bubbleSize>
            <c:numRef>
              <c:f>Sheet1!$C$2:$C$9</c:f>
              <c:numCache>
                <c:formatCode>General</c:formatCode>
                <c:ptCount val="8"/>
                <c:pt idx="0">
                  <c:v>4907450</c:v>
                </c:pt>
                <c:pt idx="1">
                  <c:v>1463201</c:v>
                </c:pt>
                <c:pt idx="2">
                  <c:v>1419306</c:v>
                </c:pt>
                <c:pt idx="3">
                  <c:v>1119576</c:v>
                </c:pt>
                <c:pt idx="4">
                  <c:v>828914</c:v>
                </c:pt>
                <c:pt idx="5">
                  <c:v>791269</c:v>
                </c:pt>
                <c:pt idx="6">
                  <c:v>634868</c:v>
                </c:pt>
                <c:pt idx="7">
                  <c:v>585726</c:v>
                </c:pt>
              </c:numCache>
            </c:numRef>
          </c:bubbleSize>
          <c:bubble3D val="0"/>
          <c:extLst>
            <c:ext xmlns:c15="http://schemas.microsoft.com/office/drawing/2012/chart" uri="{02D57815-91ED-43cb-92C2-25804820EDAC}">
              <c15:datalabelsRange>
                <c15:f>Sheet1!$E$2:$E$10</c15:f>
                <c15:dlblRangeCache>
                  <c:ptCount val="9"/>
                  <c:pt idx="0">
                    <c:v>Ruinart</c:v>
                  </c:pt>
                  <c:pt idx="1">
                    <c:v>Nicolas</c:v>
                  </c:pt>
                  <c:pt idx="2">
                    <c:v>Deutz</c:v>
                  </c:pt>
                  <c:pt idx="3">
                    <c:v>Laurent Perrier</c:v>
                  </c:pt>
                  <c:pt idx="4">
                    <c:v>Malard</c:v>
                  </c:pt>
                  <c:pt idx="5">
                    <c:v>Roederer</c:v>
                  </c:pt>
                  <c:pt idx="6">
                    <c:v>Nicolas Feuillatte</c:v>
                  </c:pt>
                  <c:pt idx="7">
                    <c:v>Dom Perigno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50"/>
          <c:min val="19"/>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FA4DA28-57F1-4C43-B71C-909420E37A4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D61FE4A-0997-4986-9CE9-12F4E2405F2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9F7486D-F79A-4E36-9866-A43F72C1645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AAC34D7-520A-4C09-8D95-AC3EC5F0FF6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40D0ACC-E78F-4B08-8402-06E4A6F5EE3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088BB43-0046-4F19-AAB4-7B62CD97D1E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841F552-BFB2-41C8-A252-1396F0B977F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545242DD-58BA-4802-86A7-9CDFFDF8BC6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11.425599999999999</c:v>
                </c:pt>
                <c:pt idx="1">
                  <c:v>7.4080000000000004</c:v>
                </c:pt>
                <c:pt idx="2">
                  <c:v>17.555099999999999</c:v>
                </c:pt>
                <c:pt idx="3">
                  <c:v>11.2201</c:v>
                </c:pt>
                <c:pt idx="4">
                  <c:v>9.1058000000000003</c:v>
                </c:pt>
                <c:pt idx="5">
                  <c:v>11.366099999999999</c:v>
                </c:pt>
                <c:pt idx="6">
                  <c:v>11.7385</c:v>
                </c:pt>
                <c:pt idx="7">
                  <c:v>13.419700000000001</c:v>
                </c:pt>
              </c:numCache>
            </c:numRef>
          </c:xVal>
          <c:yVal>
            <c:numRef>
              <c:f>Sheet1!$B$2:$B$9</c:f>
              <c:numCache>
                <c:formatCode>General</c:formatCode>
                <c:ptCount val="8"/>
                <c:pt idx="0">
                  <c:v>1.0529999999999999</c:v>
                </c:pt>
                <c:pt idx="1">
                  <c:v>0.68200000000000005</c:v>
                </c:pt>
                <c:pt idx="2">
                  <c:v>1.6679999999999999</c:v>
                </c:pt>
                <c:pt idx="3">
                  <c:v>1.034</c:v>
                </c:pt>
                <c:pt idx="4">
                  <c:v>0.84</c:v>
                </c:pt>
                <c:pt idx="5">
                  <c:v>1.0469999999999999</c:v>
                </c:pt>
                <c:pt idx="6">
                  <c:v>1.036</c:v>
                </c:pt>
                <c:pt idx="7">
                  <c:v>1.238</c:v>
                </c:pt>
              </c:numCache>
            </c:numRef>
          </c:yVal>
          <c:bubbleSize>
            <c:numRef>
              <c:f>Sheet1!$C$2:$C$9</c:f>
              <c:numCache>
                <c:formatCode>General</c:formatCode>
                <c:ptCount val="8"/>
                <c:pt idx="0">
                  <c:v>75203</c:v>
                </c:pt>
                <c:pt idx="1">
                  <c:v>69902</c:v>
                </c:pt>
                <c:pt idx="2">
                  <c:v>51331</c:v>
                </c:pt>
                <c:pt idx="3">
                  <c:v>47304</c:v>
                </c:pt>
                <c:pt idx="4">
                  <c:v>40348</c:v>
                </c:pt>
                <c:pt idx="5">
                  <c:v>30427</c:v>
                </c:pt>
                <c:pt idx="6">
                  <c:v>22620</c:v>
                </c:pt>
                <c:pt idx="7">
                  <c:v>18895</c:v>
                </c:pt>
              </c:numCache>
            </c:numRef>
          </c:bubbleSize>
          <c:bubble3D val="0"/>
          <c:extLst>
            <c:ext xmlns:c15="http://schemas.microsoft.com/office/drawing/2012/chart" uri="{02D57815-91ED-43cb-92C2-25804820EDAC}">
              <c15:datalabelsRange>
                <c15:f>Sheet1!$E$2:$E$10</c15:f>
                <c15:dlblRangeCache>
                  <c:ptCount val="9"/>
                  <c:pt idx="0">
                    <c:v>Bottega</c:v>
                  </c:pt>
                  <c:pt idx="1">
                    <c:v>Cantine Vitevis</c:v>
                  </c:pt>
                  <c:pt idx="2">
                    <c:v>Mure</c:v>
                  </c:pt>
                  <c:pt idx="3">
                    <c:v>Kriter</c:v>
                  </c:pt>
                  <c:pt idx="4">
                    <c:v>Chardonnier</c:v>
                  </c:pt>
                  <c:pt idx="5">
                    <c:v>Chateau Moncontour</c:v>
                  </c:pt>
                  <c:pt idx="6">
                    <c:v>Bouvet-Ladubay</c:v>
                  </c:pt>
                  <c:pt idx="7">
                    <c:v>De Chancen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
          <c:min val="6"/>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867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4A78A74-757F-4794-BAEB-66B8D707BD6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AE44610-576E-4491-B8B5-DF2C1E7EB23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8520FC0-F9C9-4FFC-8154-53A8B5221C9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29F6FE5-E91B-436D-9730-68DD9D3A580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80DB5E1-FFD8-4FBA-B022-AA6FEF001CA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08B9498-7FC6-451F-A6A9-6527009F072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3862355-A2DB-4EBF-B078-1A334A086F9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B203BD66-040F-47E7-86E6-DF8D98092A7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7.5523999999999996</c:v>
                </c:pt>
                <c:pt idx="1">
                  <c:v>11.524699999999999</c:v>
                </c:pt>
                <c:pt idx="2">
                  <c:v>11.258100000000001</c:v>
                </c:pt>
                <c:pt idx="3">
                  <c:v>11.817299999999999</c:v>
                </c:pt>
                <c:pt idx="4">
                  <c:v>9.1434999999999995</c:v>
                </c:pt>
                <c:pt idx="5">
                  <c:v>17.4514</c:v>
                </c:pt>
                <c:pt idx="6">
                  <c:v>11.5405</c:v>
                </c:pt>
                <c:pt idx="7">
                  <c:v>13.3918</c:v>
                </c:pt>
              </c:numCache>
            </c:numRef>
          </c:xVal>
          <c:yVal>
            <c:numRef>
              <c:f>Sheet1!$B$2:$B$9</c:f>
              <c:numCache>
                <c:formatCode>General</c:formatCode>
                <c:ptCount val="8"/>
                <c:pt idx="0">
                  <c:v>0.70699999999999996</c:v>
                </c:pt>
                <c:pt idx="1">
                  <c:v>1.0760000000000001</c:v>
                </c:pt>
                <c:pt idx="2">
                  <c:v>1.0549999999999999</c:v>
                </c:pt>
                <c:pt idx="3">
                  <c:v>1.0589999999999999</c:v>
                </c:pt>
                <c:pt idx="4">
                  <c:v>0.85699999999999998</c:v>
                </c:pt>
                <c:pt idx="5">
                  <c:v>1.63</c:v>
                </c:pt>
                <c:pt idx="6">
                  <c:v>1.0820000000000001</c:v>
                </c:pt>
                <c:pt idx="7">
                  <c:v>1.2450000000000001</c:v>
                </c:pt>
              </c:numCache>
            </c:numRef>
          </c:yVal>
          <c:bubbleSize>
            <c:numRef>
              <c:f>Sheet1!$C$2:$C$9</c:f>
              <c:numCache>
                <c:formatCode>General</c:formatCode>
                <c:ptCount val="8"/>
                <c:pt idx="0">
                  <c:v>35013</c:v>
                </c:pt>
                <c:pt idx="1">
                  <c:v>34574</c:v>
                </c:pt>
                <c:pt idx="2">
                  <c:v>22595</c:v>
                </c:pt>
                <c:pt idx="3">
                  <c:v>20314</c:v>
                </c:pt>
                <c:pt idx="4">
                  <c:v>19558</c:v>
                </c:pt>
                <c:pt idx="5">
                  <c:v>16893</c:v>
                </c:pt>
                <c:pt idx="6">
                  <c:v>16376</c:v>
                </c:pt>
                <c:pt idx="7">
                  <c:v>5571</c:v>
                </c:pt>
              </c:numCache>
            </c:numRef>
          </c:bubbleSize>
          <c:bubble3D val="0"/>
          <c:extLst>
            <c:ext xmlns:c15="http://schemas.microsoft.com/office/drawing/2012/chart" uri="{02D57815-91ED-43cb-92C2-25804820EDAC}">
              <c15:datalabelsRange>
                <c15:f>Sheet1!$E$2:$E$10</c15:f>
                <c15:dlblRangeCache>
                  <c:ptCount val="9"/>
                  <c:pt idx="0">
                    <c:v>Cantine Vitevis</c:v>
                  </c:pt>
                  <c:pt idx="1">
                    <c:v>Bottega</c:v>
                  </c:pt>
                  <c:pt idx="2">
                    <c:v>Kriter</c:v>
                  </c:pt>
                  <c:pt idx="3">
                    <c:v>Bouvet-Ladubay</c:v>
                  </c:pt>
                  <c:pt idx="4">
                    <c:v>Chardonnier</c:v>
                  </c:pt>
                  <c:pt idx="5">
                    <c:v>Mure</c:v>
                  </c:pt>
                  <c:pt idx="6">
                    <c:v>Chateau Moncontour</c:v>
                  </c:pt>
                  <c:pt idx="7">
                    <c:v>De Chancen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
          <c:min val="6"/>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8299999999999998"/>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0D92690-5F7C-4CAA-B839-A677A85D5A9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B037522-01D5-4FD0-95AC-7D2CB2E02BB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B8A8FFA-13C1-4163-8BCD-1D299F5FC06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DB86DB1-CAF6-4DBF-A4F7-FFBFD52A398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099B804-87D8-4D01-9859-10CCC6B9088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A62B4D9-CBD2-4D68-AB5F-A4C4CC52419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21A4F029-6053-45F7-A17C-5A19D2A56A4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46128063-2AF3-45FD-B82A-E2AB8A7CA49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7.1877000000000004</c:v>
                </c:pt>
                <c:pt idx="1">
                  <c:v>11.4154</c:v>
                </c:pt>
                <c:pt idx="2">
                  <c:v>17.843299999999999</c:v>
                </c:pt>
                <c:pt idx="3">
                  <c:v>9.8260000000000005</c:v>
                </c:pt>
                <c:pt idx="4">
                  <c:v>11.672000000000001</c:v>
                </c:pt>
                <c:pt idx="5">
                  <c:v>9.2040000000000006</c:v>
                </c:pt>
                <c:pt idx="6">
                  <c:v>11.5655</c:v>
                </c:pt>
                <c:pt idx="7">
                  <c:v>12.2933</c:v>
                </c:pt>
              </c:numCache>
            </c:numRef>
          </c:xVal>
          <c:yVal>
            <c:numRef>
              <c:f>Sheet1!$B$2:$B$9</c:f>
              <c:numCache>
                <c:formatCode>General</c:formatCode>
                <c:ptCount val="8"/>
                <c:pt idx="0">
                  <c:v>0.69699999999999995</c:v>
                </c:pt>
                <c:pt idx="1">
                  <c:v>1.1100000000000001</c:v>
                </c:pt>
                <c:pt idx="2">
                  <c:v>1.7410000000000001</c:v>
                </c:pt>
                <c:pt idx="3">
                  <c:v>0.94699999999999995</c:v>
                </c:pt>
                <c:pt idx="4">
                  <c:v>1.0820000000000001</c:v>
                </c:pt>
                <c:pt idx="5">
                  <c:v>0.88800000000000001</c:v>
                </c:pt>
                <c:pt idx="6">
                  <c:v>1.125</c:v>
                </c:pt>
                <c:pt idx="7">
                  <c:v>1.1910000000000001</c:v>
                </c:pt>
              </c:numCache>
            </c:numRef>
          </c:yVal>
          <c:bubbleSize>
            <c:numRef>
              <c:f>Sheet1!$C$2:$C$9</c:f>
              <c:numCache>
                <c:formatCode>General</c:formatCode>
                <c:ptCount val="8"/>
                <c:pt idx="0">
                  <c:v>37448</c:v>
                </c:pt>
                <c:pt idx="1">
                  <c:v>29406</c:v>
                </c:pt>
                <c:pt idx="2">
                  <c:v>21519</c:v>
                </c:pt>
                <c:pt idx="3">
                  <c:v>18129</c:v>
                </c:pt>
                <c:pt idx="4">
                  <c:v>15337</c:v>
                </c:pt>
                <c:pt idx="5">
                  <c:v>12361</c:v>
                </c:pt>
                <c:pt idx="6">
                  <c:v>8304</c:v>
                </c:pt>
                <c:pt idx="7">
                  <c:v>6749</c:v>
                </c:pt>
              </c:numCache>
            </c:numRef>
          </c:bubbleSize>
          <c:bubble3D val="0"/>
          <c:extLst>
            <c:ext xmlns:c15="http://schemas.microsoft.com/office/drawing/2012/chart" uri="{02D57815-91ED-43cb-92C2-25804820EDAC}">
              <c15:datalabelsRange>
                <c15:f>Sheet1!$E$2:$E$10</c15:f>
                <c15:dlblRangeCache>
                  <c:ptCount val="9"/>
                  <c:pt idx="0">
                    <c:v>Cantine Vitevis</c:v>
                  </c:pt>
                  <c:pt idx="1">
                    <c:v>Bottega</c:v>
                  </c:pt>
                  <c:pt idx="2">
                    <c:v>Mure</c:v>
                  </c:pt>
                  <c:pt idx="3">
                    <c:v>Kriter</c:v>
                  </c:pt>
                  <c:pt idx="4">
                    <c:v>Bouvet-Ladubay</c:v>
                  </c:pt>
                  <c:pt idx="5">
                    <c:v>Chardonnier</c:v>
                  </c:pt>
                  <c:pt idx="6">
                    <c:v>Chateau Moncontour</c:v>
                  </c:pt>
                  <c:pt idx="7">
                    <c:v>Patriarch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
          <c:min val="6"/>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9410000000000001"/>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917FB70-0DF1-43E7-ACD5-3537DD426EB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00CF979-D90F-4774-AA12-F4257859B68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0C620A8-1143-4059-B755-B82F588260D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DE6667D-B398-48B5-8F26-B6BA882A8C9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4212EEA-BD6E-4036-90D1-D2663625DCF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ADD3F0C-C710-44C1-976C-C84DA7E188C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1CC929B-1150-41E5-8F0E-96908D13092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A0C8B26D-61F5-41CA-9742-D3A5DD30D84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7.4691999999999998</c:v>
                </c:pt>
                <c:pt idx="1">
                  <c:v>11.437099999999999</c:v>
                </c:pt>
                <c:pt idx="2">
                  <c:v>10.4175</c:v>
                </c:pt>
                <c:pt idx="3">
                  <c:v>17.389700000000001</c:v>
                </c:pt>
                <c:pt idx="4">
                  <c:v>9.0905000000000005</c:v>
                </c:pt>
                <c:pt idx="5">
                  <c:v>11.3963</c:v>
                </c:pt>
                <c:pt idx="6">
                  <c:v>11.78</c:v>
                </c:pt>
                <c:pt idx="7">
                  <c:v>13.4511</c:v>
                </c:pt>
              </c:numCache>
            </c:numRef>
          </c:xVal>
          <c:yVal>
            <c:numRef>
              <c:f>Sheet1!$B$2:$B$9</c:f>
              <c:numCache>
                <c:formatCode>General</c:formatCode>
                <c:ptCount val="8"/>
                <c:pt idx="0">
                  <c:v>0.70499999999999996</c:v>
                </c:pt>
                <c:pt idx="1">
                  <c:v>1.079</c:v>
                </c:pt>
                <c:pt idx="2">
                  <c:v>0.98299999999999998</c:v>
                </c:pt>
                <c:pt idx="3">
                  <c:v>1.641</c:v>
                </c:pt>
                <c:pt idx="4">
                  <c:v>0.85699999999999998</c:v>
                </c:pt>
                <c:pt idx="5">
                  <c:v>1.075</c:v>
                </c:pt>
                <c:pt idx="6">
                  <c:v>1.0640000000000001</c:v>
                </c:pt>
                <c:pt idx="7">
                  <c:v>1.2689999999999999</c:v>
                </c:pt>
              </c:numCache>
            </c:numRef>
          </c:yVal>
          <c:bubbleSize>
            <c:numRef>
              <c:f>Sheet1!$C$2:$C$9</c:f>
              <c:numCache>
                <c:formatCode>General</c:formatCode>
                <c:ptCount val="8"/>
                <c:pt idx="0">
                  <c:v>448308</c:v>
                </c:pt>
                <c:pt idx="1">
                  <c:v>428822</c:v>
                </c:pt>
                <c:pt idx="2">
                  <c:v>332965</c:v>
                </c:pt>
                <c:pt idx="3">
                  <c:v>237909</c:v>
                </c:pt>
                <c:pt idx="4">
                  <c:v>237189</c:v>
                </c:pt>
                <c:pt idx="5">
                  <c:v>224598</c:v>
                </c:pt>
                <c:pt idx="6">
                  <c:v>209943</c:v>
                </c:pt>
                <c:pt idx="7">
                  <c:v>122782</c:v>
                </c:pt>
              </c:numCache>
            </c:numRef>
          </c:bubbleSize>
          <c:bubble3D val="0"/>
          <c:extLst>
            <c:ext xmlns:c15="http://schemas.microsoft.com/office/drawing/2012/chart" uri="{02D57815-91ED-43cb-92C2-25804820EDAC}">
              <c15:datalabelsRange>
                <c15:f>Sheet1!$E$2:$E$10</c15:f>
                <c15:dlblRangeCache>
                  <c:ptCount val="9"/>
                  <c:pt idx="0">
                    <c:v>Cantine Vitevis</c:v>
                  </c:pt>
                  <c:pt idx="1">
                    <c:v>Bottega</c:v>
                  </c:pt>
                  <c:pt idx="2">
                    <c:v>Kriter</c:v>
                  </c:pt>
                  <c:pt idx="3">
                    <c:v>Mure</c:v>
                  </c:pt>
                  <c:pt idx="4">
                    <c:v>Chardonnier</c:v>
                  </c:pt>
                  <c:pt idx="5">
                    <c:v>Chateau Moncontour</c:v>
                  </c:pt>
                  <c:pt idx="6">
                    <c:v>Bouvet-Ladubay</c:v>
                  </c:pt>
                  <c:pt idx="7">
                    <c:v>De Chancen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
          <c:min val="6"/>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841"/>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35B1C49-7D35-45C6-BACF-08C233457FB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D0B4FA6-F0A8-4656-BAB1-DBC36E042AD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A8E6D94-5148-4A4E-93F7-0228F04381D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C270902-75F0-4434-9AA9-D39B0D72FEC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76EE184-1065-4E01-93AB-DB91E783F33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E3AD7C2-DE07-4BFA-B448-375F9A71D0D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A010791-9692-4557-A06E-53812E69B2C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0E337BFD-4B27-40C7-BE59-E37480D51FA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11.4709</c:v>
                </c:pt>
                <c:pt idx="1">
                  <c:v>7.3208000000000002</c:v>
                </c:pt>
                <c:pt idx="2">
                  <c:v>10.660500000000001</c:v>
                </c:pt>
                <c:pt idx="3">
                  <c:v>9.1577000000000002</c:v>
                </c:pt>
                <c:pt idx="4">
                  <c:v>17.518999999999998</c:v>
                </c:pt>
                <c:pt idx="5">
                  <c:v>11.9748</c:v>
                </c:pt>
                <c:pt idx="6">
                  <c:v>12.7441</c:v>
                </c:pt>
                <c:pt idx="7">
                  <c:v>11.4427</c:v>
                </c:pt>
              </c:numCache>
            </c:numRef>
          </c:xVal>
          <c:yVal>
            <c:numRef>
              <c:f>Sheet1!$B$2:$B$9</c:f>
              <c:numCache>
                <c:formatCode>General</c:formatCode>
                <c:ptCount val="8"/>
                <c:pt idx="0">
                  <c:v>1.123</c:v>
                </c:pt>
                <c:pt idx="1">
                  <c:v>0.71599999999999997</c:v>
                </c:pt>
                <c:pt idx="2">
                  <c:v>1.046</c:v>
                </c:pt>
                <c:pt idx="3">
                  <c:v>0.89700000000000002</c:v>
                </c:pt>
                <c:pt idx="4">
                  <c:v>1.714</c:v>
                </c:pt>
                <c:pt idx="5">
                  <c:v>1.105</c:v>
                </c:pt>
                <c:pt idx="6">
                  <c:v>1.2450000000000001</c:v>
                </c:pt>
                <c:pt idx="7">
                  <c:v>1.1160000000000001</c:v>
                </c:pt>
              </c:numCache>
            </c:numRef>
          </c:yVal>
          <c:bubbleSize>
            <c:numRef>
              <c:f>Sheet1!$C$2:$C$9</c:f>
              <c:numCache>
                <c:formatCode>General</c:formatCode>
                <c:ptCount val="8"/>
                <c:pt idx="0">
                  <c:v>78289</c:v>
                </c:pt>
                <c:pt idx="1">
                  <c:v>76114</c:v>
                </c:pt>
                <c:pt idx="2">
                  <c:v>32312</c:v>
                </c:pt>
                <c:pt idx="3">
                  <c:v>32061</c:v>
                </c:pt>
                <c:pt idx="4">
                  <c:v>22179</c:v>
                </c:pt>
                <c:pt idx="5">
                  <c:v>16609</c:v>
                </c:pt>
                <c:pt idx="6">
                  <c:v>12400</c:v>
                </c:pt>
                <c:pt idx="7">
                  <c:v>12072</c:v>
                </c:pt>
              </c:numCache>
            </c:numRef>
          </c:bubbleSize>
          <c:bubble3D val="0"/>
          <c:extLst>
            <c:ext xmlns:c15="http://schemas.microsoft.com/office/drawing/2012/chart" uri="{02D57815-91ED-43cb-92C2-25804820EDAC}">
              <c15:datalabelsRange>
                <c15:f>Sheet1!$E$2:$E$10</c15:f>
                <c15:dlblRangeCache>
                  <c:ptCount val="9"/>
                  <c:pt idx="0">
                    <c:v>Bottega</c:v>
                  </c:pt>
                  <c:pt idx="1">
                    <c:v>Cantine Vitevis</c:v>
                  </c:pt>
                  <c:pt idx="2">
                    <c:v>Kriter</c:v>
                  </c:pt>
                  <c:pt idx="3">
                    <c:v>Chardonnier</c:v>
                  </c:pt>
                  <c:pt idx="4">
                    <c:v>Mure</c:v>
                  </c:pt>
                  <c:pt idx="5">
                    <c:v>Bouvet-Ladubay</c:v>
                  </c:pt>
                  <c:pt idx="6">
                    <c:v>Patriarche</c:v>
                  </c:pt>
                  <c:pt idx="7">
                    <c:v>Chateau Moncontour</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
          <c:min val="6"/>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913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C259CD2-9B38-49E3-8A47-B0FBB584633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95ED907-3B06-4197-A9A9-691E4353E8D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2988E07-AF76-40AF-B5A8-F7D091DE835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13FFB40-6469-4B2A-9A0C-80EB19CEAB8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57CB882-4D2F-4ED0-B819-9F20671606E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747FD50-0E7E-4D8E-B3DE-EDB38C4966D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AC95605-A9DA-41A1-9CEC-F0D264CA85F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CA376AC2-06CB-42AC-9B17-E0911FFB745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7.1779000000000002</c:v>
                </c:pt>
                <c:pt idx="1">
                  <c:v>11.4886</c:v>
                </c:pt>
                <c:pt idx="2">
                  <c:v>11.633599999999999</c:v>
                </c:pt>
                <c:pt idx="3">
                  <c:v>9.1776</c:v>
                </c:pt>
                <c:pt idx="4">
                  <c:v>17.562100000000001</c:v>
                </c:pt>
                <c:pt idx="5">
                  <c:v>11.366199999999999</c:v>
                </c:pt>
                <c:pt idx="6">
                  <c:v>11.551</c:v>
                </c:pt>
                <c:pt idx="7">
                  <c:v>6.4760999999999997</c:v>
                </c:pt>
              </c:numCache>
            </c:numRef>
          </c:xVal>
          <c:yVal>
            <c:numRef>
              <c:f>Sheet1!$B$2:$B$9</c:f>
              <c:numCache>
                <c:formatCode>General</c:formatCode>
                <c:ptCount val="8"/>
                <c:pt idx="0">
                  <c:v>0.69899999999999995</c:v>
                </c:pt>
                <c:pt idx="1">
                  <c:v>1.1180000000000001</c:v>
                </c:pt>
                <c:pt idx="2">
                  <c:v>1.1319999999999999</c:v>
                </c:pt>
                <c:pt idx="3">
                  <c:v>0.89500000000000002</c:v>
                </c:pt>
                <c:pt idx="4">
                  <c:v>1.698</c:v>
                </c:pt>
                <c:pt idx="5">
                  <c:v>1.103</c:v>
                </c:pt>
                <c:pt idx="6">
                  <c:v>0.93899999999999995</c:v>
                </c:pt>
                <c:pt idx="7">
                  <c:v>0.629</c:v>
                </c:pt>
              </c:numCache>
            </c:numRef>
          </c:yVal>
          <c:bubbleSize>
            <c:numRef>
              <c:f>Sheet1!$C$2:$C$9</c:f>
              <c:numCache>
                <c:formatCode>General</c:formatCode>
                <c:ptCount val="8"/>
                <c:pt idx="0">
                  <c:v>49398</c:v>
                </c:pt>
                <c:pt idx="1">
                  <c:v>41175</c:v>
                </c:pt>
                <c:pt idx="2">
                  <c:v>29119</c:v>
                </c:pt>
                <c:pt idx="3">
                  <c:v>22788</c:v>
                </c:pt>
                <c:pt idx="4">
                  <c:v>13997</c:v>
                </c:pt>
                <c:pt idx="5">
                  <c:v>10707</c:v>
                </c:pt>
                <c:pt idx="6">
                  <c:v>8259</c:v>
                </c:pt>
                <c:pt idx="7">
                  <c:v>7726</c:v>
                </c:pt>
              </c:numCache>
            </c:numRef>
          </c:bubbleSize>
          <c:bubble3D val="0"/>
          <c:extLst>
            <c:ext xmlns:c15="http://schemas.microsoft.com/office/drawing/2012/chart" uri="{02D57815-91ED-43cb-92C2-25804820EDAC}">
              <c15:datalabelsRange>
                <c15:f>Sheet1!$E$2:$E$10</c15:f>
                <c15:dlblRangeCache>
                  <c:ptCount val="9"/>
                  <c:pt idx="0">
                    <c:v>Cantine Vitevis</c:v>
                  </c:pt>
                  <c:pt idx="1">
                    <c:v>Bottega</c:v>
                  </c:pt>
                  <c:pt idx="2">
                    <c:v>Kriter</c:v>
                  </c:pt>
                  <c:pt idx="3">
                    <c:v>Chardonnier</c:v>
                  </c:pt>
                  <c:pt idx="4">
                    <c:v>Mure</c:v>
                  </c:pt>
                  <c:pt idx="5">
                    <c:v>Chateau Moncontour</c:v>
                  </c:pt>
                  <c:pt idx="6">
                    <c:v>Contarini</c:v>
                  </c:pt>
                  <c:pt idx="7">
                    <c:v>Caste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
          <c:min val="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897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1DDC097-E44C-495E-9028-188D4413403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30851A4-E2DC-4ACE-A585-EE9AAD8E3F1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419F426-D8BD-455E-9219-A224501EAF9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B681E90-9C94-4568-9583-CFBC047E462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2022A47-C83D-4FEE-B57C-EAC3359F33E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E9A5239-2F14-47E5-8503-509D6A74756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FF24408-D512-4EAD-B5FC-3B24E61A065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3112E634-4FCE-46FB-BAD1-8BB8F7F9EA3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7.2351000000000001</c:v>
                </c:pt>
                <c:pt idx="1">
                  <c:v>8.1195000000000004</c:v>
                </c:pt>
                <c:pt idx="2">
                  <c:v>11.490399999999999</c:v>
                </c:pt>
                <c:pt idx="3">
                  <c:v>11.404400000000001</c:v>
                </c:pt>
                <c:pt idx="4">
                  <c:v>17.4818</c:v>
                </c:pt>
                <c:pt idx="5">
                  <c:v>11.525499999999999</c:v>
                </c:pt>
                <c:pt idx="6">
                  <c:v>12.639900000000001</c:v>
                </c:pt>
                <c:pt idx="7">
                  <c:v>9.1667000000000005</c:v>
                </c:pt>
              </c:numCache>
            </c:numRef>
          </c:xVal>
          <c:yVal>
            <c:numRef>
              <c:f>Sheet1!$B$2:$B$9</c:f>
              <c:numCache>
                <c:formatCode>General</c:formatCode>
                <c:ptCount val="8"/>
                <c:pt idx="0">
                  <c:v>0.71899999999999997</c:v>
                </c:pt>
                <c:pt idx="1">
                  <c:v>0.80700000000000005</c:v>
                </c:pt>
                <c:pt idx="2">
                  <c:v>1.131</c:v>
                </c:pt>
                <c:pt idx="3">
                  <c:v>1.0940000000000001</c:v>
                </c:pt>
                <c:pt idx="4">
                  <c:v>1.7410000000000001</c:v>
                </c:pt>
                <c:pt idx="5">
                  <c:v>1.1419999999999999</c:v>
                </c:pt>
                <c:pt idx="6">
                  <c:v>1.272</c:v>
                </c:pt>
                <c:pt idx="7">
                  <c:v>0.90500000000000003</c:v>
                </c:pt>
              </c:numCache>
            </c:numRef>
          </c:yVal>
          <c:bubbleSize>
            <c:numRef>
              <c:f>Sheet1!$C$2:$C$9</c:f>
              <c:numCache>
                <c:formatCode>General</c:formatCode>
                <c:ptCount val="8"/>
                <c:pt idx="0">
                  <c:v>20461</c:v>
                </c:pt>
                <c:pt idx="1">
                  <c:v>17197</c:v>
                </c:pt>
                <c:pt idx="2">
                  <c:v>13214</c:v>
                </c:pt>
                <c:pt idx="3">
                  <c:v>10800</c:v>
                </c:pt>
                <c:pt idx="4">
                  <c:v>9615</c:v>
                </c:pt>
                <c:pt idx="5">
                  <c:v>5878</c:v>
                </c:pt>
                <c:pt idx="6">
                  <c:v>5827</c:v>
                </c:pt>
                <c:pt idx="7">
                  <c:v>5555</c:v>
                </c:pt>
              </c:numCache>
            </c:numRef>
          </c:bubbleSize>
          <c:bubble3D val="0"/>
          <c:extLst>
            <c:ext xmlns:c15="http://schemas.microsoft.com/office/drawing/2012/chart" uri="{02D57815-91ED-43cb-92C2-25804820EDAC}">
              <c15:datalabelsRange>
                <c15:f>Sheet1!$E$2:$E$10</c15:f>
                <c15:dlblRangeCache>
                  <c:ptCount val="9"/>
                  <c:pt idx="0">
                    <c:v>Cantine Vitevis</c:v>
                  </c:pt>
                  <c:pt idx="1">
                    <c:v>Kriter</c:v>
                  </c:pt>
                  <c:pt idx="2">
                    <c:v>Bottega</c:v>
                  </c:pt>
                  <c:pt idx="3">
                    <c:v>Bouvet-Ladubay</c:v>
                  </c:pt>
                  <c:pt idx="4">
                    <c:v>Mure</c:v>
                  </c:pt>
                  <c:pt idx="5">
                    <c:v>Chateau Moncontour</c:v>
                  </c:pt>
                  <c:pt idx="6">
                    <c:v>Patriarche</c:v>
                  </c:pt>
                  <c:pt idx="7">
                    <c:v>Chardonnier</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
          <c:min val="6"/>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9410000000000001"/>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8E59BB6-E943-4B4A-9257-E57ADCEC6D0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FE5E625-478A-468E-9F3C-CD1666740DD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B0485DA-2606-4811-B863-E03D4DED860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7E643E8-45E7-42C9-B7CE-352FAA9C182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7D18747-E890-4E2C-A8F5-D0314B24D39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E79FD7A-6E29-42DB-9FA7-8856452CB00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E87AC6B0-C7C0-464F-8FF3-A5594B27F8D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FBE28667-622C-47A2-BBFF-F9DEC8E3D22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17.333100000000002</c:v>
                </c:pt>
                <c:pt idx="1">
                  <c:v>7.2667999999999999</c:v>
                </c:pt>
                <c:pt idx="2">
                  <c:v>8.7780000000000005</c:v>
                </c:pt>
                <c:pt idx="3">
                  <c:v>9.0344999999999995</c:v>
                </c:pt>
                <c:pt idx="4">
                  <c:v>11.645300000000001</c:v>
                </c:pt>
                <c:pt idx="5">
                  <c:v>11.7005</c:v>
                </c:pt>
              </c:numCache>
            </c:numRef>
          </c:xVal>
          <c:yVal>
            <c:numRef>
              <c:f>Sheet1!$B$2:$B$7</c:f>
              <c:numCache>
                <c:formatCode>General</c:formatCode>
                <c:ptCount val="6"/>
                <c:pt idx="0">
                  <c:v>1.5960000000000001</c:v>
                </c:pt>
                <c:pt idx="1">
                  <c:v>0.625</c:v>
                </c:pt>
                <c:pt idx="2">
                  <c:v>0.747</c:v>
                </c:pt>
                <c:pt idx="3">
                  <c:v>0.78300000000000003</c:v>
                </c:pt>
                <c:pt idx="4">
                  <c:v>0.97099999999999997</c:v>
                </c:pt>
                <c:pt idx="5">
                  <c:v>0.98399999999999999</c:v>
                </c:pt>
              </c:numCache>
            </c:numRef>
          </c:yVal>
          <c:bubbleSize>
            <c:numRef>
              <c:f>Sheet1!$C$2:$C$7</c:f>
              <c:numCache>
                <c:formatCode>General</c:formatCode>
                <c:ptCount val="6"/>
                <c:pt idx="0">
                  <c:v>68483</c:v>
                </c:pt>
                <c:pt idx="1">
                  <c:v>8226</c:v>
                </c:pt>
                <c:pt idx="2">
                  <c:v>4784</c:v>
                </c:pt>
                <c:pt idx="3">
                  <c:v>3930</c:v>
                </c:pt>
                <c:pt idx="4">
                  <c:v>3447</c:v>
                </c:pt>
                <c:pt idx="5">
                  <c:v>2188</c:v>
                </c:pt>
              </c:numCache>
            </c:numRef>
          </c:bubbleSize>
          <c:bubble3D val="0"/>
          <c:extLst>
            <c:ext xmlns:c15="http://schemas.microsoft.com/office/drawing/2012/chart" uri="{02D57815-91ED-43cb-92C2-25804820EDAC}">
              <c15:datalabelsRange>
                <c15:f>Sheet1!$E$2:$E$10</c15:f>
                <c15:dlblRangeCache>
                  <c:ptCount val="9"/>
                  <c:pt idx="0">
                    <c:v>Mure</c:v>
                  </c:pt>
                  <c:pt idx="1">
                    <c:v>Cantine Vitevis</c:v>
                  </c:pt>
                  <c:pt idx="2">
                    <c:v>Kriter</c:v>
                  </c:pt>
                  <c:pt idx="3">
                    <c:v>Chardonnier</c:v>
                  </c:pt>
                  <c:pt idx="4">
                    <c:v>Bottega</c:v>
                  </c:pt>
                  <c:pt idx="5">
                    <c:v>Chateau Moncontour</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
          <c:min val="6"/>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796"/>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FFEC005-9186-44F1-B5E1-719547FC048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9D6CA93-0BE8-43B8-B7AD-828050B1299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AD3CEFA-8439-484E-9443-C2442625E37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A4C309B-5355-4797-89CD-F5F06817E88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EB719CE-1799-4E82-ADDE-C70DBD059CE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21EAA46-3F4E-4CE7-89AE-34EA352AD90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27607DC1-0CAF-4434-AD0D-DE0EE8923D3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BBCDC6DB-ACF0-4704-A87A-21307AAEEDF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11.4457</c:v>
                </c:pt>
                <c:pt idx="1">
                  <c:v>7.3361000000000001</c:v>
                </c:pt>
                <c:pt idx="2">
                  <c:v>10.832700000000001</c:v>
                </c:pt>
                <c:pt idx="3">
                  <c:v>9.1258999999999997</c:v>
                </c:pt>
                <c:pt idx="4">
                  <c:v>17.377600000000001</c:v>
                </c:pt>
                <c:pt idx="5">
                  <c:v>11.3108</c:v>
                </c:pt>
                <c:pt idx="6">
                  <c:v>11.7963</c:v>
                </c:pt>
                <c:pt idx="7">
                  <c:v>13.266400000000001</c:v>
                </c:pt>
              </c:numCache>
            </c:numRef>
          </c:xVal>
          <c:yVal>
            <c:numRef>
              <c:f>Sheet1!$B$2:$B$9</c:f>
              <c:numCache>
                <c:formatCode>General</c:formatCode>
                <c:ptCount val="8"/>
                <c:pt idx="0">
                  <c:v>1.0960000000000001</c:v>
                </c:pt>
                <c:pt idx="1">
                  <c:v>0.70299999999999996</c:v>
                </c:pt>
                <c:pt idx="2">
                  <c:v>1.038</c:v>
                </c:pt>
                <c:pt idx="3">
                  <c:v>0.874</c:v>
                </c:pt>
                <c:pt idx="4">
                  <c:v>1.6639999999999999</c:v>
                </c:pt>
                <c:pt idx="5">
                  <c:v>1.0840000000000001</c:v>
                </c:pt>
                <c:pt idx="6">
                  <c:v>1.077</c:v>
                </c:pt>
                <c:pt idx="7">
                  <c:v>1.2689999999999999</c:v>
                </c:pt>
              </c:numCache>
            </c:numRef>
          </c:yVal>
          <c:bubbleSize>
            <c:numRef>
              <c:f>Sheet1!$C$2:$C$9</c:f>
              <c:numCache>
                <c:formatCode>General</c:formatCode>
                <c:ptCount val="8"/>
                <c:pt idx="0">
                  <c:v>195596</c:v>
                </c:pt>
                <c:pt idx="1">
                  <c:v>182031</c:v>
                </c:pt>
                <c:pt idx="2">
                  <c:v>106410</c:v>
                </c:pt>
                <c:pt idx="3">
                  <c:v>96917</c:v>
                </c:pt>
                <c:pt idx="4">
                  <c:v>78512</c:v>
                </c:pt>
                <c:pt idx="5">
                  <c:v>64924</c:v>
                </c:pt>
                <c:pt idx="6">
                  <c:v>64278</c:v>
                </c:pt>
                <c:pt idx="7">
                  <c:v>37597</c:v>
                </c:pt>
              </c:numCache>
            </c:numRef>
          </c:bubbleSize>
          <c:bubble3D val="0"/>
          <c:extLst>
            <c:ext xmlns:c15="http://schemas.microsoft.com/office/drawing/2012/chart" uri="{02D57815-91ED-43cb-92C2-25804820EDAC}">
              <c15:datalabelsRange>
                <c15:f>Sheet1!$E$2:$E$10</c15:f>
                <c15:dlblRangeCache>
                  <c:ptCount val="9"/>
                  <c:pt idx="0">
                    <c:v>Bottega</c:v>
                  </c:pt>
                  <c:pt idx="1">
                    <c:v>Cantine Vitevis</c:v>
                  </c:pt>
                  <c:pt idx="2">
                    <c:v>Kriter</c:v>
                  </c:pt>
                  <c:pt idx="3">
                    <c:v>Chardonnier</c:v>
                  </c:pt>
                  <c:pt idx="4">
                    <c:v>Mure</c:v>
                  </c:pt>
                  <c:pt idx="5">
                    <c:v>Chateau Moncontour</c:v>
                  </c:pt>
                  <c:pt idx="6">
                    <c:v>Bouvet-Ladubay</c:v>
                  </c:pt>
                  <c:pt idx="7">
                    <c:v>De Chancen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
          <c:min val="6"/>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863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18A8778-787F-441E-A3B7-71FCBAA6185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BF8D2A4-1415-483E-99FA-938DB695DB8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5F4260C-E09F-4D70-B50C-06EF3BA6699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30B30CD-842C-45A8-91DE-E09E1A2AC48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422AA2D-ED8F-49B8-9258-0276EBBCF9B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C8C7E69F-5F3A-4B11-B9D0-09066F0E585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202E779A-32A9-4813-A52B-4E7FCDDCF22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2171E993-DB4B-4AB2-BE8F-BB26E5F1EE9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7.4564000000000004</c:v>
                </c:pt>
                <c:pt idx="1">
                  <c:v>11.4999</c:v>
                </c:pt>
                <c:pt idx="2">
                  <c:v>9.6205999999999996</c:v>
                </c:pt>
                <c:pt idx="3">
                  <c:v>17.365600000000001</c:v>
                </c:pt>
                <c:pt idx="4">
                  <c:v>11.6388</c:v>
                </c:pt>
                <c:pt idx="5">
                  <c:v>11.379899999999999</c:v>
                </c:pt>
                <c:pt idx="6">
                  <c:v>9.0538000000000007</c:v>
                </c:pt>
                <c:pt idx="7">
                  <c:v>13.565200000000001</c:v>
                </c:pt>
              </c:numCache>
            </c:numRef>
          </c:xVal>
          <c:yVal>
            <c:numRef>
              <c:f>Sheet1!$B$2:$B$9</c:f>
              <c:numCache>
                <c:formatCode>General</c:formatCode>
                <c:ptCount val="8"/>
                <c:pt idx="0">
                  <c:v>0.70799999999999996</c:v>
                </c:pt>
                <c:pt idx="1">
                  <c:v>1.0920000000000001</c:v>
                </c:pt>
                <c:pt idx="2">
                  <c:v>0.91300000000000003</c:v>
                </c:pt>
                <c:pt idx="3">
                  <c:v>1.6639999999999999</c:v>
                </c:pt>
                <c:pt idx="4">
                  <c:v>1.0660000000000001</c:v>
                </c:pt>
                <c:pt idx="5">
                  <c:v>1.081</c:v>
                </c:pt>
                <c:pt idx="6">
                  <c:v>0.86099999999999999</c:v>
                </c:pt>
                <c:pt idx="7">
                  <c:v>1.2849999999999999</c:v>
                </c:pt>
              </c:numCache>
            </c:numRef>
          </c:yVal>
          <c:bubbleSize>
            <c:numRef>
              <c:f>Sheet1!$C$2:$C$9</c:f>
              <c:numCache>
                <c:formatCode>General</c:formatCode>
                <c:ptCount val="8"/>
                <c:pt idx="0">
                  <c:v>102466</c:v>
                </c:pt>
                <c:pt idx="1">
                  <c:v>82178</c:v>
                </c:pt>
                <c:pt idx="2">
                  <c:v>78687</c:v>
                </c:pt>
                <c:pt idx="3">
                  <c:v>70435</c:v>
                </c:pt>
                <c:pt idx="4">
                  <c:v>50745</c:v>
                </c:pt>
                <c:pt idx="5">
                  <c:v>43528</c:v>
                </c:pt>
                <c:pt idx="6">
                  <c:v>39538</c:v>
                </c:pt>
                <c:pt idx="7">
                  <c:v>23088</c:v>
                </c:pt>
              </c:numCache>
            </c:numRef>
          </c:bubbleSize>
          <c:bubble3D val="0"/>
          <c:extLst>
            <c:ext xmlns:c15="http://schemas.microsoft.com/office/drawing/2012/chart" uri="{02D57815-91ED-43cb-92C2-25804820EDAC}">
              <c15:datalabelsRange>
                <c15:f>Sheet1!$E$2:$E$10</c15:f>
                <c15:dlblRangeCache>
                  <c:ptCount val="9"/>
                  <c:pt idx="0">
                    <c:v>Cantine Vitevis</c:v>
                  </c:pt>
                  <c:pt idx="1">
                    <c:v>Bottega</c:v>
                  </c:pt>
                  <c:pt idx="2">
                    <c:v>Kriter</c:v>
                  </c:pt>
                  <c:pt idx="3">
                    <c:v>Mure</c:v>
                  </c:pt>
                  <c:pt idx="4">
                    <c:v>Bouvet-Ladubay</c:v>
                  </c:pt>
                  <c:pt idx="5">
                    <c:v>Chateau Moncontour</c:v>
                  </c:pt>
                  <c:pt idx="6">
                    <c:v>Chardonnier</c:v>
                  </c:pt>
                  <c:pt idx="7">
                    <c:v>De Chancen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
          <c:min val="6"/>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863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5C81219C-DF84-48F0-9D70-A30FC0EE688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75480DDA-2638-42DF-8099-6191063CB8E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41A75FCD-14F3-4350-AAC1-D9A7BE04223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9DDB53BB-64B8-493B-8884-5714D5EE805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6C1CC87B-7368-4A05-8C4A-5B27A446477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DC133FF4-C3F2-4C4A-9B41-23215A1DF00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566BC351-AFD4-441F-A205-BF3E5300824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F6E4E3BC-5606-4270-8DA5-31043C92898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11.4457</c:v>
                </c:pt>
                <c:pt idx="1">
                  <c:v>12.7675</c:v>
                </c:pt>
                <c:pt idx="2">
                  <c:v>9.1258999999999997</c:v>
                </c:pt>
                <c:pt idx="3">
                  <c:v>17.377600000000001</c:v>
                </c:pt>
                <c:pt idx="4">
                  <c:v>11.3108</c:v>
                </c:pt>
                <c:pt idx="5">
                  <c:v>11.7963</c:v>
                </c:pt>
                <c:pt idx="6">
                  <c:v>13.266400000000001</c:v>
                </c:pt>
                <c:pt idx="7">
                  <c:v>11.2964</c:v>
                </c:pt>
              </c:numCache>
            </c:numRef>
          </c:xVal>
          <c:yVal>
            <c:numRef>
              <c:f>Sheet1!$B$2:$B$9</c:f>
              <c:numCache>
                <c:formatCode>General</c:formatCode>
                <c:ptCount val="8"/>
                <c:pt idx="0">
                  <c:v>1.0960000000000001</c:v>
                </c:pt>
                <c:pt idx="1">
                  <c:v>1.224</c:v>
                </c:pt>
                <c:pt idx="2">
                  <c:v>0.874</c:v>
                </c:pt>
                <c:pt idx="3">
                  <c:v>1.6639999999999999</c:v>
                </c:pt>
                <c:pt idx="4">
                  <c:v>1.0840000000000001</c:v>
                </c:pt>
                <c:pt idx="5">
                  <c:v>1.077</c:v>
                </c:pt>
                <c:pt idx="6">
                  <c:v>1.2689999999999999</c:v>
                </c:pt>
                <c:pt idx="7">
                  <c:v>0.92400000000000004</c:v>
                </c:pt>
              </c:numCache>
            </c:numRef>
          </c:yVal>
          <c:bubbleSize>
            <c:numRef>
              <c:f>Sheet1!$C$2:$C$9</c:f>
              <c:numCache>
                <c:formatCode>General</c:formatCode>
                <c:ptCount val="8"/>
                <c:pt idx="0">
                  <c:v>195596</c:v>
                </c:pt>
                <c:pt idx="1">
                  <c:v>123577</c:v>
                </c:pt>
                <c:pt idx="2">
                  <c:v>96917</c:v>
                </c:pt>
                <c:pt idx="3">
                  <c:v>78512</c:v>
                </c:pt>
                <c:pt idx="4">
                  <c:v>64924</c:v>
                </c:pt>
                <c:pt idx="5">
                  <c:v>64278</c:v>
                </c:pt>
                <c:pt idx="6">
                  <c:v>37597</c:v>
                </c:pt>
                <c:pt idx="7">
                  <c:v>19859</c:v>
                </c:pt>
              </c:numCache>
            </c:numRef>
          </c:bubbleSize>
          <c:bubble3D val="0"/>
          <c:extLst>
            <c:ext xmlns:c15="http://schemas.microsoft.com/office/drawing/2012/chart" uri="{02D57815-91ED-43cb-92C2-25804820EDAC}">
              <c15:datalabelsRange>
                <c15:f>Sheet1!$E$2:$E$10</c15:f>
                <c15:dlblRangeCache>
                  <c:ptCount val="9"/>
                  <c:pt idx="0">
                    <c:v>Bottega</c:v>
                  </c:pt>
                  <c:pt idx="1">
                    <c:v>Patriarche</c:v>
                  </c:pt>
                  <c:pt idx="2">
                    <c:v>Savian</c:v>
                  </c:pt>
                  <c:pt idx="3">
                    <c:v>Mure</c:v>
                  </c:pt>
                  <c:pt idx="4">
                    <c:v>Chateau Moncontour</c:v>
                  </c:pt>
                  <c:pt idx="5">
                    <c:v>Bouvet-Ladubay</c:v>
                  </c:pt>
                  <c:pt idx="6">
                    <c:v>De Chanceny</c:v>
                  </c:pt>
                  <c:pt idx="7">
                    <c:v>Contarini</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
          <c:min val="7"/>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A12F80A-4B6B-409B-991E-C08308833D8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799EFC0-665F-4715-AC0F-8FE76CFE924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932765C-F35E-41C6-961F-D1853830BB8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0C1E287-4045-43A7-8813-6CFFD72DF7F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54BFF75B-4C91-4011-8637-7B135D9E724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101439F-A5C8-460F-B259-CDE298BD0E4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85DF1B89-9F24-4DD9-8E8B-6F1DA4F76A4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A17AFD7C-A6D2-4CFB-9FF2-F2085C668F2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7.4028</c:v>
                </c:pt>
                <c:pt idx="1">
                  <c:v>11.404999999999999</c:v>
                </c:pt>
                <c:pt idx="2">
                  <c:v>10.405099999999999</c:v>
                </c:pt>
                <c:pt idx="3">
                  <c:v>9.0840999999999994</c:v>
                </c:pt>
                <c:pt idx="4">
                  <c:v>17.397300000000001</c:v>
                </c:pt>
                <c:pt idx="5">
                  <c:v>11.7463</c:v>
                </c:pt>
                <c:pt idx="6">
                  <c:v>11.4129</c:v>
                </c:pt>
                <c:pt idx="7">
                  <c:v>13.5061</c:v>
                </c:pt>
              </c:numCache>
            </c:numRef>
          </c:xVal>
          <c:yVal>
            <c:numRef>
              <c:f>Sheet1!$B$2:$B$9</c:f>
              <c:numCache>
                <c:formatCode>General</c:formatCode>
                <c:ptCount val="8"/>
                <c:pt idx="0">
                  <c:v>0.70199999999999996</c:v>
                </c:pt>
                <c:pt idx="1">
                  <c:v>1.0820000000000001</c:v>
                </c:pt>
                <c:pt idx="2">
                  <c:v>0.98699999999999999</c:v>
                </c:pt>
                <c:pt idx="3">
                  <c:v>0.86199999999999999</c:v>
                </c:pt>
                <c:pt idx="4">
                  <c:v>1.6519999999999999</c:v>
                </c:pt>
                <c:pt idx="5">
                  <c:v>1.0720000000000001</c:v>
                </c:pt>
                <c:pt idx="6">
                  <c:v>1.083</c:v>
                </c:pt>
                <c:pt idx="7">
                  <c:v>1.28</c:v>
                </c:pt>
              </c:numCache>
            </c:numRef>
          </c:yVal>
          <c:bubbleSize>
            <c:numRef>
              <c:f>Sheet1!$C$2:$C$9</c:f>
              <c:numCache>
                <c:formatCode>General</c:formatCode>
                <c:ptCount val="8"/>
                <c:pt idx="0">
                  <c:v>154682</c:v>
                </c:pt>
                <c:pt idx="1">
                  <c:v>150888</c:v>
                </c:pt>
                <c:pt idx="2">
                  <c:v>104009</c:v>
                </c:pt>
                <c:pt idx="3">
                  <c:v>86281</c:v>
                </c:pt>
                <c:pt idx="4">
                  <c:v>76009</c:v>
                </c:pt>
                <c:pt idx="5">
                  <c:v>74413</c:v>
                </c:pt>
                <c:pt idx="6">
                  <c:v>70235</c:v>
                </c:pt>
                <c:pt idx="7">
                  <c:v>42355</c:v>
                </c:pt>
              </c:numCache>
            </c:numRef>
          </c:bubbleSize>
          <c:bubble3D val="0"/>
          <c:extLst>
            <c:ext xmlns:c15="http://schemas.microsoft.com/office/drawing/2012/chart" uri="{02D57815-91ED-43cb-92C2-25804820EDAC}">
              <c15:datalabelsRange>
                <c15:f>Sheet1!$E$2:$E$10</c15:f>
                <c15:dlblRangeCache>
                  <c:ptCount val="9"/>
                  <c:pt idx="0">
                    <c:v>Cantine Vitevis</c:v>
                  </c:pt>
                  <c:pt idx="1">
                    <c:v>Bottega</c:v>
                  </c:pt>
                  <c:pt idx="2">
                    <c:v>Kriter</c:v>
                  </c:pt>
                  <c:pt idx="3">
                    <c:v>Chardonnier</c:v>
                  </c:pt>
                  <c:pt idx="4">
                    <c:v>Mure</c:v>
                  </c:pt>
                  <c:pt idx="5">
                    <c:v>Bouvet-Ladubay</c:v>
                  </c:pt>
                  <c:pt idx="6">
                    <c:v>Chateau Moncontour</c:v>
                  </c:pt>
                  <c:pt idx="7">
                    <c:v>De Chancen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
          <c:min val="6"/>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851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3460976-B5C4-4CE5-8C05-14948543AD1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1FF679B-E73B-4705-AD42-89BE2230AE8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A44F428-4864-427E-A597-2DEA3C74B55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D637B42-6A95-4E18-8258-144ADC1A742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EA6C9A3-B729-4D22-9475-612FBE3E805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AB3D747-15A5-4F7E-ADF2-B448C0AEFD3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A924114-0CE0-41A6-803B-4001F710386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6530741D-8CC3-4227-BD8B-B69FE7D9764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7.4260000000000002</c:v>
                </c:pt>
                <c:pt idx="1">
                  <c:v>11.3996</c:v>
                </c:pt>
                <c:pt idx="2">
                  <c:v>10.5167</c:v>
                </c:pt>
                <c:pt idx="3">
                  <c:v>17.6111</c:v>
                </c:pt>
                <c:pt idx="4">
                  <c:v>9.1219000000000001</c:v>
                </c:pt>
                <c:pt idx="5">
                  <c:v>11.9292</c:v>
                </c:pt>
                <c:pt idx="6">
                  <c:v>11.430300000000001</c:v>
                </c:pt>
                <c:pt idx="7">
                  <c:v>13.4643</c:v>
                </c:pt>
              </c:numCache>
            </c:numRef>
          </c:xVal>
          <c:yVal>
            <c:numRef>
              <c:f>Sheet1!$B$2:$B$9</c:f>
              <c:numCache>
                <c:formatCode>General</c:formatCode>
                <c:ptCount val="8"/>
                <c:pt idx="0">
                  <c:v>0.69099999999999995</c:v>
                </c:pt>
                <c:pt idx="1">
                  <c:v>1.06</c:v>
                </c:pt>
                <c:pt idx="2">
                  <c:v>0.97799999999999998</c:v>
                </c:pt>
                <c:pt idx="3">
                  <c:v>1.6619999999999999</c:v>
                </c:pt>
                <c:pt idx="4">
                  <c:v>0.84899999999999998</c:v>
                </c:pt>
                <c:pt idx="5">
                  <c:v>1.0469999999999999</c:v>
                </c:pt>
                <c:pt idx="6">
                  <c:v>1.0620000000000001</c:v>
                </c:pt>
                <c:pt idx="7">
                  <c:v>1.25</c:v>
                </c:pt>
              </c:numCache>
            </c:numRef>
          </c:yVal>
          <c:bubbleSize>
            <c:numRef>
              <c:f>Sheet1!$C$2:$C$9</c:f>
              <c:numCache>
                <c:formatCode>General</c:formatCode>
                <c:ptCount val="8"/>
                <c:pt idx="0">
                  <c:v>121638</c:v>
                </c:pt>
                <c:pt idx="1">
                  <c:v>101593</c:v>
                </c:pt>
                <c:pt idx="2">
                  <c:v>92105</c:v>
                </c:pt>
                <c:pt idx="3">
                  <c:v>82244</c:v>
                </c:pt>
                <c:pt idx="4">
                  <c:v>56501</c:v>
                </c:pt>
                <c:pt idx="5">
                  <c:v>55399</c:v>
                </c:pt>
                <c:pt idx="6">
                  <c:v>53231</c:v>
                </c:pt>
                <c:pt idx="7">
                  <c:v>27871</c:v>
                </c:pt>
              </c:numCache>
            </c:numRef>
          </c:bubbleSize>
          <c:bubble3D val="0"/>
          <c:extLst>
            <c:ext xmlns:c15="http://schemas.microsoft.com/office/drawing/2012/chart" uri="{02D57815-91ED-43cb-92C2-25804820EDAC}">
              <c15:datalabelsRange>
                <c15:f>Sheet1!$E$2:$E$10</c15:f>
                <c15:dlblRangeCache>
                  <c:ptCount val="9"/>
                  <c:pt idx="0">
                    <c:v>Cantine Vitevis</c:v>
                  </c:pt>
                  <c:pt idx="1">
                    <c:v>Bottega</c:v>
                  </c:pt>
                  <c:pt idx="2">
                    <c:v>Kriter</c:v>
                  </c:pt>
                  <c:pt idx="3">
                    <c:v>Mure</c:v>
                  </c:pt>
                  <c:pt idx="4">
                    <c:v>Chardonnier</c:v>
                  </c:pt>
                  <c:pt idx="5">
                    <c:v>Bouvet-Ladubay</c:v>
                  </c:pt>
                  <c:pt idx="6">
                    <c:v>Chateau Moncontour</c:v>
                  </c:pt>
                  <c:pt idx="7">
                    <c:v>De Chancen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
          <c:min val="6"/>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861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E1947EB-9C7B-43FF-A55C-1634A93ED45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4AD6EC5-274E-43FC-AB8B-BB11414B503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583C8E9-EB0D-452D-8F5C-327052470C6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A95F32A-9B9C-47A3-BD10-96D69E45197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D518046-7B97-4151-B4B8-4C6C902E3CA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203E7CB-0B59-46A5-98C5-6E0965F08ED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23246C9F-B677-4515-A9EC-D9C679EAF65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51CE04B0-BBDB-4738-AF9C-9402B261174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7.4020000000000001</c:v>
                </c:pt>
                <c:pt idx="1">
                  <c:v>9.6089000000000002</c:v>
                </c:pt>
                <c:pt idx="2">
                  <c:v>17.286000000000001</c:v>
                </c:pt>
                <c:pt idx="3">
                  <c:v>11.5068</c:v>
                </c:pt>
                <c:pt idx="4">
                  <c:v>11.856400000000001</c:v>
                </c:pt>
                <c:pt idx="5">
                  <c:v>11.451700000000001</c:v>
                </c:pt>
                <c:pt idx="6">
                  <c:v>9.1301000000000005</c:v>
                </c:pt>
                <c:pt idx="7">
                  <c:v>13.463800000000001</c:v>
                </c:pt>
              </c:numCache>
            </c:numRef>
          </c:xVal>
          <c:yVal>
            <c:numRef>
              <c:f>Sheet1!$B$2:$B$9</c:f>
              <c:numCache>
                <c:formatCode>General</c:formatCode>
                <c:ptCount val="8"/>
                <c:pt idx="0">
                  <c:v>0.69899999999999995</c:v>
                </c:pt>
                <c:pt idx="1">
                  <c:v>0.90600000000000003</c:v>
                </c:pt>
                <c:pt idx="2">
                  <c:v>1.671</c:v>
                </c:pt>
                <c:pt idx="3">
                  <c:v>1.0860000000000001</c:v>
                </c:pt>
                <c:pt idx="4">
                  <c:v>1.0509999999999999</c:v>
                </c:pt>
                <c:pt idx="5">
                  <c:v>1.0820000000000001</c:v>
                </c:pt>
                <c:pt idx="6">
                  <c:v>0.86199999999999999</c:v>
                </c:pt>
                <c:pt idx="7">
                  <c:v>1.2729999999999999</c:v>
                </c:pt>
              </c:numCache>
            </c:numRef>
          </c:yVal>
          <c:bubbleSize>
            <c:numRef>
              <c:f>Sheet1!$C$2:$C$9</c:f>
              <c:numCache>
                <c:formatCode>General</c:formatCode>
                <c:ptCount val="8"/>
                <c:pt idx="0">
                  <c:v>109224</c:v>
                </c:pt>
                <c:pt idx="1">
                  <c:v>104795</c:v>
                </c:pt>
                <c:pt idx="2">
                  <c:v>81175</c:v>
                </c:pt>
                <c:pt idx="3">
                  <c:v>77326</c:v>
                </c:pt>
                <c:pt idx="4">
                  <c:v>60420</c:v>
                </c:pt>
                <c:pt idx="5">
                  <c:v>50548</c:v>
                </c:pt>
                <c:pt idx="6">
                  <c:v>44555</c:v>
                </c:pt>
                <c:pt idx="7">
                  <c:v>27143</c:v>
                </c:pt>
              </c:numCache>
            </c:numRef>
          </c:bubbleSize>
          <c:bubble3D val="0"/>
          <c:extLst>
            <c:ext xmlns:c15="http://schemas.microsoft.com/office/drawing/2012/chart" uri="{02D57815-91ED-43cb-92C2-25804820EDAC}">
              <c15:datalabelsRange>
                <c15:f>Sheet1!$E$2:$E$10</c15:f>
                <c15:dlblRangeCache>
                  <c:ptCount val="9"/>
                  <c:pt idx="0">
                    <c:v>Cantine Vitevis</c:v>
                  </c:pt>
                  <c:pt idx="1">
                    <c:v>Kriter</c:v>
                  </c:pt>
                  <c:pt idx="2">
                    <c:v>Mure</c:v>
                  </c:pt>
                  <c:pt idx="3">
                    <c:v>Bottega</c:v>
                  </c:pt>
                  <c:pt idx="4">
                    <c:v>Bouvet-Ladubay</c:v>
                  </c:pt>
                  <c:pt idx="5">
                    <c:v>Chateau Moncontour</c:v>
                  </c:pt>
                  <c:pt idx="6">
                    <c:v>Chardonnier</c:v>
                  </c:pt>
                  <c:pt idx="7">
                    <c:v>De Chancen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
          <c:min val="6"/>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871"/>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BD503ED-DBDA-427C-9B4A-6B9C17D0639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E57A726-7C97-4847-8D90-AC0BF0AB8F3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B0174AE-DC5A-4DB6-84B9-6FF7AC45CBA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1D58DAD-FB7A-4684-BFA3-ACD24735E57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0A9263D-2204-4A50-8F87-3A54358A811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C509F31-4142-4A30-A13B-F9ACF8D2D1A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6220799-C1F1-4F32-B4C1-B3DDBD4CAD8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E3D5EB3B-B99D-4879-BB27-CD4B0A8275B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3.5872999999999999</c:v>
                </c:pt>
                <c:pt idx="1">
                  <c:v>3.6678000000000002</c:v>
                </c:pt>
                <c:pt idx="2">
                  <c:v>3.9388000000000001</c:v>
                </c:pt>
                <c:pt idx="3">
                  <c:v>2.9659</c:v>
                </c:pt>
                <c:pt idx="4">
                  <c:v>5.45</c:v>
                </c:pt>
                <c:pt idx="5">
                  <c:v>7.4157999999999999</c:v>
                </c:pt>
                <c:pt idx="6">
                  <c:v>29.135300000000001</c:v>
                </c:pt>
              </c:numCache>
            </c:numRef>
          </c:xVal>
          <c:yVal>
            <c:numRef>
              <c:f>Sheet1!$B$2:$B$8</c:f>
              <c:numCache>
                <c:formatCode>General</c:formatCode>
                <c:ptCount val="7"/>
                <c:pt idx="0">
                  <c:v>0.93100000000000005</c:v>
                </c:pt>
                <c:pt idx="1">
                  <c:v>0.95099999999999996</c:v>
                </c:pt>
                <c:pt idx="2">
                  <c:v>1.0089999999999999</c:v>
                </c:pt>
                <c:pt idx="3">
                  <c:v>0.76900000000000002</c:v>
                </c:pt>
                <c:pt idx="4">
                  <c:v>1.4139999999999999</c:v>
                </c:pt>
                <c:pt idx="5">
                  <c:v>1.9059999999999999</c:v>
                </c:pt>
                <c:pt idx="6">
                  <c:v>7.5529999999999999</c:v>
                </c:pt>
              </c:numCache>
            </c:numRef>
          </c:yVal>
          <c:bubbleSize>
            <c:numRef>
              <c:f>Sheet1!$C$2:$C$8</c:f>
              <c:numCache>
                <c:formatCode>General</c:formatCode>
                <c:ptCount val="7"/>
                <c:pt idx="0">
                  <c:v>8393288</c:v>
                </c:pt>
                <c:pt idx="1">
                  <c:v>5214126</c:v>
                </c:pt>
                <c:pt idx="2">
                  <c:v>4064943</c:v>
                </c:pt>
                <c:pt idx="3">
                  <c:v>2391008</c:v>
                </c:pt>
                <c:pt idx="4">
                  <c:v>1430636</c:v>
                </c:pt>
                <c:pt idx="5">
                  <c:v>436974</c:v>
                </c:pt>
                <c:pt idx="6">
                  <c:v>337562</c:v>
                </c:pt>
              </c:numCache>
            </c:numRef>
          </c:bubbleSize>
          <c:bubble3D val="0"/>
          <c:extLst>
            <c:ext xmlns:c15="http://schemas.microsoft.com/office/drawing/2012/chart" uri="{02D57815-91ED-43cb-92C2-25804820EDAC}">
              <c15:datalabelsRange>
                <c15:f>Sheet1!$E$2:$E$10</c15:f>
                <c15:dlblRangeCache>
                  <c:ptCount val="9"/>
                  <c:pt idx="0">
                    <c:v>Bardinet</c:v>
                  </c:pt>
                  <c:pt idx="1">
                    <c:v>Gratien &amp; Meyer</c:v>
                  </c:pt>
                  <c:pt idx="2">
                    <c:v>Listel</c:v>
                  </c:pt>
                  <c:pt idx="3">
                    <c:v>Mdd</c:v>
                  </c:pt>
                  <c:pt idx="4">
                    <c:v>Freixenet</c:v>
                  </c:pt>
                  <c:pt idx="5">
                    <c:v>Orchidees</c:v>
                  </c:pt>
                  <c:pt idx="6">
                    <c:v>De Chancen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5"/>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7.7530000000000001"/>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91798BA-4069-4D72-8CC9-14A6E86E18B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DF09507-7611-443D-A99C-2E9F2D3A58B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D85571B-05B7-43E0-B662-B538F55E695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DB71F8F-1630-4464-BB80-AB3B5867213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6845917B-8D11-4513-863D-067A9B3DEAB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39052E17-CECA-4E42-805D-C9167255999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A727DD96-5518-47B6-AAC3-39B1F1BA7E9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8AF05E70-5980-4CB3-8943-80A337CD04B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29.107099999999999</c:v>
                </c:pt>
                <c:pt idx="1">
                  <c:v>11.3858</c:v>
                </c:pt>
                <c:pt idx="2">
                  <c:v>34.587800000000001</c:v>
                </c:pt>
                <c:pt idx="3">
                  <c:v>9.3613999999999997</c:v>
                </c:pt>
                <c:pt idx="4">
                  <c:v>18.194400000000002</c:v>
                </c:pt>
              </c:numCache>
            </c:numRef>
          </c:xVal>
          <c:yVal>
            <c:numRef>
              <c:f>Sheet1!$B$2:$B$6</c:f>
              <c:numCache>
                <c:formatCode>General</c:formatCode>
                <c:ptCount val="5"/>
                <c:pt idx="0">
                  <c:v>1.679</c:v>
                </c:pt>
                <c:pt idx="1">
                  <c:v>0.65800000000000003</c:v>
                </c:pt>
                <c:pt idx="2">
                  <c:v>1.9650000000000001</c:v>
                </c:pt>
                <c:pt idx="3">
                  <c:v>0.54</c:v>
                </c:pt>
                <c:pt idx="4">
                  <c:v>1.0840000000000001</c:v>
                </c:pt>
              </c:numCache>
            </c:numRef>
          </c:yVal>
          <c:bubbleSize>
            <c:numRef>
              <c:f>Sheet1!$C$2:$C$6</c:f>
              <c:numCache>
                <c:formatCode>General</c:formatCode>
                <c:ptCount val="5"/>
                <c:pt idx="0">
                  <c:v>322623</c:v>
                </c:pt>
                <c:pt idx="1">
                  <c:v>219371</c:v>
                </c:pt>
                <c:pt idx="2">
                  <c:v>54787</c:v>
                </c:pt>
                <c:pt idx="3">
                  <c:v>52714</c:v>
                </c:pt>
                <c:pt idx="4">
                  <c:v>30985</c:v>
                </c:pt>
              </c:numCache>
            </c:numRef>
          </c:bubbleSize>
          <c:bubble3D val="0"/>
          <c:extLst>
            <c:ext xmlns:c15="http://schemas.microsoft.com/office/drawing/2012/chart" uri="{02D57815-91ED-43cb-92C2-25804820EDAC}">
              <c15:datalabelsRange>
                <c15:f>Sheet1!$E$2:$E$10</c15:f>
                <c15:dlblRangeCache>
                  <c:ptCount val="9"/>
                  <c:pt idx="0">
                    <c:v>De Chanceny</c:v>
                  </c:pt>
                  <c:pt idx="1">
                    <c:v>Lyre's</c:v>
                  </c:pt>
                  <c:pt idx="2">
                    <c:v>French Bloom</c:v>
                  </c:pt>
                  <c:pt idx="3">
                    <c:v>Veuve Du Vernay</c:v>
                  </c:pt>
                  <c:pt idx="4">
                    <c:v>Nectaros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2"/>
          <c:min val="7"/>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165"/>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0D5616D-8AA1-4D73-BE23-1E52B3B6686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32B3F9F-0F9B-4A9E-995E-9EFBC96F1E3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91DABF4-BE97-496F-94BD-D08B2FAAE5D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ABE1C33-77A0-473C-A274-07C606E8FF3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A2BA160-50FF-4776-A3DC-84E22D61B93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D3AA216-76CD-433D-8314-07D0A0AC9AA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E22304BD-AB65-4BD4-90AC-5E8BC106C31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FE229125-0A35-44D2-A7F5-BA080300CA6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3.5872999999999999</c:v>
                </c:pt>
                <c:pt idx="1">
                  <c:v>3.6678000000000002</c:v>
                </c:pt>
                <c:pt idx="2">
                  <c:v>3.9388000000000001</c:v>
                </c:pt>
                <c:pt idx="3">
                  <c:v>2.9659</c:v>
                </c:pt>
                <c:pt idx="4">
                  <c:v>5.45</c:v>
                </c:pt>
                <c:pt idx="5">
                  <c:v>7.4157999999999999</c:v>
                </c:pt>
              </c:numCache>
            </c:numRef>
          </c:xVal>
          <c:yVal>
            <c:numRef>
              <c:f>Sheet1!$B$2:$B$7</c:f>
              <c:numCache>
                <c:formatCode>General</c:formatCode>
                <c:ptCount val="6"/>
                <c:pt idx="0">
                  <c:v>0.95199999999999996</c:v>
                </c:pt>
                <c:pt idx="1">
                  <c:v>0.97199999999999998</c:v>
                </c:pt>
                <c:pt idx="2">
                  <c:v>1.032</c:v>
                </c:pt>
                <c:pt idx="3">
                  <c:v>0.78700000000000003</c:v>
                </c:pt>
                <c:pt idx="4">
                  <c:v>1.446</c:v>
                </c:pt>
                <c:pt idx="5">
                  <c:v>1.9490000000000001</c:v>
                </c:pt>
              </c:numCache>
            </c:numRef>
          </c:yVal>
          <c:bubbleSize>
            <c:numRef>
              <c:f>Sheet1!$C$2:$C$7</c:f>
              <c:numCache>
                <c:formatCode>General</c:formatCode>
                <c:ptCount val="6"/>
                <c:pt idx="0">
                  <c:v>8393288</c:v>
                </c:pt>
                <c:pt idx="1">
                  <c:v>5214126</c:v>
                </c:pt>
                <c:pt idx="2">
                  <c:v>4064943</c:v>
                </c:pt>
                <c:pt idx="3">
                  <c:v>2391008</c:v>
                </c:pt>
                <c:pt idx="4">
                  <c:v>1430636</c:v>
                </c:pt>
                <c:pt idx="5">
                  <c:v>436974</c:v>
                </c:pt>
              </c:numCache>
            </c:numRef>
          </c:bubbleSize>
          <c:bubble3D val="0"/>
          <c:extLst>
            <c:ext xmlns:c15="http://schemas.microsoft.com/office/drawing/2012/chart" uri="{02D57815-91ED-43cb-92C2-25804820EDAC}">
              <c15:datalabelsRange>
                <c15:f>Sheet1!$E$2:$E$10</c15:f>
                <c15:dlblRangeCache>
                  <c:ptCount val="9"/>
                  <c:pt idx="0">
                    <c:v>Bardinet</c:v>
                  </c:pt>
                  <c:pt idx="1">
                    <c:v>Gratien &amp; Meyer</c:v>
                  </c:pt>
                  <c:pt idx="2">
                    <c:v>Listel</c:v>
                  </c:pt>
                  <c:pt idx="3">
                    <c:v>Mdd</c:v>
                  </c:pt>
                  <c:pt idx="4">
                    <c:v>Freixenet</c:v>
                  </c:pt>
                  <c:pt idx="5">
                    <c:v>Orchidee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9"/>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14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353FEDB-74B6-407F-8183-5414F03AA9E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FBC1DE5-EE04-4B26-94E4-171B8812533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0090F2D-FD1A-43F9-A783-959071AA0A8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322D3EB-9100-44E5-A438-FC0A80CCB50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0590C50-B676-4D6A-9F45-731B4DE88DA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B2BDE662-B241-4337-A2CB-C778F1EB8E7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AFBDCFAA-DD2A-4F43-B2D2-5D8A178C032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B36F9688-A115-4CEC-A0BD-F7172630F47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29.026399999999999</c:v>
                </c:pt>
                <c:pt idx="1">
                  <c:v>11.3819</c:v>
                </c:pt>
                <c:pt idx="2">
                  <c:v>9.3262999999999998</c:v>
                </c:pt>
                <c:pt idx="3">
                  <c:v>34.194400000000002</c:v>
                </c:pt>
                <c:pt idx="4">
                  <c:v>18.021899999999999</c:v>
                </c:pt>
              </c:numCache>
            </c:numRef>
          </c:xVal>
          <c:yVal>
            <c:numRef>
              <c:f>Sheet1!$B$2:$B$6</c:f>
              <c:numCache>
                <c:formatCode>General</c:formatCode>
                <c:ptCount val="5"/>
                <c:pt idx="0">
                  <c:v>1.68</c:v>
                </c:pt>
                <c:pt idx="1">
                  <c:v>0.65900000000000003</c:v>
                </c:pt>
                <c:pt idx="2">
                  <c:v>0.54100000000000004</c:v>
                </c:pt>
                <c:pt idx="3">
                  <c:v>1.9670000000000001</c:v>
                </c:pt>
                <c:pt idx="4">
                  <c:v>1.0760000000000001</c:v>
                </c:pt>
              </c:numCache>
            </c:numRef>
          </c:yVal>
          <c:bubbleSize>
            <c:numRef>
              <c:f>Sheet1!$C$2:$C$6</c:f>
              <c:numCache>
                <c:formatCode>General</c:formatCode>
                <c:ptCount val="5"/>
                <c:pt idx="0">
                  <c:v>159529</c:v>
                </c:pt>
                <c:pt idx="1">
                  <c:v>109528</c:v>
                </c:pt>
                <c:pt idx="2">
                  <c:v>24640</c:v>
                </c:pt>
                <c:pt idx="3">
                  <c:v>24278</c:v>
                </c:pt>
                <c:pt idx="4">
                  <c:v>14021</c:v>
                </c:pt>
              </c:numCache>
            </c:numRef>
          </c:bubbleSize>
          <c:bubble3D val="0"/>
          <c:extLst>
            <c:ext xmlns:c15="http://schemas.microsoft.com/office/drawing/2012/chart" uri="{02D57815-91ED-43cb-92C2-25804820EDAC}">
              <c15:datalabelsRange>
                <c15:f>Sheet1!$E$2:$E$10</c15:f>
                <c15:dlblRangeCache>
                  <c:ptCount val="9"/>
                  <c:pt idx="0">
                    <c:v>De Chanceny</c:v>
                  </c:pt>
                  <c:pt idx="1">
                    <c:v>Lyre's</c:v>
                  </c:pt>
                  <c:pt idx="2">
                    <c:v>Veuve Du Vernay</c:v>
                  </c:pt>
                  <c:pt idx="3">
                    <c:v>French Bloom</c:v>
                  </c:pt>
                  <c:pt idx="4">
                    <c:v>Nectaros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1"/>
          <c:min val="7"/>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1670000000000003"/>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EB562A4-AEEC-4D80-85A9-5E1BEECD0BF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E23FF4E-9406-46DC-BA6D-0B23E45426A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46E1948-EF44-43F9-B13B-A85EB265543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15D9C6A-4F0E-4ABD-8AAA-4589861C063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0FD35DC-EDED-49D6-96C7-10FF9F8F35F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481BAFC1-5E9C-498F-B80B-7DD98066E89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DE76E994-864A-42CA-9E60-737A1AD1715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21B4EA3D-5043-4EC0-B8A9-FEA504D178A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29.073699999999999</c:v>
                </c:pt>
                <c:pt idx="1">
                  <c:v>11.320499999999999</c:v>
                </c:pt>
                <c:pt idx="2">
                  <c:v>9.3109999999999999</c:v>
                </c:pt>
                <c:pt idx="3">
                  <c:v>34.410400000000003</c:v>
                </c:pt>
                <c:pt idx="4">
                  <c:v>18.127199999999998</c:v>
                </c:pt>
              </c:numCache>
            </c:numRef>
          </c:xVal>
          <c:yVal>
            <c:numRef>
              <c:f>Sheet1!$B$2:$B$6</c:f>
              <c:numCache>
                <c:formatCode>General</c:formatCode>
                <c:ptCount val="5"/>
                <c:pt idx="0">
                  <c:v>1.798</c:v>
                </c:pt>
                <c:pt idx="1">
                  <c:v>0.70299999999999996</c:v>
                </c:pt>
                <c:pt idx="2">
                  <c:v>0.57799999999999996</c:v>
                </c:pt>
                <c:pt idx="3">
                  <c:v>2.113</c:v>
                </c:pt>
                <c:pt idx="4">
                  <c:v>1.1459999999999999</c:v>
                </c:pt>
              </c:numCache>
            </c:numRef>
          </c:yVal>
          <c:bubbleSize>
            <c:numRef>
              <c:f>Sheet1!$C$2:$C$6</c:f>
              <c:numCache>
                <c:formatCode>General</c:formatCode>
                <c:ptCount val="5"/>
                <c:pt idx="0">
                  <c:v>51664</c:v>
                </c:pt>
                <c:pt idx="1">
                  <c:v>47263</c:v>
                </c:pt>
                <c:pt idx="2">
                  <c:v>11648</c:v>
                </c:pt>
                <c:pt idx="3">
                  <c:v>8637</c:v>
                </c:pt>
                <c:pt idx="4">
                  <c:v>8411</c:v>
                </c:pt>
              </c:numCache>
            </c:numRef>
          </c:bubbleSize>
          <c:bubble3D val="0"/>
          <c:extLst>
            <c:ext xmlns:c15="http://schemas.microsoft.com/office/drawing/2012/chart" uri="{02D57815-91ED-43cb-92C2-25804820EDAC}">
              <c15:datalabelsRange>
                <c15:f>Sheet1!$E$2:$E$10</c15:f>
                <c15:dlblRangeCache>
                  <c:ptCount val="9"/>
                  <c:pt idx="0">
                    <c:v>De Chanceny</c:v>
                  </c:pt>
                  <c:pt idx="1">
                    <c:v>Lyre's</c:v>
                  </c:pt>
                  <c:pt idx="2">
                    <c:v>Veuve Du Vernay</c:v>
                  </c:pt>
                  <c:pt idx="3">
                    <c:v>French Bloom</c:v>
                  </c:pt>
                  <c:pt idx="4">
                    <c:v>Nectaros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1"/>
          <c:min val="7"/>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3130000000000002"/>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3594910-5A12-4C3E-8542-3A5C5183987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63BE775-96F6-49BD-958C-66D9FE0924E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D9E2734-6C72-4A21-8F7C-A28A5190B94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8333065-91BE-41E5-9B6F-2B5FFB570D3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E1C560A-173C-4896-BD6D-163315322F0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61AF5388-6700-4D69-91EF-654BDD1A809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A4B01AC5-0BF4-4F8F-9BE2-4C8553A40E6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EBE93D6F-FBB3-499E-A041-7C3FE42C382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29.1313</c:v>
                </c:pt>
                <c:pt idx="1">
                  <c:v>11.426500000000001</c:v>
                </c:pt>
                <c:pt idx="2">
                  <c:v>34.788600000000002</c:v>
                </c:pt>
                <c:pt idx="3">
                  <c:v>9.3895999999999997</c:v>
                </c:pt>
                <c:pt idx="4">
                  <c:v>18.3688</c:v>
                </c:pt>
              </c:numCache>
            </c:numRef>
          </c:xVal>
          <c:yVal>
            <c:numRef>
              <c:f>Sheet1!$B$2:$B$6</c:f>
              <c:numCache>
                <c:formatCode>General</c:formatCode>
                <c:ptCount val="5"/>
                <c:pt idx="0">
                  <c:v>1.613</c:v>
                </c:pt>
                <c:pt idx="1">
                  <c:v>0.63400000000000001</c:v>
                </c:pt>
                <c:pt idx="2">
                  <c:v>1.9510000000000001</c:v>
                </c:pt>
                <c:pt idx="3">
                  <c:v>0.52600000000000002</c:v>
                </c:pt>
                <c:pt idx="4">
                  <c:v>1.0369999999999999</c:v>
                </c:pt>
              </c:numCache>
            </c:numRef>
          </c:yVal>
          <c:bubbleSize>
            <c:numRef>
              <c:f>Sheet1!$C$2:$C$6</c:f>
              <c:numCache>
                <c:formatCode>General</c:formatCode>
                <c:ptCount val="5"/>
                <c:pt idx="0">
                  <c:v>33268</c:v>
                </c:pt>
                <c:pt idx="1">
                  <c:v>19288</c:v>
                </c:pt>
                <c:pt idx="2">
                  <c:v>6088</c:v>
                </c:pt>
                <c:pt idx="3">
                  <c:v>5061</c:v>
                </c:pt>
                <c:pt idx="4">
                  <c:v>2939</c:v>
                </c:pt>
              </c:numCache>
            </c:numRef>
          </c:bubbleSize>
          <c:bubble3D val="0"/>
          <c:extLst>
            <c:ext xmlns:c15="http://schemas.microsoft.com/office/drawing/2012/chart" uri="{02D57815-91ED-43cb-92C2-25804820EDAC}">
              <c15:datalabelsRange>
                <c15:f>Sheet1!$E$2:$E$10</c15:f>
                <c15:dlblRangeCache>
                  <c:ptCount val="9"/>
                  <c:pt idx="0">
                    <c:v>De Chanceny</c:v>
                  </c:pt>
                  <c:pt idx="1">
                    <c:v>Lyre's</c:v>
                  </c:pt>
                  <c:pt idx="2">
                    <c:v>French Bloom</c:v>
                  </c:pt>
                  <c:pt idx="3">
                    <c:v>Veuve Du Vernay</c:v>
                  </c:pt>
                  <c:pt idx="4">
                    <c:v>Nectaros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2"/>
          <c:min val="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1510000000000002"/>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E57D03F-56A0-45C6-BFC6-F9A0332DF9E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FBC3AC6-56AE-4CB8-810F-0A77CCA665F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FB7527E-E140-4EFC-AA0A-6B90F990604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140DCED-47AB-40BD-BED7-538E79F3B87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1046CB1B-F549-4DE8-82C0-BED745A20FD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503439AF-5867-4DF2-BE32-67A6647FF46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1F40FC09-BA2D-46DA-8BC3-6110E71D259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493FA363-FE02-4234-9BB8-B2A25F31D41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29.110499999999998</c:v>
                </c:pt>
                <c:pt idx="1">
                  <c:v>11.432700000000001</c:v>
                </c:pt>
                <c:pt idx="2">
                  <c:v>34.455300000000001</c:v>
                </c:pt>
                <c:pt idx="3">
                  <c:v>9.4687999999999999</c:v>
                </c:pt>
                <c:pt idx="4">
                  <c:v>18.4194</c:v>
                </c:pt>
              </c:numCache>
            </c:numRef>
          </c:xVal>
          <c:yVal>
            <c:numRef>
              <c:f>Sheet1!$B$2:$B$6</c:f>
              <c:numCache>
                <c:formatCode>General</c:formatCode>
                <c:ptCount val="5"/>
                <c:pt idx="0">
                  <c:v>1.42</c:v>
                </c:pt>
                <c:pt idx="1">
                  <c:v>0.55900000000000005</c:v>
                </c:pt>
                <c:pt idx="2">
                  <c:v>1.669</c:v>
                </c:pt>
                <c:pt idx="3">
                  <c:v>0.46100000000000002</c:v>
                </c:pt>
                <c:pt idx="4">
                  <c:v>0.97499999999999998</c:v>
                </c:pt>
              </c:numCache>
            </c:numRef>
          </c:yVal>
          <c:bubbleSize>
            <c:numRef>
              <c:f>Sheet1!$C$2:$C$6</c:f>
              <c:numCache>
                <c:formatCode>General</c:formatCode>
                <c:ptCount val="5"/>
                <c:pt idx="0">
                  <c:v>30304</c:v>
                </c:pt>
                <c:pt idx="1">
                  <c:v>11387</c:v>
                </c:pt>
                <c:pt idx="2">
                  <c:v>8097</c:v>
                </c:pt>
                <c:pt idx="3">
                  <c:v>2727</c:v>
                </c:pt>
                <c:pt idx="4">
                  <c:v>1142</c:v>
                </c:pt>
              </c:numCache>
            </c:numRef>
          </c:bubbleSize>
          <c:bubble3D val="0"/>
          <c:extLst>
            <c:ext xmlns:c15="http://schemas.microsoft.com/office/drawing/2012/chart" uri="{02D57815-91ED-43cb-92C2-25804820EDAC}">
              <c15:datalabelsRange>
                <c15:f>Sheet1!$E$2:$E$10</c15:f>
                <c15:dlblRangeCache>
                  <c:ptCount val="9"/>
                  <c:pt idx="0">
                    <c:v>De Chanceny</c:v>
                  </c:pt>
                  <c:pt idx="1">
                    <c:v>Lyre's</c:v>
                  </c:pt>
                  <c:pt idx="2">
                    <c:v>French Bloom</c:v>
                  </c:pt>
                  <c:pt idx="3">
                    <c:v>Veuve Du Vernay</c:v>
                  </c:pt>
                  <c:pt idx="4">
                    <c:v>Nectaros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1"/>
          <c:min val="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86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4B4F813-4A44-4A32-B563-DF6488D0A51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181ED03-D0C4-4E23-84A9-A316D842FF7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9E85A21-CE2C-416A-9650-3FDA0A0778B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9B43719-C15D-42CE-B95E-F4BB8DE1766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146BF1FE-3FF6-4256-BB3E-C8BB17FA851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FE3CE50-9360-4B97-AA19-2491A2E8A7B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6512F9A-59B6-4BF8-8592-70E0DBD1377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55330101-747A-4650-B93B-C451606C19C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70.331900000000005</c:v>
                </c:pt>
                <c:pt idx="1">
                  <c:v>23.5243</c:v>
                </c:pt>
                <c:pt idx="2">
                  <c:v>50.431899999999999</c:v>
                </c:pt>
                <c:pt idx="3">
                  <c:v>53.389200000000002</c:v>
                </c:pt>
                <c:pt idx="4">
                  <c:v>31.674299999999999</c:v>
                </c:pt>
                <c:pt idx="5">
                  <c:v>83.896100000000004</c:v>
                </c:pt>
                <c:pt idx="6">
                  <c:v>33.087600000000002</c:v>
                </c:pt>
                <c:pt idx="7">
                  <c:v>56.0105</c:v>
                </c:pt>
              </c:numCache>
            </c:numRef>
          </c:xVal>
          <c:yVal>
            <c:numRef>
              <c:f>Sheet1!$B$2:$B$9</c:f>
              <c:numCache>
                <c:formatCode>General</c:formatCode>
                <c:ptCount val="8"/>
                <c:pt idx="0">
                  <c:v>1.853</c:v>
                </c:pt>
                <c:pt idx="1">
                  <c:v>0.629</c:v>
                </c:pt>
                <c:pt idx="2">
                  <c:v>1.3260000000000001</c:v>
                </c:pt>
                <c:pt idx="3">
                  <c:v>1.2849999999999999</c:v>
                </c:pt>
                <c:pt idx="4">
                  <c:v>0.84099999999999997</c:v>
                </c:pt>
                <c:pt idx="5">
                  <c:v>2.177</c:v>
                </c:pt>
                <c:pt idx="6">
                  <c:v>0.86799999999999999</c:v>
                </c:pt>
                <c:pt idx="7">
                  <c:v>1.337</c:v>
                </c:pt>
              </c:numCache>
            </c:numRef>
          </c:yVal>
          <c:bubbleSize>
            <c:numRef>
              <c:f>Sheet1!$C$2:$C$9</c:f>
              <c:numCache>
                <c:formatCode>General</c:formatCode>
                <c:ptCount val="8"/>
                <c:pt idx="0">
                  <c:v>1828137</c:v>
                </c:pt>
                <c:pt idx="1">
                  <c:v>611372</c:v>
                </c:pt>
                <c:pt idx="2">
                  <c:v>586220</c:v>
                </c:pt>
                <c:pt idx="3">
                  <c:v>507304</c:v>
                </c:pt>
                <c:pt idx="4">
                  <c:v>355481</c:v>
                </c:pt>
                <c:pt idx="5">
                  <c:v>287512</c:v>
                </c:pt>
                <c:pt idx="6">
                  <c:v>286936</c:v>
                </c:pt>
                <c:pt idx="7">
                  <c:v>239165</c:v>
                </c:pt>
              </c:numCache>
            </c:numRef>
          </c:bubbleSize>
          <c:bubble3D val="0"/>
          <c:extLst>
            <c:ext xmlns:c15="http://schemas.microsoft.com/office/drawing/2012/chart" uri="{02D57815-91ED-43cb-92C2-25804820EDAC}">
              <c15:datalabelsRange>
                <c15:f>Sheet1!$E$2:$E$10</c15:f>
                <c15:dlblRangeCache>
                  <c:ptCount val="9"/>
                  <c:pt idx="0">
                    <c:v>Ruinart</c:v>
                  </c:pt>
                  <c:pt idx="1">
                    <c:v>Nicolas</c:v>
                  </c:pt>
                  <c:pt idx="2">
                    <c:v>Deutz</c:v>
                  </c:pt>
                  <c:pt idx="3">
                    <c:v>Laurent Perrier</c:v>
                  </c:pt>
                  <c:pt idx="4">
                    <c:v>Malard</c:v>
                  </c:pt>
                  <c:pt idx="5">
                    <c:v>Roederer</c:v>
                  </c:pt>
                  <c:pt idx="6">
                    <c:v>Nicolas Feuillatte</c:v>
                  </c:pt>
                  <c:pt idx="7">
                    <c:v>Taittinger</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01"/>
          <c:min val="19"/>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A1415085-1D4A-4B52-9E1B-F1448993B2D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08CE6F6F-4B96-418F-BB3D-32C58188AE8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D871-46D6-BBFE-7C00E0D51738}"/>
                </c:ext>
              </c:extLst>
            </c:dLbl>
            <c:dLbl>
              <c:idx val="3"/>
              <c:tx>
                <c:rich>
                  <a:bodyPr/>
                  <a:lstStyle/>
                  <a:p>
                    <a:fld id="{96CB558E-2377-4D07-8487-E003A9C869B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D871-46D6-BBFE-7C00E0D51738}"/>
                </c:ext>
              </c:extLst>
            </c:dLbl>
            <c:dLbl>
              <c:idx val="4"/>
              <c:tx>
                <c:rich>
                  <a:bodyPr/>
                  <a:lstStyle/>
                  <a:p>
                    <a:fld id="{3606AED2-25FC-4F14-BFF6-CE0C819B235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D871-46D6-BBFE-7C00E0D51738}"/>
                </c:ext>
              </c:extLst>
            </c:dLbl>
            <c:dLbl>
              <c:idx val="5"/>
              <c:tx>
                <c:rich>
                  <a:bodyPr/>
                  <a:lstStyle/>
                  <a:p>
                    <a:fld id="{D5B330AA-90A1-4113-8D4B-6358969E01E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71-46D6-BBFE-7C00E0D51738}"/>
                </c:ext>
              </c:extLst>
            </c:dLbl>
            <c:dLbl>
              <c:idx val="6"/>
              <c:tx>
                <c:rich>
                  <a:bodyPr/>
                  <a:lstStyle/>
                  <a:p>
                    <a:fld id="{531EC109-BC39-4B8D-87FA-3DE30D20CD2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71-46D6-BBFE-7C00E0D51738}"/>
                </c:ext>
              </c:extLst>
            </c:dLbl>
            <c:dLbl>
              <c:idx val="7"/>
              <c:tx>
                <c:rich>
                  <a:bodyPr/>
                  <a:lstStyle/>
                  <a:p>
                    <a:fld id="{22399A87-9AE7-4BCC-BE74-F2DAE8C3107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71-46D6-BBFE-7C00E0D51738}"/>
                </c:ext>
              </c:extLst>
            </c:dLbl>
            <c:dLbl>
              <c:idx val="8"/>
              <c:tx>
                <c:rich>
                  <a:bodyPr/>
                  <a:lstStyle/>
                  <a:p>
                    <a:fld id="{9701E0C0-9281-46EC-BE39-C39DE747135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29.0425</c:v>
                </c:pt>
                <c:pt idx="1">
                  <c:v>11.2257</c:v>
                </c:pt>
              </c:numCache>
            </c:numRef>
          </c:xVal>
          <c:yVal>
            <c:numRef>
              <c:f>Sheet1!$B$2:$B$3</c:f>
              <c:numCache>
                <c:formatCode>General</c:formatCode>
                <c:ptCount val="2"/>
                <c:pt idx="0">
                  <c:v>1.581</c:v>
                </c:pt>
                <c:pt idx="1">
                  <c:v>0.61099999999999999</c:v>
                </c:pt>
              </c:numCache>
            </c:numRef>
          </c:yVal>
          <c:bubbleSize>
            <c:numRef>
              <c:f>Sheet1!$C$2:$C$3</c:f>
              <c:numCache>
                <c:formatCode>General</c:formatCode>
                <c:ptCount val="2"/>
                <c:pt idx="0">
                  <c:v>104553</c:v>
                </c:pt>
                <c:pt idx="1">
                  <c:v>56005</c:v>
                </c:pt>
              </c:numCache>
            </c:numRef>
          </c:bubbleSize>
          <c:bubble3D val="0"/>
          <c:extLst>
            <c:ext xmlns:c15="http://schemas.microsoft.com/office/drawing/2012/chart" uri="{02D57815-91ED-43cb-92C2-25804820EDAC}">
              <c15:datalabelsRange>
                <c15:f>Sheet1!$E$2:$E$10</c15:f>
                <c15:dlblRangeCache>
                  <c:ptCount val="9"/>
                  <c:pt idx="0">
                    <c:v>De Chanceny</c:v>
                  </c:pt>
                  <c:pt idx="1">
                    <c:v>Lyre's</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5"/>
          <c:min val="9"/>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7AFE2F9-EE3F-497B-B0C1-EB9A59FF44A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A8E33AC-89C1-4B19-A0B1-CE3AB46320A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455EC41-D4E7-4F58-A877-D97ECAB6F24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187B865-557C-4F9C-9CCF-0F732054C08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597CF664-6539-4D43-BF0F-DE70D9342C3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7B322810-41AB-4223-ADFF-C67784C1E87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5A1EBC15-29F6-44A2-B1F9-48FBD550557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6BB41B78-9430-4216-842B-E0F88E7C1E2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29.191199999999998</c:v>
                </c:pt>
                <c:pt idx="1">
                  <c:v>11.3607</c:v>
                </c:pt>
                <c:pt idx="2">
                  <c:v>9.3798999999999992</c:v>
                </c:pt>
                <c:pt idx="3">
                  <c:v>36.173099999999998</c:v>
                </c:pt>
                <c:pt idx="4">
                  <c:v>18.4068</c:v>
                </c:pt>
              </c:numCache>
            </c:numRef>
          </c:xVal>
          <c:yVal>
            <c:numRef>
              <c:f>Sheet1!$B$2:$B$6</c:f>
              <c:numCache>
                <c:formatCode>General</c:formatCode>
                <c:ptCount val="5"/>
                <c:pt idx="0">
                  <c:v>1.6819999999999999</c:v>
                </c:pt>
                <c:pt idx="1">
                  <c:v>0.64600000000000002</c:v>
                </c:pt>
                <c:pt idx="2">
                  <c:v>0.53300000000000003</c:v>
                </c:pt>
                <c:pt idx="3">
                  <c:v>1.9139999999999999</c:v>
                </c:pt>
                <c:pt idx="4">
                  <c:v>1.1599999999999999</c:v>
                </c:pt>
              </c:numCache>
            </c:numRef>
          </c:yVal>
          <c:bubbleSize>
            <c:numRef>
              <c:f>Sheet1!$C$2:$C$6</c:f>
              <c:numCache>
                <c:formatCode>General</c:formatCode>
                <c:ptCount val="5"/>
                <c:pt idx="0">
                  <c:v>16493</c:v>
                </c:pt>
                <c:pt idx="1">
                  <c:v>9952</c:v>
                </c:pt>
                <c:pt idx="2">
                  <c:v>2617</c:v>
                </c:pt>
                <c:pt idx="3">
                  <c:v>1881</c:v>
                </c:pt>
                <c:pt idx="4">
                  <c:v>1086</c:v>
                </c:pt>
              </c:numCache>
            </c:numRef>
          </c:bubbleSize>
          <c:bubble3D val="0"/>
          <c:extLst>
            <c:ext xmlns:c15="http://schemas.microsoft.com/office/drawing/2012/chart" uri="{02D57815-91ED-43cb-92C2-25804820EDAC}">
              <c15:datalabelsRange>
                <c15:f>Sheet1!$E$2:$E$10</c15:f>
                <c15:dlblRangeCache>
                  <c:ptCount val="9"/>
                  <c:pt idx="0">
                    <c:v>De Chanceny</c:v>
                  </c:pt>
                  <c:pt idx="1">
                    <c:v>Lyre's</c:v>
                  </c:pt>
                  <c:pt idx="2">
                    <c:v>Veuve Du Vernay</c:v>
                  </c:pt>
                  <c:pt idx="3">
                    <c:v>French Bloom</c:v>
                  </c:pt>
                  <c:pt idx="4">
                    <c:v>Nectaros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3"/>
          <c:min val="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113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5E6E275-3006-4B5F-AEF5-0C1E86ADE03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4B5B6C0-4986-4EB5-992D-ECB94EFB7F4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B88C2DA-9EA1-4B6D-968B-329A35A9FB6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367EF7B-E885-45A0-BDD5-8B7440E58D6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5C26BCAE-C91A-40F5-94FB-BB64B3F3CD6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1BDCFCB8-FE6D-4D28-90C0-8DB38F0A4EB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2D67ED3C-4BAC-4C05-B2D3-15C49D484B0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B73FD9C9-763F-4FF1-8A66-B9BCB44FE5F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29.011900000000001</c:v>
                </c:pt>
                <c:pt idx="1">
                  <c:v>11.3827</c:v>
                </c:pt>
                <c:pt idx="2">
                  <c:v>34.131599999999999</c:v>
                </c:pt>
                <c:pt idx="3">
                  <c:v>9.2882999999999996</c:v>
                </c:pt>
                <c:pt idx="4">
                  <c:v>18.046299999999999</c:v>
                </c:pt>
              </c:numCache>
            </c:numRef>
          </c:xVal>
          <c:yVal>
            <c:numRef>
              <c:f>Sheet1!$B$2:$B$6</c:f>
              <c:numCache>
                <c:formatCode>General</c:formatCode>
                <c:ptCount val="5"/>
                <c:pt idx="0">
                  <c:v>1.6539999999999999</c:v>
                </c:pt>
                <c:pt idx="1">
                  <c:v>0.64900000000000002</c:v>
                </c:pt>
                <c:pt idx="2">
                  <c:v>1.9410000000000001</c:v>
                </c:pt>
                <c:pt idx="3">
                  <c:v>0.52900000000000003</c:v>
                </c:pt>
                <c:pt idx="4">
                  <c:v>1.056</c:v>
                </c:pt>
              </c:numCache>
            </c:numRef>
          </c:yVal>
          <c:bubbleSize>
            <c:numRef>
              <c:f>Sheet1!$C$2:$C$6</c:f>
              <c:numCache>
                <c:formatCode>General</c:formatCode>
                <c:ptCount val="5"/>
                <c:pt idx="0">
                  <c:v>237317</c:v>
                </c:pt>
                <c:pt idx="1">
                  <c:v>154292</c:v>
                </c:pt>
                <c:pt idx="2">
                  <c:v>41743</c:v>
                </c:pt>
                <c:pt idx="3">
                  <c:v>35667</c:v>
                </c:pt>
                <c:pt idx="4">
                  <c:v>21836</c:v>
                </c:pt>
              </c:numCache>
            </c:numRef>
          </c:bubbleSize>
          <c:bubble3D val="0"/>
          <c:extLst>
            <c:ext xmlns:c15="http://schemas.microsoft.com/office/drawing/2012/chart" uri="{02D57815-91ED-43cb-92C2-25804820EDAC}">
              <c15:datalabelsRange>
                <c15:f>Sheet1!$E$2:$E$10</c15:f>
                <c15:dlblRangeCache>
                  <c:ptCount val="9"/>
                  <c:pt idx="0">
                    <c:v>De Chanceny</c:v>
                  </c:pt>
                  <c:pt idx="1">
                    <c:v>Lyre's</c:v>
                  </c:pt>
                  <c:pt idx="2">
                    <c:v>French Bloom</c:v>
                  </c:pt>
                  <c:pt idx="3">
                    <c:v>Veuve Du Vernay</c:v>
                  </c:pt>
                  <c:pt idx="4">
                    <c:v>Nectaros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1"/>
          <c:min val="7"/>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141"/>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12913E8-D06F-4976-9605-858DA7EB2ED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B34449E-424D-4526-99D5-F6C76896C38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B59ADBF-E03B-43C2-A5FA-33F300CDED4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3EAF71F-930B-4CB9-A05F-CDC7DACC492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613D1C71-95F2-4B9C-AE52-359BF07C16C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14412795-71C3-41CB-9FF6-C802A4581F8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0B8D4EA1-4F3B-4761-8C81-0C6C3A66513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F5BF9337-09A1-431B-9446-052EBA8115D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29.1084</c:v>
                </c:pt>
                <c:pt idx="1">
                  <c:v>11.2789</c:v>
                </c:pt>
                <c:pt idx="2">
                  <c:v>34.587299999999999</c:v>
                </c:pt>
                <c:pt idx="3">
                  <c:v>9.4718</c:v>
                </c:pt>
                <c:pt idx="4">
                  <c:v>18.257400000000001</c:v>
                </c:pt>
              </c:numCache>
            </c:numRef>
          </c:xVal>
          <c:yVal>
            <c:numRef>
              <c:f>Sheet1!$B$2:$B$6</c:f>
              <c:numCache>
                <c:formatCode>General</c:formatCode>
                <c:ptCount val="5"/>
                <c:pt idx="0">
                  <c:v>1.6479999999999999</c:v>
                </c:pt>
                <c:pt idx="1">
                  <c:v>0.63400000000000001</c:v>
                </c:pt>
                <c:pt idx="2">
                  <c:v>1.9790000000000001</c:v>
                </c:pt>
                <c:pt idx="3">
                  <c:v>0.53700000000000003</c:v>
                </c:pt>
                <c:pt idx="4">
                  <c:v>1.0589999999999999</c:v>
                </c:pt>
              </c:numCache>
            </c:numRef>
          </c:yVal>
          <c:bubbleSize>
            <c:numRef>
              <c:f>Sheet1!$C$2:$C$6</c:f>
              <c:numCache>
                <c:formatCode>General</c:formatCode>
                <c:ptCount val="5"/>
                <c:pt idx="0">
                  <c:v>26576</c:v>
                </c:pt>
                <c:pt idx="1">
                  <c:v>15813</c:v>
                </c:pt>
                <c:pt idx="2">
                  <c:v>4358</c:v>
                </c:pt>
                <c:pt idx="3">
                  <c:v>4196</c:v>
                </c:pt>
                <c:pt idx="4">
                  <c:v>2483</c:v>
                </c:pt>
              </c:numCache>
            </c:numRef>
          </c:bubbleSize>
          <c:bubble3D val="0"/>
          <c:extLst>
            <c:ext xmlns:c15="http://schemas.microsoft.com/office/drawing/2012/chart" uri="{02D57815-91ED-43cb-92C2-25804820EDAC}">
              <c15:datalabelsRange>
                <c15:f>Sheet1!$E$2:$E$10</c15:f>
                <c15:dlblRangeCache>
                  <c:ptCount val="9"/>
                  <c:pt idx="0">
                    <c:v>De Chanceny</c:v>
                  </c:pt>
                  <c:pt idx="1">
                    <c:v>Lyre's</c:v>
                  </c:pt>
                  <c:pt idx="2">
                    <c:v>French Bloom</c:v>
                  </c:pt>
                  <c:pt idx="3">
                    <c:v>Veuve Du Vernay</c:v>
                  </c:pt>
                  <c:pt idx="4">
                    <c:v>Nectaros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2"/>
          <c:min val="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1790000000000003"/>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7688E10-D85B-4BAC-8634-798EC55FFD7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BA1FFBF-B013-465E-8E84-CA1178F6721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B2E4AE5-91EF-4DC6-A1BA-931AB55CAC0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D65E6C1-68FB-4D15-B2BA-ED7D4F295DA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4C8A0C8-F245-4939-B225-EE01975A9F3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8A0D19C8-C8F6-44E2-B84E-5817F26E2D4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A08533C7-8CC1-4A8E-AF2B-7021A749274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67905408-11C9-40ED-8182-78559FB581E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29.1648</c:v>
                </c:pt>
                <c:pt idx="1">
                  <c:v>11.4002</c:v>
                </c:pt>
                <c:pt idx="2">
                  <c:v>9.4817</c:v>
                </c:pt>
                <c:pt idx="3">
                  <c:v>35.100999999999999</c:v>
                </c:pt>
                <c:pt idx="4">
                  <c:v>18.162400000000002</c:v>
                </c:pt>
              </c:numCache>
            </c:numRef>
          </c:xVal>
          <c:yVal>
            <c:numRef>
              <c:f>Sheet1!$B$2:$B$6</c:f>
              <c:numCache>
                <c:formatCode>General</c:formatCode>
                <c:ptCount val="5"/>
                <c:pt idx="0">
                  <c:v>1.6870000000000001</c:v>
                </c:pt>
                <c:pt idx="1">
                  <c:v>0.65200000000000002</c:v>
                </c:pt>
                <c:pt idx="2">
                  <c:v>0.54300000000000004</c:v>
                </c:pt>
                <c:pt idx="3">
                  <c:v>1.962</c:v>
                </c:pt>
                <c:pt idx="4">
                  <c:v>1.099</c:v>
                </c:pt>
              </c:numCache>
            </c:numRef>
          </c:yVal>
          <c:bubbleSize>
            <c:numRef>
              <c:f>Sheet1!$C$2:$C$6</c:f>
              <c:numCache>
                <c:formatCode>General</c:formatCode>
                <c:ptCount val="5"/>
                <c:pt idx="0">
                  <c:v>18403</c:v>
                </c:pt>
                <c:pt idx="1">
                  <c:v>11081</c:v>
                </c:pt>
                <c:pt idx="2">
                  <c:v>4134</c:v>
                </c:pt>
                <c:pt idx="3">
                  <c:v>3475</c:v>
                </c:pt>
                <c:pt idx="4">
                  <c:v>2125</c:v>
                </c:pt>
              </c:numCache>
            </c:numRef>
          </c:bubbleSize>
          <c:bubble3D val="0"/>
          <c:extLst>
            <c:ext xmlns:c15="http://schemas.microsoft.com/office/drawing/2012/chart" uri="{02D57815-91ED-43cb-92C2-25804820EDAC}">
              <c15:datalabelsRange>
                <c15:f>Sheet1!$E$2:$E$10</c15:f>
                <c15:dlblRangeCache>
                  <c:ptCount val="9"/>
                  <c:pt idx="0">
                    <c:v>De Chanceny</c:v>
                  </c:pt>
                  <c:pt idx="1">
                    <c:v>Lyre's</c:v>
                  </c:pt>
                  <c:pt idx="2">
                    <c:v>Veuve Du Vernay</c:v>
                  </c:pt>
                  <c:pt idx="3">
                    <c:v>French Bloom</c:v>
                  </c:pt>
                  <c:pt idx="4">
                    <c:v>Nectaros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2"/>
          <c:min val="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161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74B3850-1DA6-4A51-BDE9-6DAF5B8AA34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30462ED-3BE9-41EE-9997-673D52F96E9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059B2D8-79C5-49BE-87BC-E4D75E7B1E4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8DC9D8F-A578-487E-8329-087154E7BC0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6F0C0542-6AF2-4E34-A92C-8F29439B677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D397B76-F0A8-4297-97DC-CED929FC6DB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94BA97E9-18BA-4CE0-B379-C2E96B2FE1E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BE39BEAB-A274-40A2-8E1C-3D061ECB037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29.628900000000002</c:v>
                </c:pt>
                <c:pt idx="1">
                  <c:v>11.506600000000001</c:v>
                </c:pt>
                <c:pt idx="2">
                  <c:v>11.8362</c:v>
                </c:pt>
                <c:pt idx="3">
                  <c:v>9.4666999999999994</c:v>
                </c:pt>
                <c:pt idx="4">
                  <c:v>38.7273</c:v>
                </c:pt>
                <c:pt idx="5">
                  <c:v>19.1951</c:v>
                </c:pt>
              </c:numCache>
            </c:numRef>
          </c:xVal>
          <c:yVal>
            <c:numRef>
              <c:f>Sheet1!$B$2:$B$7</c:f>
              <c:numCache>
                <c:formatCode>General</c:formatCode>
                <c:ptCount val="6"/>
                <c:pt idx="0">
                  <c:v>1.8049999999999999</c:v>
                </c:pt>
                <c:pt idx="1">
                  <c:v>0.71299999999999997</c:v>
                </c:pt>
                <c:pt idx="2">
                  <c:v>0.69699999999999995</c:v>
                </c:pt>
                <c:pt idx="3">
                  <c:v>0.56200000000000006</c:v>
                </c:pt>
                <c:pt idx="4">
                  <c:v>1.873</c:v>
                </c:pt>
                <c:pt idx="5">
                  <c:v>1.2529999999999999</c:v>
                </c:pt>
              </c:numCache>
            </c:numRef>
          </c:yVal>
          <c:bubbleSize>
            <c:numRef>
              <c:f>Sheet1!$C$2:$C$7</c:f>
              <c:numCache>
                <c:formatCode>General</c:formatCode>
                <c:ptCount val="6"/>
                <c:pt idx="0">
                  <c:v>9422</c:v>
                </c:pt>
                <c:pt idx="1">
                  <c:v>7859</c:v>
                </c:pt>
                <c:pt idx="2">
                  <c:v>1373</c:v>
                </c:pt>
                <c:pt idx="3">
                  <c:v>1278</c:v>
                </c:pt>
                <c:pt idx="4">
                  <c:v>852</c:v>
                </c:pt>
                <c:pt idx="5">
                  <c:v>787</c:v>
                </c:pt>
              </c:numCache>
            </c:numRef>
          </c:bubbleSize>
          <c:bubble3D val="0"/>
          <c:extLst>
            <c:ext xmlns:c15="http://schemas.microsoft.com/office/drawing/2012/chart" uri="{02D57815-91ED-43cb-92C2-25804820EDAC}">
              <c15:datalabelsRange>
                <c15:f>Sheet1!$E$2:$E$10</c15:f>
                <c15:dlblRangeCache>
                  <c:ptCount val="9"/>
                  <c:pt idx="0">
                    <c:v>De Chanceny</c:v>
                  </c:pt>
                  <c:pt idx="1">
                    <c:v>Lyre's</c:v>
                  </c:pt>
                  <c:pt idx="2">
                    <c:v>Vallon</c:v>
                  </c:pt>
                  <c:pt idx="3">
                    <c:v>Veuve Du Vernay</c:v>
                  </c:pt>
                  <c:pt idx="4">
                    <c:v>French Bloom</c:v>
                  </c:pt>
                  <c:pt idx="5">
                    <c:v>Nectaros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6"/>
          <c:min val="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073"/>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B9EFF97-1E0A-41A6-B304-34E1E38EDB0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C7E6953-0B13-4735-AD32-C492805598A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DBB2D22-363E-48E3-A60F-E108D37AED9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B8DBDEB-8A69-43DE-9321-79E01DBC7C9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E40927F-4AA4-4426-9371-299DD458E1C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4B84A04D-EFC1-4591-B156-31BF3E3866E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F7A5B754-5AC7-49F1-B803-5C8F4DA38AA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360759CE-EA4F-411C-8E39-C5B2E47B801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29.984000000000002</c:v>
                </c:pt>
                <c:pt idx="1">
                  <c:v>11.5024</c:v>
                </c:pt>
                <c:pt idx="2">
                  <c:v>36.222200000000001</c:v>
                </c:pt>
                <c:pt idx="3">
                  <c:v>19.0167</c:v>
                </c:pt>
                <c:pt idx="4">
                  <c:v>10.0185</c:v>
                </c:pt>
              </c:numCache>
            </c:numRef>
          </c:xVal>
          <c:yVal>
            <c:numRef>
              <c:f>Sheet1!$B$2:$B$6</c:f>
              <c:numCache>
                <c:formatCode>General</c:formatCode>
                <c:ptCount val="5"/>
                <c:pt idx="0">
                  <c:v>1.706</c:v>
                </c:pt>
                <c:pt idx="1">
                  <c:v>0.68300000000000005</c:v>
                </c:pt>
                <c:pt idx="2">
                  <c:v>1.776</c:v>
                </c:pt>
                <c:pt idx="3">
                  <c:v>1.157</c:v>
                </c:pt>
                <c:pt idx="4">
                  <c:v>0.55500000000000005</c:v>
                </c:pt>
              </c:numCache>
            </c:numRef>
          </c:yVal>
          <c:bubbleSize>
            <c:numRef>
              <c:f>Sheet1!$C$2:$C$6</c:f>
              <c:numCache>
                <c:formatCode>General</c:formatCode>
                <c:ptCount val="5"/>
                <c:pt idx="0">
                  <c:v>5637</c:v>
                </c:pt>
                <c:pt idx="1">
                  <c:v>4716</c:v>
                </c:pt>
                <c:pt idx="2">
                  <c:v>1304</c:v>
                </c:pt>
                <c:pt idx="3">
                  <c:v>1141</c:v>
                </c:pt>
                <c:pt idx="4">
                  <c:v>1082</c:v>
                </c:pt>
              </c:numCache>
            </c:numRef>
          </c:bubbleSize>
          <c:bubble3D val="0"/>
          <c:extLst>
            <c:ext xmlns:c15="http://schemas.microsoft.com/office/drawing/2012/chart" uri="{02D57815-91ED-43cb-92C2-25804820EDAC}">
              <c15:datalabelsRange>
                <c15:f>Sheet1!$E$2:$E$10</c15:f>
                <c15:dlblRangeCache>
                  <c:ptCount val="9"/>
                  <c:pt idx="0">
                    <c:v>De Chanceny</c:v>
                  </c:pt>
                  <c:pt idx="1">
                    <c:v>Lyre's</c:v>
                  </c:pt>
                  <c:pt idx="2">
                    <c:v>French Bloom</c:v>
                  </c:pt>
                  <c:pt idx="3">
                    <c:v>Nectarose</c:v>
                  </c:pt>
                  <c:pt idx="4">
                    <c:v>Veuve Du Verna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3"/>
          <c:min val="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976"/>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A7BF81E-7106-4B79-A69D-4A8E1124B47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5361F7C-6409-4240-B548-70A5938558A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2098AFF-1630-4705-ADDC-9BAA96D7F01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13358F8-E03D-4ECB-8CE4-8C1D1F964B6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7FB39C0-BB9C-4F72-8BC3-8A23D45406B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6432FFF0-4493-495C-AA21-BA8E27C6C88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C4EE4E51-E202-4D58-AD24-41636FC1D3B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934045FB-0118-4D5E-AE85-1E5330587EE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29.0425</c:v>
                </c:pt>
                <c:pt idx="1">
                  <c:v>11.2257</c:v>
                </c:pt>
                <c:pt idx="2">
                  <c:v>34.255600000000001</c:v>
                </c:pt>
                <c:pt idx="3">
                  <c:v>9.2561999999999998</c:v>
                </c:pt>
                <c:pt idx="4">
                  <c:v>18.081900000000001</c:v>
                </c:pt>
              </c:numCache>
            </c:numRef>
          </c:xVal>
          <c:yVal>
            <c:numRef>
              <c:f>Sheet1!$B$2:$B$6</c:f>
              <c:numCache>
                <c:formatCode>General</c:formatCode>
                <c:ptCount val="5"/>
                <c:pt idx="0">
                  <c:v>1.581</c:v>
                </c:pt>
                <c:pt idx="1">
                  <c:v>0.61099999999999999</c:v>
                </c:pt>
                <c:pt idx="2">
                  <c:v>1.86</c:v>
                </c:pt>
                <c:pt idx="3">
                  <c:v>0.503</c:v>
                </c:pt>
                <c:pt idx="4">
                  <c:v>1.012</c:v>
                </c:pt>
              </c:numCache>
            </c:numRef>
          </c:yVal>
          <c:bubbleSize>
            <c:numRef>
              <c:f>Sheet1!$C$2:$C$6</c:f>
              <c:numCache>
                <c:formatCode>General</c:formatCode>
                <c:ptCount val="5"/>
                <c:pt idx="0">
                  <c:v>104553</c:v>
                </c:pt>
                <c:pt idx="1">
                  <c:v>56005</c:v>
                </c:pt>
                <c:pt idx="2">
                  <c:v>21581</c:v>
                </c:pt>
                <c:pt idx="3">
                  <c:v>13005</c:v>
                </c:pt>
                <c:pt idx="4">
                  <c:v>10162</c:v>
                </c:pt>
              </c:numCache>
            </c:numRef>
          </c:bubbleSize>
          <c:bubble3D val="0"/>
          <c:extLst>
            <c:ext xmlns:c15="http://schemas.microsoft.com/office/drawing/2012/chart" uri="{02D57815-91ED-43cb-92C2-25804820EDAC}">
              <c15:datalabelsRange>
                <c15:f>Sheet1!$E$2:$E$10</c15:f>
                <c15:dlblRangeCache>
                  <c:ptCount val="9"/>
                  <c:pt idx="0">
                    <c:v>De Chanceny</c:v>
                  </c:pt>
                  <c:pt idx="1">
                    <c:v>Lyre's</c:v>
                  </c:pt>
                  <c:pt idx="2">
                    <c:v>French Bloom</c:v>
                  </c:pt>
                  <c:pt idx="3">
                    <c:v>Veuve Du Vernay</c:v>
                  </c:pt>
                  <c:pt idx="4">
                    <c:v>Nectaros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1"/>
          <c:min val="7"/>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06"/>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77A831B-AF2A-4C5C-92C7-CF3231F1060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A9DE882-52B0-45DE-A1BF-8436EF8D09A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C818867-6CC7-4D73-8483-48133F62CCD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53093FB-26BF-4331-ACE3-6A838BE0DB1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9D0E4E1-7F86-4E67-B808-CACB0F85946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955D2E3D-519B-4C01-8001-B41135DEC7A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B8D64F1C-31B4-4DE9-A713-577C38A6DEE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807F57DB-ADAA-4C20-B8C1-2E4E7CFA3C5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29.084499999999998</c:v>
                </c:pt>
                <c:pt idx="1">
                  <c:v>11.353199999999999</c:v>
                </c:pt>
                <c:pt idx="2">
                  <c:v>34.473100000000002</c:v>
                </c:pt>
                <c:pt idx="3">
                  <c:v>9.3343000000000007</c:v>
                </c:pt>
                <c:pt idx="4">
                  <c:v>18.152999999999999</c:v>
                </c:pt>
              </c:numCache>
            </c:numRef>
          </c:xVal>
          <c:yVal>
            <c:numRef>
              <c:f>Sheet1!$B$2:$B$6</c:f>
              <c:numCache>
                <c:formatCode>General</c:formatCode>
                <c:ptCount val="5"/>
                <c:pt idx="0">
                  <c:v>1.68</c:v>
                </c:pt>
                <c:pt idx="1">
                  <c:v>0.65600000000000003</c:v>
                </c:pt>
                <c:pt idx="2">
                  <c:v>1.9690000000000001</c:v>
                </c:pt>
                <c:pt idx="3">
                  <c:v>0.53900000000000003</c:v>
                </c:pt>
                <c:pt idx="4">
                  <c:v>1.08</c:v>
                </c:pt>
              </c:numCache>
            </c:numRef>
          </c:yVal>
          <c:bubbleSize>
            <c:numRef>
              <c:f>Sheet1!$C$2:$C$6</c:f>
              <c:numCache>
                <c:formatCode>General</c:formatCode>
                <c:ptCount val="5"/>
                <c:pt idx="0">
                  <c:v>46128</c:v>
                </c:pt>
                <c:pt idx="1">
                  <c:v>33594</c:v>
                </c:pt>
                <c:pt idx="2">
                  <c:v>8963</c:v>
                </c:pt>
                <c:pt idx="3">
                  <c:v>6786</c:v>
                </c:pt>
                <c:pt idx="4">
                  <c:v>4865</c:v>
                </c:pt>
              </c:numCache>
            </c:numRef>
          </c:bubbleSize>
          <c:bubble3D val="0"/>
          <c:extLst>
            <c:ext xmlns:c15="http://schemas.microsoft.com/office/drawing/2012/chart" uri="{02D57815-91ED-43cb-92C2-25804820EDAC}">
              <c15:datalabelsRange>
                <c15:f>Sheet1!$E$2:$E$10</c15:f>
                <c15:dlblRangeCache>
                  <c:ptCount val="9"/>
                  <c:pt idx="0">
                    <c:v>De Chanceny</c:v>
                  </c:pt>
                  <c:pt idx="1">
                    <c:v>Lyre's</c:v>
                  </c:pt>
                  <c:pt idx="2">
                    <c:v>French Bloom</c:v>
                  </c:pt>
                  <c:pt idx="3">
                    <c:v>Veuve Du Vernay</c:v>
                  </c:pt>
                  <c:pt idx="4">
                    <c:v>Nectaros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1"/>
          <c:min val="7"/>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16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6999FFC-92A3-44E2-8EB2-C52F89A0780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B2416BC-6B0D-4EE1-A54B-FEABA0659BC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51BF46A-944F-4CF4-81D5-9E5DBD5EBE9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027F1DE-6B42-4BB6-A7CA-9250723A7FF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DD2C5F1-DAF9-47A2-A29B-7C78746C592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277B5840-BF3E-488D-A23D-3D1E21F6306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3BA46B61-52B9-41C5-A842-4D5A64A6AEB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4CF6F5D7-E04F-4C5D-9A77-A3DFE19FE60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29.0535</c:v>
                </c:pt>
                <c:pt idx="1">
                  <c:v>11.4306</c:v>
                </c:pt>
                <c:pt idx="2">
                  <c:v>34.411299999999997</c:v>
                </c:pt>
                <c:pt idx="3">
                  <c:v>9.3277999999999999</c:v>
                </c:pt>
                <c:pt idx="4">
                  <c:v>18.156300000000002</c:v>
                </c:pt>
              </c:numCache>
            </c:numRef>
          </c:xVal>
          <c:yVal>
            <c:numRef>
              <c:f>Sheet1!$B$2:$B$6</c:f>
              <c:numCache>
                <c:formatCode>General</c:formatCode>
                <c:ptCount val="5"/>
                <c:pt idx="0">
                  <c:v>1.665</c:v>
                </c:pt>
                <c:pt idx="1">
                  <c:v>0.65500000000000003</c:v>
                </c:pt>
                <c:pt idx="2">
                  <c:v>1.956</c:v>
                </c:pt>
                <c:pt idx="3">
                  <c:v>0.53400000000000003</c:v>
                </c:pt>
                <c:pt idx="4">
                  <c:v>1.073</c:v>
                </c:pt>
              </c:numCache>
            </c:numRef>
          </c:yVal>
          <c:bubbleSize>
            <c:numRef>
              <c:f>Sheet1!$C$2:$C$6</c:f>
              <c:numCache>
                <c:formatCode>General</c:formatCode>
                <c:ptCount val="5"/>
                <c:pt idx="0">
                  <c:v>74377</c:v>
                </c:pt>
                <c:pt idx="1">
                  <c:v>47963</c:v>
                </c:pt>
                <c:pt idx="2">
                  <c:v>14556</c:v>
                </c:pt>
                <c:pt idx="3">
                  <c:v>12863</c:v>
                </c:pt>
                <c:pt idx="4">
                  <c:v>6736</c:v>
                </c:pt>
              </c:numCache>
            </c:numRef>
          </c:bubbleSize>
          <c:bubble3D val="0"/>
          <c:extLst>
            <c:ext xmlns:c15="http://schemas.microsoft.com/office/drawing/2012/chart" uri="{02D57815-91ED-43cb-92C2-25804820EDAC}">
              <c15:datalabelsRange>
                <c15:f>Sheet1!$E$2:$E$10</c15:f>
                <c15:dlblRangeCache>
                  <c:ptCount val="9"/>
                  <c:pt idx="0">
                    <c:v>De Chanceny</c:v>
                  </c:pt>
                  <c:pt idx="1">
                    <c:v>Lyre's</c:v>
                  </c:pt>
                  <c:pt idx="2">
                    <c:v>French Bloom</c:v>
                  </c:pt>
                  <c:pt idx="3">
                    <c:v>Veuve Du Vernay</c:v>
                  </c:pt>
                  <c:pt idx="4">
                    <c:v>Nectaros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1"/>
          <c:min val="7"/>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1560000000000001"/>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828144B-2E2F-4144-8418-14B650327ED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DD7C93E-05B6-462F-9320-7EACF970895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C5514EA-7BBB-4503-9909-89BCDEF4086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316BFE7-9BFF-4044-845F-62F3256B85D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1363FC9-4701-4D91-9C18-7D74CCF0B55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28EF0003-46DE-4A38-9B4F-A720F2811E7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16500155-1592-4A20-BE4E-34BFB3C01D4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9F4245AE-A373-43A3-AA76-0326623C300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29.099299999999999</c:v>
                </c:pt>
                <c:pt idx="1">
                  <c:v>11.4146</c:v>
                </c:pt>
                <c:pt idx="2">
                  <c:v>9.3943999999999992</c:v>
                </c:pt>
                <c:pt idx="3">
                  <c:v>34.214300000000001</c:v>
                </c:pt>
                <c:pt idx="4">
                  <c:v>18.126999999999999</c:v>
                </c:pt>
              </c:numCache>
            </c:numRef>
          </c:xVal>
          <c:yVal>
            <c:numRef>
              <c:f>Sheet1!$B$2:$B$6</c:f>
              <c:numCache>
                <c:formatCode>General</c:formatCode>
                <c:ptCount val="5"/>
                <c:pt idx="0">
                  <c:v>1.766</c:v>
                </c:pt>
                <c:pt idx="1">
                  <c:v>0.69199999999999995</c:v>
                </c:pt>
                <c:pt idx="2">
                  <c:v>0.56999999999999995</c:v>
                </c:pt>
                <c:pt idx="3">
                  <c:v>2.105</c:v>
                </c:pt>
                <c:pt idx="4">
                  <c:v>1.123</c:v>
                </c:pt>
              </c:numCache>
            </c:numRef>
          </c:yVal>
          <c:bubbleSize>
            <c:numRef>
              <c:f>Sheet1!$C$2:$C$6</c:f>
              <c:numCache>
                <c:formatCode>General</c:formatCode>
                <c:ptCount val="5"/>
                <c:pt idx="0">
                  <c:v>52466</c:v>
                </c:pt>
                <c:pt idx="1">
                  <c:v>43330</c:v>
                </c:pt>
                <c:pt idx="2">
                  <c:v>9432</c:v>
                </c:pt>
                <c:pt idx="3">
                  <c:v>5748</c:v>
                </c:pt>
                <c:pt idx="4">
                  <c:v>5710</c:v>
                </c:pt>
              </c:numCache>
            </c:numRef>
          </c:bubbleSize>
          <c:bubble3D val="0"/>
          <c:extLst>
            <c:ext xmlns:c15="http://schemas.microsoft.com/office/drawing/2012/chart" uri="{02D57815-91ED-43cb-92C2-25804820EDAC}">
              <c15:datalabelsRange>
                <c15:f>Sheet1!$E$2:$E$10</c15:f>
                <c15:dlblRangeCache>
                  <c:ptCount val="9"/>
                  <c:pt idx="0">
                    <c:v>De Chanceny</c:v>
                  </c:pt>
                  <c:pt idx="1">
                    <c:v>Lyre's</c:v>
                  </c:pt>
                  <c:pt idx="2">
                    <c:v>Veuve Du Vernay</c:v>
                  </c:pt>
                  <c:pt idx="3">
                    <c:v>French Bloom</c:v>
                  </c:pt>
                  <c:pt idx="4">
                    <c:v>Nectaros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1"/>
          <c:min val="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3050000000000002"/>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856E603-AEC0-4BA9-8690-F829E87E330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1402046-E2F7-448A-9A15-1062BA6F752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D343C0E-F1AA-4FC1-ACAC-DCB474A34A3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5DBC403-86FA-4779-927D-F5A7F4265A2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6110AB9-F18C-4176-A8FE-75C6B1AD8C3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47B0720-4E84-4024-86A4-2E53F71AD77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FF68928-5498-47A3-9354-36B8D6B924A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4BC27C76-AD92-4DE6-81FF-4BFB407038E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68.133499999999998</c:v>
                </c:pt>
                <c:pt idx="1">
                  <c:v>23.392900000000001</c:v>
                </c:pt>
                <c:pt idx="2">
                  <c:v>48.761299999999999</c:v>
                </c:pt>
                <c:pt idx="3">
                  <c:v>51.302199999999999</c:v>
                </c:pt>
                <c:pt idx="4">
                  <c:v>31.512499999999999</c:v>
                </c:pt>
                <c:pt idx="5">
                  <c:v>32.631799999999998</c:v>
                </c:pt>
                <c:pt idx="6">
                  <c:v>29.2836</c:v>
                </c:pt>
                <c:pt idx="7">
                  <c:v>71.167199999999994</c:v>
                </c:pt>
              </c:numCache>
            </c:numRef>
          </c:xVal>
          <c:yVal>
            <c:numRef>
              <c:f>Sheet1!$B$2:$B$9</c:f>
              <c:numCache>
                <c:formatCode>General</c:formatCode>
                <c:ptCount val="8"/>
                <c:pt idx="0">
                  <c:v>1.595</c:v>
                </c:pt>
                <c:pt idx="1">
                  <c:v>0.55700000000000005</c:v>
                </c:pt>
                <c:pt idx="2">
                  <c:v>1.1419999999999999</c:v>
                </c:pt>
                <c:pt idx="3">
                  <c:v>1.097</c:v>
                </c:pt>
                <c:pt idx="4">
                  <c:v>0.747</c:v>
                </c:pt>
                <c:pt idx="5">
                  <c:v>0.76100000000000001</c:v>
                </c:pt>
                <c:pt idx="6">
                  <c:v>0.69299999999999995</c:v>
                </c:pt>
                <c:pt idx="7">
                  <c:v>1.6910000000000001</c:v>
                </c:pt>
              </c:numCache>
            </c:numRef>
          </c:yVal>
          <c:bubbleSize>
            <c:numRef>
              <c:f>Sheet1!$C$2:$C$9</c:f>
              <c:numCache>
                <c:formatCode>General</c:formatCode>
                <c:ptCount val="8"/>
                <c:pt idx="0">
                  <c:v>2147840</c:v>
                </c:pt>
                <c:pt idx="1">
                  <c:v>849490</c:v>
                </c:pt>
                <c:pt idx="2">
                  <c:v>757750</c:v>
                </c:pt>
                <c:pt idx="3">
                  <c:v>524411</c:v>
                </c:pt>
                <c:pt idx="4">
                  <c:v>464085</c:v>
                </c:pt>
                <c:pt idx="5">
                  <c:v>324491</c:v>
                </c:pt>
                <c:pt idx="6">
                  <c:v>304491</c:v>
                </c:pt>
                <c:pt idx="7">
                  <c:v>281324</c:v>
                </c:pt>
              </c:numCache>
            </c:numRef>
          </c:bubbleSize>
          <c:bubble3D val="0"/>
          <c:extLst>
            <c:ext xmlns:c15="http://schemas.microsoft.com/office/drawing/2012/chart" uri="{02D57815-91ED-43cb-92C2-25804820EDAC}">
              <c15:datalabelsRange>
                <c15:f>Sheet1!$E$2:$E$10</c15:f>
                <c15:dlblRangeCache>
                  <c:ptCount val="9"/>
                  <c:pt idx="0">
                    <c:v>Ruinart</c:v>
                  </c:pt>
                  <c:pt idx="1">
                    <c:v>Nicolas</c:v>
                  </c:pt>
                  <c:pt idx="2">
                    <c:v>Deutz</c:v>
                  </c:pt>
                  <c:pt idx="3">
                    <c:v>Laurent Perrier</c:v>
                  </c:pt>
                  <c:pt idx="4">
                    <c:v>Malard</c:v>
                  </c:pt>
                  <c:pt idx="5">
                    <c:v>Nicolas Feuillatte</c:v>
                  </c:pt>
                  <c:pt idx="6">
                    <c:v>Heidsieck &amp; Co Monopole</c:v>
                  </c:pt>
                  <c:pt idx="7">
                    <c:v>Roederer</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5"/>
          <c:min val="19"/>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40B06A9-41BF-4E6D-A6FF-E1992D01249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4B690A8-E7CA-4E92-9163-89827063A53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F426397-F0DF-44CB-8B53-434C16FBE94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F750676-FB5E-47E5-84E7-AB7393C3220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F80E7E9-FFC7-4E5E-B948-17A2591E0FE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8B4B3632-B8E4-4032-8600-6A04055F8FD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D1E45C79-EE8B-4F99-8511-75242177DE4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1975717D-41A9-4014-A195-DD0D00A1D4C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29.068899999999999</c:v>
                </c:pt>
                <c:pt idx="1">
                  <c:v>11.472899999999999</c:v>
                </c:pt>
                <c:pt idx="2">
                  <c:v>9.3858999999999995</c:v>
                </c:pt>
                <c:pt idx="3">
                  <c:v>35.276800000000001</c:v>
                </c:pt>
                <c:pt idx="4">
                  <c:v>18.317699999999999</c:v>
                </c:pt>
              </c:numCache>
            </c:numRef>
          </c:xVal>
          <c:yVal>
            <c:numRef>
              <c:f>Sheet1!$B$2:$B$6</c:f>
              <c:numCache>
                <c:formatCode>General</c:formatCode>
                <c:ptCount val="5"/>
                <c:pt idx="0">
                  <c:v>1.8120000000000001</c:v>
                </c:pt>
                <c:pt idx="1">
                  <c:v>0.71499999999999997</c:v>
                </c:pt>
                <c:pt idx="2">
                  <c:v>0.58599999999999997</c:v>
                </c:pt>
                <c:pt idx="3">
                  <c:v>2.1989999999999998</c:v>
                </c:pt>
                <c:pt idx="4">
                  <c:v>1.1830000000000001</c:v>
                </c:pt>
              </c:numCache>
            </c:numRef>
          </c:yVal>
          <c:bubbleSize>
            <c:numRef>
              <c:f>Sheet1!$C$2:$C$6</c:f>
              <c:numCache>
                <c:formatCode>General</c:formatCode>
                <c:ptCount val="5"/>
                <c:pt idx="0">
                  <c:v>45115</c:v>
                </c:pt>
                <c:pt idx="1">
                  <c:v>38503</c:v>
                </c:pt>
                <c:pt idx="2">
                  <c:v>10653</c:v>
                </c:pt>
                <c:pt idx="3">
                  <c:v>3951</c:v>
                </c:pt>
                <c:pt idx="4">
                  <c:v>3517</c:v>
                </c:pt>
              </c:numCache>
            </c:numRef>
          </c:bubbleSize>
          <c:bubble3D val="0"/>
          <c:extLst>
            <c:ext xmlns:c15="http://schemas.microsoft.com/office/drawing/2012/chart" uri="{02D57815-91ED-43cb-92C2-25804820EDAC}">
              <c15:datalabelsRange>
                <c15:f>Sheet1!$E$2:$E$10</c15:f>
                <c15:dlblRangeCache>
                  <c:ptCount val="9"/>
                  <c:pt idx="0">
                    <c:v>De Chanceny</c:v>
                  </c:pt>
                  <c:pt idx="1">
                    <c:v>Lyre's</c:v>
                  </c:pt>
                  <c:pt idx="2">
                    <c:v>Veuve Du Vernay</c:v>
                  </c:pt>
                  <c:pt idx="3">
                    <c:v>French Bloom</c:v>
                  </c:pt>
                  <c:pt idx="4">
                    <c:v>Nectaros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2"/>
          <c:min val="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3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B9F3E7C-262B-435C-B81E-8F68099929C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A8AF8EB-36EE-461F-8052-BBE0C9FFF79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5F9D010-E88E-4602-8885-62DBDFF374E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003BC41-C0AB-4DDA-867A-9C8511E71C8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70777F4-7BFE-4418-A654-C660D120B7B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78894C4-CCA2-4BDD-ADDB-24329B0E5C3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1D9A4F2A-BBC6-4619-B90B-34853FEF185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E297CC74-0177-4232-9501-D34FE1A7355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97.008300000000006</c:v>
                </c:pt>
                <c:pt idx="1">
                  <c:v>30.7135</c:v>
                </c:pt>
                <c:pt idx="2">
                  <c:v>60.427500000000002</c:v>
                </c:pt>
                <c:pt idx="3">
                  <c:v>38.333300000000001</c:v>
                </c:pt>
                <c:pt idx="4">
                  <c:v>35.273200000000003</c:v>
                </c:pt>
                <c:pt idx="5">
                  <c:v>46.685600000000001</c:v>
                </c:pt>
                <c:pt idx="6">
                  <c:v>74.661799999999999</c:v>
                </c:pt>
                <c:pt idx="7">
                  <c:v>53.226900000000001</c:v>
                </c:pt>
              </c:numCache>
            </c:numRef>
          </c:xVal>
          <c:yVal>
            <c:numRef>
              <c:f>Sheet1!$B$2:$B$9</c:f>
              <c:numCache>
                <c:formatCode>General</c:formatCode>
                <c:ptCount val="8"/>
                <c:pt idx="0">
                  <c:v>1.91</c:v>
                </c:pt>
                <c:pt idx="1">
                  <c:v>0.60699999999999998</c:v>
                </c:pt>
                <c:pt idx="2">
                  <c:v>1.214</c:v>
                </c:pt>
                <c:pt idx="3">
                  <c:v>0.78900000000000003</c:v>
                </c:pt>
                <c:pt idx="4">
                  <c:v>0.69699999999999995</c:v>
                </c:pt>
                <c:pt idx="5">
                  <c:v>0.92300000000000004</c:v>
                </c:pt>
                <c:pt idx="6">
                  <c:v>1.4530000000000001</c:v>
                </c:pt>
                <c:pt idx="7">
                  <c:v>1.03</c:v>
                </c:pt>
              </c:numCache>
            </c:numRef>
          </c:yVal>
          <c:bubbleSize>
            <c:numRef>
              <c:f>Sheet1!$C$2:$C$9</c:f>
              <c:numCache>
                <c:formatCode>General</c:formatCode>
                <c:ptCount val="8"/>
                <c:pt idx="0">
                  <c:v>7602346</c:v>
                </c:pt>
                <c:pt idx="1">
                  <c:v>5549709</c:v>
                </c:pt>
                <c:pt idx="2">
                  <c:v>578835</c:v>
                </c:pt>
                <c:pt idx="3">
                  <c:v>510638</c:v>
                </c:pt>
                <c:pt idx="4">
                  <c:v>450509</c:v>
                </c:pt>
                <c:pt idx="5">
                  <c:v>277219</c:v>
                </c:pt>
                <c:pt idx="6">
                  <c:v>213010</c:v>
                </c:pt>
                <c:pt idx="7">
                  <c:v>200080</c:v>
                </c:pt>
              </c:numCache>
            </c:numRef>
          </c:bubbleSize>
          <c:bubble3D val="0"/>
          <c:extLst>
            <c:ext xmlns:c15="http://schemas.microsoft.com/office/drawing/2012/chart" uri="{02D57815-91ED-43cb-92C2-25804820EDAC}">
              <c15:datalabelsRange>
                <c15:f>Sheet1!$E$2:$E$10</c15:f>
                <c15:dlblRangeCache>
                  <c:ptCount val="9"/>
                  <c:pt idx="0">
                    <c:v>Mhcs</c:v>
                  </c:pt>
                  <c:pt idx="1">
                    <c:v>C&amp;C Sas France</c:v>
                  </c:pt>
                  <c:pt idx="2">
                    <c:v>Lanson-Bcc</c:v>
                  </c:pt>
                  <c:pt idx="3">
                    <c:v>Malard Nicolas</c:v>
                  </c:pt>
                  <c:pt idx="4">
                    <c:v>Malard</c:v>
                  </c:pt>
                  <c:pt idx="5">
                    <c:v>Henriot</c:v>
                  </c:pt>
                  <c:pt idx="6">
                    <c:v>Bollinger</c:v>
                  </c:pt>
                  <c:pt idx="7">
                    <c:v>Delamott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16"/>
          <c:min val="2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11"/>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CAA58C3-3EA0-4513-8E26-A705C51B3BA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F1C90DE-5F1C-46DA-A918-9241AC743A9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C78F571-6C94-41D3-BEA4-7D1BB84A53F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EF43AF2-B723-495B-88AE-307D545A201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5964A9A1-FA22-43D9-9B30-B2EBA114455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84740C1-EE62-46F4-81A8-F06981A70B6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CC9D1342-9401-4CAD-9BEB-4A1B5358382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3A4B31E5-A7A6-476D-9B77-FA13DC8809D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98.226200000000006</c:v>
                </c:pt>
                <c:pt idx="1">
                  <c:v>38.6922</c:v>
                </c:pt>
                <c:pt idx="2">
                  <c:v>62.708399999999997</c:v>
                </c:pt>
                <c:pt idx="3">
                  <c:v>35.308900000000001</c:v>
                </c:pt>
                <c:pt idx="4">
                  <c:v>46.989800000000002</c:v>
                </c:pt>
                <c:pt idx="5">
                  <c:v>53.583599999999997</c:v>
                </c:pt>
                <c:pt idx="6">
                  <c:v>37.996200000000002</c:v>
                </c:pt>
                <c:pt idx="7">
                  <c:v>76.687899999999999</c:v>
                </c:pt>
              </c:numCache>
            </c:numRef>
          </c:xVal>
          <c:yVal>
            <c:numRef>
              <c:f>Sheet1!$B$2:$B$9</c:f>
              <c:numCache>
                <c:formatCode>General</c:formatCode>
                <c:ptCount val="8"/>
                <c:pt idx="0">
                  <c:v>1.3380000000000001</c:v>
                </c:pt>
                <c:pt idx="1">
                  <c:v>0.54900000000000004</c:v>
                </c:pt>
                <c:pt idx="2">
                  <c:v>0.875</c:v>
                </c:pt>
                <c:pt idx="3">
                  <c:v>0.48299999999999998</c:v>
                </c:pt>
                <c:pt idx="4">
                  <c:v>0.63400000000000001</c:v>
                </c:pt>
                <c:pt idx="5">
                  <c:v>0.71599999999999997</c:v>
                </c:pt>
                <c:pt idx="6">
                  <c:v>0.51500000000000001</c:v>
                </c:pt>
                <c:pt idx="7">
                  <c:v>1.0169999999999999</c:v>
                </c:pt>
              </c:numCache>
            </c:numRef>
          </c:yVal>
          <c:bubbleSize>
            <c:numRef>
              <c:f>Sheet1!$C$2:$C$9</c:f>
              <c:numCache>
                <c:formatCode>General</c:formatCode>
                <c:ptCount val="8"/>
                <c:pt idx="0">
                  <c:v>5308144</c:v>
                </c:pt>
                <c:pt idx="1">
                  <c:v>510814</c:v>
                </c:pt>
                <c:pt idx="2">
                  <c:v>466237</c:v>
                </c:pt>
                <c:pt idx="3">
                  <c:v>450506</c:v>
                </c:pt>
                <c:pt idx="4">
                  <c:v>267278</c:v>
                </c:pt>
                <c:pt idx="5">
                  <c:v>198420</c:v>
                </c:pt>
                <c:pt idx="6">
                  <c:v>181508</c:v>
                </c:pt>
                <c:pt idx="7">
                  <c:v>161198</c:v>
                </c:pt>
              </c:numCache>
            </c:numRef>
          </c:bubbleSize>
          <c:bubble3D val="0"/>
          <c:extLst>
            <c:ext xmlns:c15="http://schemas.microsoft.com/office/drawing/2012/chart" uri="{02D57815-91ED-43cb-92C2-25804820EDAC}">
              <c15:datalabelsRange>
                <c15:f>Sheet1!$E$2:$E$10</c15:f>
                <c15:dlblRangeCache>
                  <c:ptCount val="9"/>
                  <c:pt idx="0">
                    <c:v>Mhcs</c:v>
                  </c:pt>
                  <c:pt idx="1">
                    <c:v>Malard Nicolas</c:v>
                  </c:pt>
                  <c:pt idx="2">
                    <c:v>Lanson-Bcc</c:v>
                  </c:pt>
                  <c:pt idx="3">
                    <c:v>Malard</c:v>
                  </c:pt>
                  <c:pt idx="4">
                    <c:v>Henriot</c:v>
                  </c:pt>
                  <c:pt idx="5">
                    <c:v>Delamotte</c:v>
                  </c:pt>
                  <c:pt idx="6">
                    <c:v>De Bligny</c:v>
                  </c:pt>
                  <c:pt idx="7">
                    <c:v>Bollinger</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18"/>
          <c:min val="2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38"/>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11C207D-A13A-4D26-B27C-67873D134F6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CB32E0E-C79E-49A0-970C-49021133A61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1E38480-C98D-4FFE-A768-10412780F54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8E7C46DD-BF2F-46CF-AB27-E9F92374B03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22D62519-499F-4A3D-9CC5-4372664D39D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6591B132-E352-4289-9458-4D6E4029914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6EFF0AA0-29C8-4513-8D57-EBA625E7F69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10C7B35C-10A4-4AE0-8DD1-45DE38B4A57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30.7121</c:v>
                </c:pt>
                <c:pt idx="1">
                  <c:v>94.948400000000007</c:v>
                </c:pt>
                <c:pt idx="2">
                  <c:v>55.431899999999999</c:v>
                </c:pt>
              </c:numCache>
            </c:numRef>
          </c:xVal>
          <c:yVal>
            <c:numRef>
              <c:f>Sheet1!$B$2:$B$4</c:f>
              <c:numCache>
                <c:formatCode>General</c:formatCode>
                <c:ptCount val="3"/>
                <c:pt idx="0">
                  <c:v>0.79300000000000004</c:v>
                </c:pt>
                <c:pt idx="1">
                  <c:v>2.4390000000000001</c:v>
                </c:pt>
                <c:pt idx="2">
                  <c:v>1.4</c:v>
                </c:pt>
              </c:numCache>
            </c:numRef>
          </c:yVal>
          <c:bubbleSize>
            <c:numRef>
              <c:f>Sheet1!$C$2:$C$4</c:f>
              <c:numCache>
                <c:formatCode>General</c:formatCode>
                <c:ptCount val="3"/>
                <c:pt idx="0">
                  <c:v>5549099</c:v>
                </c:pt>
                <c:pt idx="1">
                  <c:v>2308385</c:v>
                </c:pt>
                <c:pt idx="2">
                  <c:v>113081</c:v>
                </c:pt>
              </c:numCache>
            </c:numRef>
          </c:bubbleSize>
          <c:bubble3D val="0"/>
          <c:extLst>
            <c:ext xmlns:c15="http://schemas.microsoft.com/office/drawing/2012/chart" uri="{02D57815-91ED-43cb-92C2-25804820EDAC}">
              <c15:datalabelsRange>
                <c15:f>Sheet1!$E$2:$E$10</c15:f>
                <c15:dlblRangeCache>
                  <c:ptCount val="9"/>
                  <c:pt idx="0">
                    <c:v>C&amp;C Sas France</c:v>
                  </c:pt>
                  <c:pt idx="1">
                    <c:v>Mhcs</c:v>
                  </c:pt>
                  <c:pt idx="2">
                    <c:v>Lanson-Bcc</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14"/>
          <c:min val="2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6390000000000002"/>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0C03494-CBBD-4F94-A014-857C1EB05A1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B78B3F9-A20E-48E4-8709-BC0A10131FC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1BCBDE4-2307-40B8-8601-4F3E85F65EF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ADA000F-C2EC-4BB6-8446-C2F3623E828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386E287-238C-48DE-9D22-9B9C420F8FF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F909BFE-C423-46A6-B4A7-AA62C085178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68F2212E-8680-463D-A688-3DCD59A565F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C22851CF-C29D-4F5B-AAE8-7B04895D3B7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98.609899999999996</c:v>
                </c:pt>
                <c:pt idx="1">
                  <c:v>38.539200000000001</c:v>
                </c:pt>
                <c:pt idx="2">
                  <c:v>35.276000000000003</c:v>
                </c:pt>
                <c:pt idx="3">
                  <c:v>62.4985</c:v>
                </c:pt>
                <c:pt idx="4">
                  <c:v>46.558799999999998</c:v>
                </c:pt>
                <c:pt idx="5">
                  <c:v>52.786099999999998</c:v>
                </c:pt>
                <c:pt idx="6">
                  <c:v>37.8521</c:v>
                </c:pt>
                <c:pt idx="7">
                  <c:v>75.428600000000003</c:v>
                </c:pt>
              </c:numCache>
            </c:numRef>
          </c:xVal>
          <c:yVal>
            <c:numRef>
              <c:f>Sheet1!$B$2:$B$9</c:f>
              <c:numCache>
                <c:formatCode>General</c:formatCode>
                <c:ptCount val="8"/>
                <c:pt idx="0">
                  <c:v>1.4019999999999999</c:v>
                </c:pt>
                <c:pt idx="1">
                  <c:v>0.57099999999999995</c:v>
                </c:pt>
                <c:pt idx="2">
                  <c:v>0.504</c:v>
                </c:pt>
                <c:pt idx="3">
                  <c:v>0.91900000000000004</c:v>
                </c:pt>
                <c:pt idx="4">
                  <c:v>0.66500000000000004</c:v>
                </c:pt>
                <c:pt idx="5">
                  <c:v>0.75</c:v>
                </c:pt>
                <c:pt idx="6">
                  <c:v>0.54100000000000004</c:v>
                </c:pt>
                <c:pt idx="7">
                  <c:v>1.071</c:v>
                </c:pt>
              </c:numCache>
            </c:numRef>
          </c:yVal>
          <c:bubbleSize>
            <c:numRef>
              <c:f>Sheet1!$C$2:$C$9</c:f>
              <c:numCache>
                <c:formatCode>General</c:formatCode>
                <c:ptCount val="8"/>
                <c:pt idx="0">
                  <c:v>1705852</c:v>
                </c:pt>
                <c:pt idx="1">
                  <c:v>222872</c:v>
                </c:pt>
                <c:pt idx="2">
                  <c:v>202096</c:v>
                </c:pt>
                <c:pt idx="3">
                  <c:v>165621</c:v>
                </c:pt>
                <c:pt idx="4">
                  <c:v>117654</c:v>
                </c:pt>
                <c:pt idx="5">
                  <c:v>81185</c:v>
                </c:pt>
                <c:pt idx="6">
                  <c:v>76802</c:v>
                </c:pt>
                <c:pt idx="7">
                  <c:v>62304</c:v>
                </c:pt>
              </c:numCache>
            </c:numRef>
          </c:bubbleSize>
          <c:bubble3D val="0"/>
          <c:extLst>
            <c:ext xmlns:c15="http://schemas.microsoft.com/office/drawing/2012/chart" uri="{02D57815-91ED-43cb-92C2-25804820EDAC}">
              <c15:datalabelsRange>
                <c15:f>Sheet1!$E$2:$E$10</c15:f>
                <c15:dlblRangeCache>
                  <c:ptCount val="9"/>
                  <c:pt idx="0">
                    <c:v>Mhcs</c:v>
                  </c:pt>
                  <c:pt idx="1">
                    <c:v>Malard Nicolas</c:v>
                  </c:pt>
                  <c:pt idx="2">
                    <c:v>Malard</c:v>
                  </c:pt>
                  <c:pt idx="3">
                    <c:v>Lanson-Bcc</c:v>
                  </c:pt>
                  <c:pt idx="4">
                    <c:v>Henriot</c:v>
                  </c:pt>
                  <c:pt idx="5">
                    <c:v>Delamotte</c:v>
                  </c:pt>
                  <c:pt idx="6">
                    <c:v>De Bligny</c:v>
                  </c:pt>
                  <c:pt idx="7">
                    <c:v>Bollinger</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18"/>
          <c:min val="2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601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7089177-AAD9-49CD-9DF4-516E52FC303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B80C83F-76CB-4495-932A-CE357BF79B6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AE55CB7-B99E-40D8-AC16-CD1DF5E6EC9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1602786-2B1B-4EA8-8782-25BF66CCAB1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DBF96E9-EE8E-4EC1-A00F-67181C1248F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330E5B0-2471-421A-8658-CE3BD975CF1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57C21953-AD74-4E8D-B6CD-9BE3E069EC2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B7B767AB-8AF6-4A89-9D7F-CDCC320D937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99.5625</c:v>
                </c:pt>
                <c:pt idx="1">
                  <c:v>38.7136</c:v>
                </c:pt>
                <c:pt idx="2">
                  <c:v>62.1145</c:v>
                </c:pt>
                <c:pt idx="3">
                  <c:v>35.055900000000001</c:v>
                </c:pt>
                <c:pt idx="4">
                  <c:v>46.262700000000002</c:v>
                </c:pt>
                <c:pt idx="5">
                  <c:v>37.4221</c:v>
                </c:pt>
                <c:pt idx="6">
                  <c:v>76.025499999999994</c:v>
                </c:pt>
                <c:pt idx="7">
                  <c:v>53.0809</c:v>
                </c:pt>
              </c:numCache>
            </c:numRef>
          </c:xVal>
          <c:yVal>
            <c:numRef>
              <c:f>Sheet1!$B$2:$B$9</c:f>
              <c:numCache>
                <c:formatCode>General</c:formatCode>
                <c:ptCount val="8"/>
                <c:pt idx="0">
                  <c:v>1.4490000000000001</c:v>
                </c:pt>
                <c:pt idx="1">
                  <c:v>0.59099999999999997</c:v>
                </c:pt>
                <c:pt idx="2">
                  <c:v>0.94</c:v>
                </c:pt>
                <c:pt idx="3">
                  <c:v>0.52100000000000002</c:v>
                </c:pt>
                <c:pt idx="4">
                  <c:v>0.68500000000000005</c:v>
                </c:pt>
                <c:pt idx="5">
                  <c:v>0.55500000000000005</c:v>
                </c:pt>
                <c:pt idx="6">
                  <c:v>1.1120000000000001</c:v>
                </c:pt>
                <c:pt idx="7">
                  <c:v>0.78800000000000003</c:v>
                </c:pt>
              </c:numCache>
            </c:numRef>
          </c:yVal>
          <c:bubbleSize>
            <c:numRef>
              <c:f>Sheet1!$C$2:$C$9</c:f>
              <c:numCache>
                <c:formatCode>General</c:formatCode>
                <c:ptCount val="8"/>
                <c:pt idx="0">
                  <c:v>1082244</c:v>
                </c:pt>
                <c:pt idx="1">
                  <c:v>121406</c:v>
                </c:pt>
                <c:pt idx="2">
                  <c:v>115595</c:v>
                </c:pt>
                <c:pt idx="3">
                  <c:v>94651</c:v>
                </c:pt>
                <c:pt idx="4">
                  <c:v>59355</c:v>
                </c:pt>
                <c:pt idx="5">
                  <c:v>46104</c:v>
                </c:pt>
                <c:pt idx="6">
                  <c:v>38697</c:v>
                </c:pt>
                <c:pt idx="7">
                  <c:v>34768</c:v>
                </c:pt>
              </c:numCache>
            </c:numRef>
          </c:bubbleSize>
          <c:bubble3D val="0"/>
          <c:extLst>
            <c:ext xmlns:c15="http://schemas.microsoft.com/office/drawing/2012/chart" uri="{02D57815-91ED-43cb-92C2-25804820EDAC}">
              <c15:datalabelsRange>
                <c15:f>Sheet1!$E$2:$E$10</c15:f>
                <c15:dlblRangeCache>
                  <c:ptCount val="9"/>
                  <c:pt idx="0">
                    <c:v>Mhcs</c:v>
                  </c:pt>
                  <c:pt idx="1">
                    <c:v>Malard Nicolas</c:v>
                  </c:pt>
                  <c:pt idx="2">
                    <c:v>Lanson-Bcc</c:v>
                  </c:pt>
                  <c:pt idx="3">
                    <c:v>Malard</c:v>
                  </c:pt>
                  <c:pt idx="4">
                    <c:v>Henriot</c:v>
                  </c:pt>
                  <c:pt idx="5">
                    <c:v>De Bligny</c:v>
                  </c:pt>
                  <c:pt idx="6">
                    <c:v>Bollinger</c:v>
                  </c:pt>
                  <c:pt idx="7">
                    <c:v>Delamott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19"/>
          <c:min val="2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64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62F168A-321E-41D1-8739-189005E16A6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60CCACB-617C-4F5D-A678-8FB71EA1EED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EA9784F-3BD6-4DC7-937E-04DA443A95A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FDC31EC-6A16-4DCE-BA4D-4578C5A7E25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12813C8-B5D6-4C26-B9FD-A313BBC0CCF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9DA06B6-D359-4EE2-9EA9-CB965E3D9E1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7F8A2E52-79C4-46DF-A5BA-60F378703C5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8558CD76-380E-4098-A544-B700E1FA31A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97.828900000000004</c:v>
                </c:pt>
                <c:pt idx="1">
                  <c:v>62.2926</c:v>
                </c:pt>
                <c:pt idx="2">
                  <c:v>35.456499999999998</c:v>
                </c:pt>
                <c:pt idx="3">
                  <c:v>37.632800000000003</c:v>
                </c:pt>
                <c:pt idx="4">
                  <c:v>47.334800000000001</c:v>
                </c:pt>
                <c:pt idx="5">
                  <c:v>54.0471</c:v>
                </c:pt>
                <c:pt idx="6">
                  <c:v>195.28280000000001</c:v>
                </c:pt>
                <c:pt idx="7">
                  <c:v>273.92469999999997</c:v>
                </c:pt>
              </c:numCache>
            </c:numRef>
          </c:xVal>
          <c:yVal>
            <c:numRef>
              <c:f>Sheet1!$B$2:$B$9</c:f>
              <c:numCache>
                <c:formatCode>General</c:formatCode>
                <c:ptCount val="8"/>
                <c:pt idx="0">
                  <c:v>1.2370000000000001</c:v>
                </c:pt>
                <c:pt idx="1">
                  <c:v>0.81699999999999995</c:v>
                </c:pt>
                <c:pt idx="2">
                  <c:v>0.44900000000000001</c:v>
                </c:pt>
                <c:pt idx="3">
                  <c:v>0.51</c:v>
                </c:pt>
                <c:pt idx="4">
                  <c:v>0.59299999999999997</c:v>
                </c:pt>
                <c:pt idx="5">
                  <c:v>0.67200000000000004</c:v>
                </c:pt>
                <c:pt idx="6">
                  <c:v>2.2370000000000001</c:v>
                </c:pt>
                <c:pt idx="7">
                  <c:v>3.0190000000000001</c:v>
                </c:pt>
              </c:numCache>
            </c:numRef>
          </c:yVal>
          <c:bubbleSize>
            <c:numRef>
              <c:f>Sheet1!$C$2:$C$9</c:f>
              <c:numCache>
                <c:formatCode>General</c:formatCode>
                <c:ptCount val="8"/>
                <c:pt idx="0">
                  <c:v>649486</c:v>
                </c:pt>
                <c:pt idx="1">
                  <c:v>47903</c:v>
                </c:pt>
                <c:pt idx="2">
                  <c:v>45668</c:v>
                </c:pt>
                <c:pt idx="3">
                  <c:v>44783</c:v>
                </c:pt>
                <c:pt idx="4">
                  <c:v>32235</c:v>
                </c:pt>
                <c:pt idx="5">
                  <c:v>32158</c:v>
                </c:pt>
                <c:pt idx="6">
                  <c:v>28316</c:v>
                </c:pt>
                <c:pt idx="7">
                  <c:v>25475</c:v>
                </c:pt>
              </c:numCache>
            </c:numRef>
          </c:bubbleSize>
          <c:bubble3D val="0"/>
          <c:extLst>
            <c:ext xmlns:c15="http://schemas.microsoft.com/office/drawing/2012/chart" uri="{02D57815-91ED-43cb-92C2-25804820EDAC}">
              <c15:datalabelsRange>
                <c15:f>Sheet1!$E$2:$E$10</c15:f>
                <c15:dlblRangeCache>
                  <c:ptCount val="9"/>
                  <c:pt idx="0">
                    <c:v>Mhcs</c:v>
                  </c:pt>
                  <c:pt idx="1">
                    <c:v>Lanson-Bcc</c:v>
                  </c:pt>
                  <c:pt idx="2">
                    <c:v>Malard</c:v>
                  </c:pt>
                  <c:pt idx="3">
                    <c:v>Malard Nicolas</c:v>
                  </c:pt>
                  <c:pt idx="4">
                    <c:v>Henriot</c:v>
                  </c:pt>
                  <c:pt idx="5">
                    <c:v>Delamotte</c:v>
                  </c:pt>
                  <c:pt idx="6">
                    <c:v>Laurent Perrier</c:v>
                  </c:pt>
                  <c:pt idx="7">
                    <c:v>Taittinger</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29"/>
          <c:min val="2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3.2190000000000003"/>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AEF1467-5D64-486C-AAAA-C1A95340C2E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10F0C00-13E4-4B11-89CD-5E6CB4235CE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87110B3-B478-4B3C-8DF0-766CC3E280B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631F9A3-2ED0-4B21-A6DB-31BEFEC2A78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3D0F2CD-8955-4DDF-9B44-3E333173DD7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F68A732-BE02-47F9-AC72-EC598FFFEAF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FE733A7-BFEE-4686-8A30-CE1011F6B6A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15DD418A-740A-4D05-B5F5-20993D919A6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96.436099999999996</c:v>
                </c:pt>
                <c:pt idx="1">
                  <c:v>63.5458</c:v>
                </c:pt>
                <c:pt idx="2">
                  <c:v>37.307899999999997</c:v>
                </c:pt>
                <c:pt idx="3">
                  <c:v>84.719300000000004</c:v>
                </c:pt>
                <c:pt idx="4">
                  <c:v>35.465499999999999</c:v>
                </c:pt>
                <c:pt idx="5">
                  <c:v>47.244599999999998</c:v>
                </c:pt>
                <c:pt idx="6">
                  <c:v>268.54689999999999</c:v>
                </c:pt>
                <c:pt idx="7">
                  <c:v>52.890099999999997</c:v>
                </c:pt>
              </c:numCache>
            </c:numRef>
          </c:xVal>
          <c:yVal>
            <c:numRef>
              <c:f>Sheet1!$B$2:$B$9</c:f>
              <c:numCache>
                <c:formatCode>General</c:formatCode>
                <c:ptCount val="8"/>
                <c:pt idx="0">
                  <c:v>1.151</c:v>
                </c:pt>
                <c:pt idx="1">
                  <c:v>0.78</c:v>
                </c:pt>
                <c:pt idx="2">
                  <c:v>0.48599999999999999</c:v>
                </c:pt>
                <c:pt idx="3">
                  <c:v>0.997</c:v>
                </c:pt>
                <c:pt idx="4">
                  <c:v>0.42599999999999999</c:v>
                </c:pt>
                <c:pt idx="5">
                  <c:v>0.55700000000000005</c:v>
                </c:pt>
                <c:pt idx="6">
                  <c:v>2.7970000000000002</c:v>
                </c:pt>
                <c:pt idx="7">
                  <c:v>0.624</c:v>
                </c:pt>
              </c:numCache>
            </c:numRef>
          </c:yVal>
          <c:bubbleSize>
            <c:numRef>
              <c:f>Sheet1!$C$2:$C$9</c:f>
              <c:numCache>
                <c:formatCode>General</c:formatCode>
                <c:ptCount val="8"/>
                <c:pt idx="0">
                  <c:v>745644</c:v>
                </c:pt>
                <c:pt idx="1">
                  <c:v>34696</c:v>
                </c:pt>
                <c:pt idx="2">
                  <c:v>31264</c:v>
                </c:pt>
                <c:pt idx="3">
                  <c:v>31092</c:v>
                </c:pt>
                <c:pt idx="4">
                  <c:v>28798</c:v>
                </c:pt>
                <c:pt idx="5">
                  <c:v>24142</c:v>
                </c:pt>
                <c:pt idx="6">
                  <c:v>17187</c:v>
                </c:pt>
                <c:pt idx="7">
                  <c:v>14915</c:v>
                </c:pt>
              </c:numCache>
            </c:numRef>
          </c:bubbleSize>
          <c:bubble3D val="0"/>
          <c:extLst>
            <c:ext xmlns:c15="http://schemas.microsoft.com/office/drawing/2012/chart" uri="{02D57815-91ED-43cb-92C2-25804820EDAC}">
              <c15:datalabelsRange>
                <c15:f>Sheet1!$E$2:$E$10</c15:f>
                <c15:dlblRangeCache>
                  <c:ptCount val="9"/>
                  <c:pt idx="0">
                    <c:v>Mhcs</c:v>
                  </c:pt>
                  <c:pt idx="1">
                    <c:v>Lanson-Bcc</c:v>
                  </c:pt>
                  <c:pt idx="2">
                    <c:v>Malard Nicolas</c:v>
                  </c:pt>
                  <c:pt idx="3">
                    <c:v>Pernod Ricard</c:v>
                  </c:pt>
                  <c:pt idx="4">
                    <c:v>Malard</c:v>
                  </c:pt>
                  <c:pt idx="5">
                    <c:v>Henriot</c:v>
                  </c:pt>
                  <c:pt idx="6">
                    <c:v>Laurent Perrier</c:v>
                  </c:pt>
                  <c:pt idx="7">
                    <c:v>Delamott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22"/>
          <c:min val="2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9970000000000003"/>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364EA19-3FF8-4913-A657-97035ACB207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BA01AA8-62AC-442D-8C31-938BEB060AE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0019D21-A90B-48D7-A5BB-D2A233D10B2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DC1908E-82D8-4043-A11F-D2E585BA87B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6A8503CF-DF8B-42E8-BC3C-B68B2614465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586F368-4FFC-4C8A-AEBB-C4DACD98BC4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5AF69014-A2E2-4F59-8A4C-D68D6DD6401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43A865F5-3F76-4BAB-B3EB-63D13599064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92.375500000000002</c:v>
                </c:pt>
                <c:pt idx="1">
                  <c:v>65.034199999999998</c:v>
                </c:pt>
                <c:pt idx="2">
                  <c:v>35.363399999999999</c:v>
                </c:pt>
                <c:pt idx="3">
                  <c:v>40.165900000000001</c:v>
                </c:pt>
                <c:pt idx="4">
                  <c:v>78.006</c:v>
                </c:pt>
                <c:pt idx="5">
                  <c:v>183.55930000000001</c:v>
                </c:pt>
                <c:pt idx="6">
                  <c:v>48.165100000000002</c:v>
                </c:pt>
                <c:pt idx="7">
                  <c:v>56.223500000000001</c:v>
                </c:pt>
              </c:numCache>
            </c:numRef>
          </c:xVal>
          <c:yVal>
            <c:numRef>
              <c:f>Sheet1!$B$2:$B$9</c:f>
              <c:numCache>
                <c:formatCode>General</c:formatCode>
                <c:ptCount val="8"/>
                <c:pt idx="0">
                  <c:v>1.23</c:v>
                </c:pt>
                <c:pt idx="1">
                  <c:v>0.82199999999999995</c:v>
                </c:pt>
                <c:pt idx="2">
                  <c:v>0.44400000000000001</c:v>
                </c:pt>
                <c:pt idx="3">
                  <c:v>0.50600000000000001</c:v>
                </c:pt>
                <c:pt idx="4">
                  <c:v>0.94399999999999995</c:v>
                </c:pt>
                <c:pt idx="5">
                  <c:v>2.2999999999999998</c:v>
                </c:pt>
                <c:pt idx="6">
                  <c:v>0.58499999999999996</c:v>
                </c:pt>
                <c:pt idx="7">
                  <c:v>0.64400000000000002</c:v>
                </c:pt>
              </c:numCache>
            </c:numRef>
          </c:yVal>
          <c:bubbleSize>
            <c:numRef>
              <c:f>Sheet1!$C$2:$C$9</c:f>
              <c:numCache>
                <c:formatCode>General</c:formatCode>
                <c:ptCount val="8"/>
                <c:pt idx="0">
                  <c:v>432687</c:v>
                </c:pt>
                <c:pt idx="1">
                  <c:v>30436</c:v>
                </c:pt>
                <c:pt idx="2">
                  <c:v>25497</c:v>
                </c:pt>
                <c:pt idx="3">
                  <c:v>25425</c:v>
                </c:pt>
                <c:pt idx="4">
                  <c:v>13027</c:v>
                </c:pt>
                <c:pt idx="5">
                  <c:v>10830</c:v>
                </c:pt>
                <c:pt idx="6">
                  <c:v>10211</c:v>
                </c:pt>
                <c:pt idx="7">
                  <c:v>10064</c:v>
                </c:pt>
              </c:numCache>
            </c:numRef>
          </c:bubbleSize>
          <c:bubble3D val="0"/>
          <c:extLst>
            <c:ext xmlns:c15="http://schemas.microsoft.com/office/drawing/2012/chart" uri="{02D57815-91ED-43cb-92C2-25804820EDAC}">
              <c15:datalabelsRange>
                <c15:f>Sheet1!$E$2:$E$10</c15:f>
                <c15:dlblRangeCache>
                  <c:ptCount val="9"/>
                  <c:pt idx="0">
                    <c:v>Mhcs</c:v>
                  </c:pt>
                  <c:pt idx="1">
                    <c:v>Lanson-Bcc</c:v>
                  </c:pt>
                  <c:pt idx="2">
                    <c:v>Malard</c:v>
                  </c:pt>
                  <c:pt idx="3">
                    <c:v>Malard Nicolas</c:v>
                  </c:pt>
                  <c:pt idx="4">
                    <c:v>Bollinger</c:v>
                  </c:pt>
                  <c:pt idx="5">
                    <c:v>Roederer</c:v>
                  </c:pt>
                  <c:pt idx="6">
                    <c:v>Henriot</c:v>
                  </c:pt>
                  <c:pt idx="7">
                    <c:v>Delamott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20"/>
          <c:min val="2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5"/>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7201537-4CCE-4D05-A2C2-B41D7552210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74B6819-B895-4306-9276-DF38F84FED9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880057F-91D5-45E4-A2D2-8D0FB5C583F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66BA6F1-4251-48E1-8C5F-6335FEE1604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57ACB4A-0BA0-4A55-B81A-C946BCAF891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9A01AB1-40D0-4E61-8B92-EB8E67C4724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050685B-4227-427E-8A59-0BC3EB88362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125EF5AB-DBA1-4B1A-8031-F099FDE5D00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97.277500000000003</c:v>
                </c:pt>
                <c:pt idx="1">
                  <c:v>38.222499999999997</c:v>
                </c:pt>
                <c:pt idx="2">
                  <c:v>62.104900000000001</c:v>
                </c:pt>
                <c:pt idx="3">
                  <c:v>35.237200000000001</c:v>
                </c:pt>
                <c:pt idx="4">
                  <c:v>46.434600000000003</c:v>
                </c:pt>
                <c:pt idx="5">
                  <c:v>52.797199999999997</c:v>
                </c:pt>
                <c:pt idx="6">
                  <c:v>37.828899999999997</c:v>
                </c:pt>
                <c:pt idx="7">
                  <c:v>75.531400000000005</c:v>
                </c:pt>
              </c:numCache>
            </c:numRef>
          </c:xVal>
          <c:yVal>
            <c:numRef>
              <c:f>Sheet1!$B$2:$B$9</c:f>
              <c:numCache>
                <c:formatCode>General</c:formatCode>
                <c:ptCount val="8"/>
                <c:pt idx="0">
                  <c:v>1.3140000000000001</c:v>
                </c:pt>
                <c:pt idx="1">
                  <c:v>0.53700000000000003</c:v>
                </c:pt>
                <c:pt idx="2">
                  <c:v>0.85599999999999998</c:v>
                </c:pt>
                <c:pt idx="3">
                  <c:v>0.47499999999999998</c:v>
                </c:pt>
                <c:pt idx="4">
                  <c:v>0.626</c:v>
                </c:pt>
                <c:pt idx="5">
                  <c:v>0.70899999999999996</c:v>
                </c:pt>
                <c:pt idx="6">
                  <c:v>0.51</c:v>
                </c:pt>
                <c:pt idx="7">
                  <c:v>1.016</c:v>
                </c:pt>
              </c:numCache>
            </c:numRef>
          </c:yVal>
          <c:bubbleSize>
            <c:numRef>
              <c:f>Sheet1!$C$2:$C$9</c:f>
              <c:numCache>
                <c:formatCode>General</c:formatCode>
                <c:ptCount val="8"/>
                <c:pt idx="0">
                  <c:v>3647322</c:v>
                </c:pt>
                <c:pt idx="1">
                  <c:v>347366</c:v>
                </c:pt>
                <c:pt idx="2">
                  <c:v>326113</c:v>
                </c:pt>
                <c:pt idx="3">
                  <c:v>311285</c:v>
                </c:pt>
                <c:pt idx="4">
                  <c:v>195397</c:v>
                </c:pt>
                <c:pt idx="5">
                  <c:v>139279</c:v>
                </c:pt>
                <c:pt idx="6">
                  <c:v>115643</c:v>
                </c:pt>
                <c:pt idx="7">
                  <c:v>102194</c:v>
                </c:pt>
              </c:numCache>
            </c:numRef>
          </c:bubbleSize>
          <c:bubble3D val="0"/>
          <c:extLst>
            <c:ext xmlns:c15="http://schemas.microsoft.com/office/drawing/2012/chart" uri="{02D57815-91ED-43cb-92C2-25804820EDAC}">
              <c15:datalabelsRange>
                <c15:f>Sheet1!$E$2:$E$10</c15:f>
                <c15:dlblRangeCache>
                  <c:ptCount val="9"/>
                  <c:pt idx="0">
                    <c:v>Mhcs</c:v>
                  </c:pt>
                  <c:pt idx="1">
                    <c:v>Malard Nicolas</c:v>
                  </c:pt>
                  <c:pt idx="2">
                    <c:v>Lanson-Bcc</c:v>
                  </c:pt>
                  <c:pt idx="3">
                    <c:v>Malard</c:v>
                  </c:pt>
                  <c:pt idx="4">
                    <c:v>Henriot</c:v>
                  </c:pt>
                  <c:pt idx="5">
                    <c:v>Delamotte</c:v>
                  </c:pt>
                  <c:pt idx="6">
                    <c:v>De Bligny</c:v>
                  </c:pt>
                  <c:pt idx="7">
                    <c:v>Bollinger</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17"/>
          <c:min val="2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14"/>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45B4D180-1186-44FC-845B-77C8C59B3BF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636FC93C-81D7-4D08-B10B-0816C7FACF9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A474BE2A-5380-4771-A340-5BCF92AA8C8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53644D86-C400-4E0B-B3FB-4D2C0949458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AD5006BF-A57F-4AF7-B19D-55914233A8D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622D5058-1991-4F66-848D-1A79BBBDC7D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17E8066B-685A-4F46-A1AB-7828F759037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E12BB8F1-321F-4AB1-9AD4-6D38A057D80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11.4999</c:v>
                </c:pt>
                <c:pt idx="1">
                  <c:v>12.7821</c:v>
                </c:pt>
                <c:pt idx="2">
                  <c:v>17.365600000000001</c:v>
                </c:pt>
                <c:pt idx="3">
                  <c:v>11.6388</c:v>
                </c:pt>
                <c:pt idx="4">
                  <c:v>11.379899999999999</c:v>
                </c:pt>
                <c:pt idx="5">
                  <c:v>9.0538000000000007</c:v>
                </c:pt>
                <c:pt idx="6">
                  <c:v>13.565200000000001</c:v>
                </c:pt>
                <c:pt idx="7">
                  <c:v>5.7614999999999998</c:v>
                </c:pt>
              </c:numCache>
            </c:numRef>
          </c:xVal>
          <c:yVal>
            <c:numRef>
              <c:f>Sheet1!$B$2:$B$9</c:f>
              <c:numCache>
                <c:formatCode>General</c:formatCode>
                <c:ptCount val="8"/>
                <c:pt idx="0">
                  <c:v>1.0920000000000001</c:v>
                </c:pt>
                <c:pt idx="1">
                  <c:v>1.214</c:v>
                </c:pt>
                <c:pt idx="2">
                  <c:v>1.6639999999999999</c:v>
                </c:pt>
                <c:pt idx="3">
                  <c:v>1.0660000000000001</c:v>
                </c:pt>
                <c:pt idx="4">
                  <c:v>1.081</c:v>
                </c:pt>
                <c:pt idx="5">
                  <c:v>0.86099999999999999</c:v>
                </c:pt>
                <c:pt idx="6">
                  <c:v>1.2849999999999999</c:v>
                </c:pt>
                <c:pt idx="7">
                  <c:v>0.54600000000000004</c:v>
                </c:pt>
              </c:numCache>
            </c:numRef>
          </c:yVal>
          <c:bubbleSize>
            <c:numRef>
              <c:f>Sheet1!$C$2:$C$9</c:f>
              <c:numCache>
                <c:formatCode>General</c:formatCode>
                <c:ptCount val="8"/>
                <c:pt idx="0">
                  <c:v>82178</c:v>
                </c:pt>
                <c:pt idx="1">
                  <c:v>74724</c:v>
                </c:pt>
                <c:pt idx="2">
                  <c:v>70435</c:v>
                </c:pt>
                <c:pt idx="3">
                  <c:v>50745</c:v>
                </c:pt>
                <c:pt idx="4">
                  <c:v>43528</c:v>
                </c:pt>
                <c:pt idx="5">
                  <c:v>39538</c:v>
                </c:pt>
                <c:pt idx="6">
                  <c:v>23088</c:v>
                </c:pt>
                <c:pt idx="7">
                  <c:v>21335</c:v>
                </c:pt>
              </c:numCache>
            </c:numRef>
          </c:bubbleSize>
          <c:bubble3D val="0"/>
          <c:extLst>
            <c:ext xmlns:c15="http://schemas.microsoft.com/office/drawing/2012/chart" uri="{02D57815-91ED-43cb-92C2-25804820EDAC}">
              <c15:datalabelsRange>
                <c15:f>Sheet1!$E$2:$E$10</c15:f>
                <c15:dlblRangeCache>
                  <c:ptCount val="9"/>
                  <c:pt idx="0">
                    <c:v>Bottega</c:v>
                  </c:pt>
                  <c:pt idx="1">
                    <c:v>Patriarche</c:v>
                  </c:pt>
                  <c:pt idx="2">
                    <c:v>Mure</c:v>
                  </c:pt>
                  <c:pt idx="3">
                    <c:v>Bouvet-Ladubay</c:v>
                  </c:pt>
                  <c:pt idx="4">
                    <c:v>Chateau Moncontour</c:v>
                  </c:pt>
                  <c:pt idx="5">
                    <c:v>Savian</c:v>
                  </c:pt>
                  <c:pt idx="6">
                    <c:v>De Chanceny</c:v>
                  </c:pt>
                  <c:pt idx="7">
                    <c:v>Kriter</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
          <c:min val="5"/>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99066CC-C740-437A-B809-52F44EF3D8E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27557B9-9C2B-42FE-927D-53DAC91461B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6976D71-A9CF-4BFC-A423-FCB6E40276B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928EBF8-52C7-4949-ACE4-80F476B3456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6EC3D1B-6533-4BE9-AEE2-FE31FBC93FD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59AC3C7-FA5E-4349-A033-BA587BA546C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D188774-64F3-483E-9F73-5B85F44AA3B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16417D8-5716-4278-BDFD-EF42C024C6D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99.729699999999994</c:v>
                </c:pt>
                <c:pt idx="1">
                  <c:v>38.232500000000002</c:v>
                </c:pt>
                <c:pt idx="2">
                  <c:v>62.629800000000003</c:v>
                </c:pt>
                <c:pt idx="3">
                  <c:v>35.273699999999998</c:v>
                </c:pt>
                <c:pt idx="4">
                  <c:v>38.656100000000002</c:v>
                </c:pt>
                <c:pt idx="5">
                  <c:v>47.862200000000001</c:v>
                </c:pt>
                <c:pt idx="6">
                  <c:v>235.16220000000001</c:v>
                </c:pt>
                <c:pt idx="7">
                  <c:v>54.452500000000001</c:v>
                </c:pt>
              </c:numCache>
            </c:numRef>
          </c:xVal>
          <c:yVal>
            <c:numRef>
              <c:f>Sheet1!$B$2:$B$9</c:f>
              <c:numCache>
                <c:formatCode>General</c:formatCode>
                <c:ptCount val="8"/>
                <c:pt idx="0">
                  <c:v>1.224</c:v>
                </c:pt>
                <c:pt idx="1">
                  <c:v>0.50600000000000001</c:v>
                </c:pt>
                <c:pt idx="2">
                  <c:v>0.78</c:v>
                </c:pt>
                <c:pt idx="3">
                  <c:v>0.443</c:v>
                </c:pt>
                <c:pt idx="4">
                  <c:v>0.48399999999999999</c:v>
                </c:pt>
                <c:pt idx="5">
                  <c:v>0.59299999999999997</c:v>
                </c:pt>
                <c:pt idx="6">
                  <c:v>2.629</c:v>
                </c:pt>
                <c:pt idx="7">
                  <c:v>0.66600000000000004</c:v>
                </c:pt>
              </c:numCache>
            </c:numRef>
          </c:yVal>
          <c:bubbleSize>
            <c:numRef>
              <c:f>Sheet1!$C$2:$C$9</c:f>
              <c:numCache>
                <c:formatCode>General</c:formatCode>
                <c:ptCount val="8"/>
                <c:pt idx="0">
                  <c:v>704092</c:v>
                </c:pt>
                <c:pt idx="1">
                  <c:v>56890</c:v>
                </c:pt>
                <c:pt idx="2">
                  <c:v>37390</c:v>
                </c:pt>
                <c:pt idx="3">
                  <c:v>33122</c:v>
                </c:pt>
                <c:pt idx="4">
                  <c:v>18323</c:v>
                </c:pt>
                <c:pt idx="5">
                  <c:v>17709</c:v>
                </c:pt>
                <c:pt idx="6">
                  <c:v>17402</c:v>
                </c:pt>
                <c:pt idx="7">
                  <c:v>17207</c:v>
                </c:pt>
              </c:numCache>
            </c:numRef>
          </c:bubbleSize>
          <c:bubble3D val="0"/>
          <c:extLst>
            <c:ext xmlns:c15="http://schemas.microsoft.com/office/drawing/2012/chart" uri="{02D57815-91ED-43cb-92C2-25804820EDAC}">
              <c15:datalabelsRange>
                <c15:f>Sheet1!$E$2:$E$10</c15:f>
                <c15:dlblRangeCache>
                  <c:ptCount val="9"/>
                  <c:pt idx="0">
                    <c:v>Mhcs</c:v>
                  </c:pt>
                  <c:pt idx="1">
                    <c:v>Malard Nicolas</c:v>
                  </c:pt>
                  <c:pt idx="2">
                    <c:v>Lanson-Bcc</c:v>
                  </c:pt>
                  <c:pt idx="3">
                    <c:v>Malard</c:v>
                  </c:pt>
                  <c:pt idx="4">
                    <c:v>De Bligny</c:v>
                  </c:pt>
                  <c:pt idx="5">
                    <c:v>Henriot</c:v>
                  </c:pt>
                  <c:pt idx="6">
                    <c:v>Taittinger</c:v>
                  </c:pt>
                  <c:pt idx="7">
                    <c:v>Delamott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82"/>
          <c:min val="2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8290000000000002"/>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8609B48-6174-4E70-9948-674BA596369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967789A-6C8D-4859-92C8-D8BA9431237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7EC31B2-702C-4101-ADF8-E4C6D321C9A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DD2A706-3311-4FA7-BA13-9B3E7C2E5A0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7123EEE-ABB5-43F0-95F0-D05DD341B51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F000DA9-9DB4-492A-AF18-00ADAC42C23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E31F5452-5E68-450D-A188-0D07305FEFD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DD05D3C6-7EC1-46A4-B0D8-C08A6CF5D39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101.1712</c:v>
                </c:pt>
                <c:pt idx="1">
                  <c:v>35.475900000000003</c:v>
                </c:pt>
                <c:pt idx="2">
                  <c:v>61.3095</c:v>
                </c:pt>
                <c:pt idx="3">
                  <c:v>41.003300000000003</c:v>
                </c:pt>
                <c:pt idx="4">
                  <c:v>47.451099999999997</c:v>
                </c:pt>
                <c:pt idx="5">
                  <c:v>77.934200000000004</c:v>
                </c:pt>
                <c:pt idx="6">
                  <c:v>38.840800000000002</c:v>
                </c:pt>
                <c:pt idx="7">
                  <c:v>55.329700000000003</c:v>
                </c:pt>
              </c:numCache>
            </c:numRef>
          </c:xVal>
          <c:yVal>
            <c:numRef>
              <c:f>Sheet1!$B$2:$B$9</c:f>
              <c:numCache>
                <c:formatCode>General</c:formatCode>
                <c:ptCount val="8"/>
                <c:pt idx="0">
                  <c:v>1.341</c:v>
                </c:pt>
                <c:pt idx="1">
                  <c:v>0.47599999999999998</c:v>
                </c:pt>
                <c:pt idx="2">
                  <c:v>0.86899999999999999</c:v>
                </c:pt>
                <c:pt idx="3">
                  <c:v>0.56200000000000006</c:v>
                </c:pt>
                <c:pt idx="4">
                  <c:v>0.626</c:v>
                </c:pt>
                <c:pt idx="5">
                  <c:v>0.99099999999999999</c:v>
                </c:pt>
                <c:pt idx="6">
                  <c:v>0.50700000000000001</c:v>
                </c:pt>
                <c:pt idx="7">
                  <c:v>0.7</c:v>
                </c:pt>
              </c:numCache>
            </c:numRef>
          </c:yVal>
          <c:bubbleSize>
            <c:numRef>
              <c:f>Sheet1!$C$2:$C$9</c:f>
              <c:numCache>
                <c:formatCode>General</c:formatCode>
                <c:ptCount val="8"/>
                <c:pt idx="0">
                  <c:v>286011</c:v>
                </c:pt>
                <c:pt idx="1">
                  <c:v>30119</c:v>
                </c:pt>
                <c:pt idx="2">
                  <c:v>26547</c:v>
                </c:pt>
                <c:pt idx="3">
                  <c:v>25094</c:v>
                </c:pt>
                <c:pt idx="4">
                  <c:v>12622</c:v>
                </c:pt>
                <c:pt idx="5">
                  <c:v>11846</c:v>
                </c:pt>
                <c:pt idx="6">
                  <c:v>11225</c:v>
                </c:pt>
                <c:pt idx="7">
                  <c:v>10236</c:v>
                </c:pt>
              </c:numCache>
            </c:numRef>
          </c:bubbleSize>
          <c:bubble3D val="0"/>
          <c:extLst>
            <c:ext xmlns:c15="http://schemas.microsoft.com/office/drawing/2012/chart" uri="{02D57815-91ED-43cb-92C2-25804820EDAC}">
              <c15:datalabelsRange>
                <c15:f>Sheet1!$E$2:$E$10</c15:f>
                <c15:dlblRangeCache>
                  <c:ptCount val="9"/>
                  <c:pt idx="0">
                    <c:v>Mhcs</c:v>
                  </c:pt>
                  <c:pt idx="1">
                    <c:v>Malard</c:v>
                  </c:pt>
                  <c:pt idx="2">
                    <c:v>Lanson-Bcc</c:v>
                  </c:pt>
                  <c:pt idx="3">
                    <c:v>Malard Nicolas</c:v>
                  </c:pt>
                  <c:pt idx="4">
                    <c:v>Henriot</c:v>
                  </c:pt>
                  <c:pt idx="5">
                    <c:v>Bollinger</c:v>
                  </c:pt>
                  <c:pt idx="6">
                    <c:v>De Bligny</c:v>
                  </c:pt>
                  <c:pt idx="7">
                    <c:v>Delamott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21"/>
          <c:min val="2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40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EAA702D-D58F-46D7-BFB5-A940FA87B49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11B4C50-8228-482B-AFE5-96DBED62C16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6A545EE-0FBE-4E09-B5B9-883C925D39C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68BB078-A380-4561-B49B-96C172ADF5E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B070711-363F-4F7A-9F86-19EDC8CC5BD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A25C500-EBC6-4D0A-A7DB-254F4427967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8D16099-797F-4326-AEC6-F492C6BEC57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A988D8D4-3B70-44CE-AEE3-584376866F5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99.508700000000005</c:v>
                </c:pt>
                <c:pt idx="1">
                  <c:v>62.933100000000003</c:v>
                </c:pt>
                <c:pt idx="2">
                  <c:v>35.562199999999997</c:v>
                </c:pt>
                <c:pt idx="3">
                  <c:v>40.131500000000003</c:v>
                </c:pt>
                <c:pt idx="4">
                  <c:v>48.439599999999999</c:v>
                </c:pt>
                <c:pt idx="5">
                  <c:v>55.195900000000002</c:v>
                </c:pt>
                <c:pt idx="6">
                  <c:v>82.162800000000004</c:v>
                </c:pt>
                <c:pt idx="7">
                  <c:v>37.318800000000003</c:v>
                </c:pt>
              </c:numCache>
            </c:numRef>
          </c:xVal>
          <c:yVal>
            <c:numRef>
              <c:f>Sheet1!$B$2:$B$9</c:f>
              <c:numCache>
                <c:formatCode>General</c:formatCode>
                <c:ptCount val="8"/>
                <c:pt idx="0">
                  <c:v>1.413</c:v>
                </c:pt>
                <c:pt idx="1">
                  <c:v>0.91500000000000004</c:v>
                </c:pt>
                <c:pt idx="2">
                  <c:v>0.50600000000000001</c:v>
                </c:pt>
                <c:pt idx="3">
                  <c:v>0.57699999999999996</c:v>
                </c:pt>
                <c:pt idx="4">
                  <c:v>0.66100000000000003</c:v>
                </c:pt>
                <c:pt idx="5">
                  <c:v>0.77400000000000002</c:v>
                </c:pt>
                <c:pt idx="6">
                  <c:v>1.0449999999999999</c:v>
                </c:pt>
                <c:pt idx="7">
                  <c:v>0.50800000000000001</c:v>
                </c:pt>
              </c:numCache>
            </c:numRef>
          </c:yVal>
          <c:bubbleSize>
            <c:numRef>
              <c:f>Sheet1!$C$2:$C$9</c:f>
              <c:numCache>
                <c:formatCode>General</c:formatCode>
                <c:ptCount val="8"/>
                <c:pt idx="0">
                  <c:v>113838</c:v>
                </c:pt>
                <c:pt idx="1">
                  <c:v>17873</c:v>
                </c:pt>
                <c:pt idx="2">
                  <c:v>13727</c:v>
                </c:pt>
                <c:pt idx="3">
                  <c:v>11598</c:v>
                </c:pt>
                <c:pt idx="4">
                  <c:v>8816</c:v>
                </c:pt>
                <c:pt idx="5">
                  <c:v>8169</c:v>
                </c:pt>
                <c:pt idx="6">
                  <c:v>7066</c:v>
                </c:pt>
                <c:pt idx="7">
                  <c:v>5971</c:v>
                </c:pt>
              </c:numCache>
            </c:numRef>
          </c:bubbleSize>
          <c:bubble3D val="0"/>
          <c:extLst>
            <c:ext xmlns:c15="http://schemas.microsoft.com/office/drawing/2012/chart" uri="{02D57815-91ED-43cb-92C2-25804820EDAC}">
              <c15:datalabelsRange>
                <c15:f>Sheet1!$E$2:$E$10</c15:f>
                <c15:dlblRangeCache>
                  <c:ptCount val="9"/>
                  <c:pt idx="0">
                    <c:v>Mhcs</c:v>
                  </c:pt>
                  <c:pt idx="1">
                    <c:v>Lanson-Bcc</c:v>
                  </c:pt>
                  <c:pt idx="2">
                    <c:v>Malard</c:v>
                  </c:pt>
                  <c:pt idx="3">
                    <c:v>Malard Nicolas</c:v>
                  </c:pt>
                  <c:pt idx="4">
                    <c:v>Henriot</c:v>
                  </c:pt>
                  <c:pt idx="5">
                    <c:v>Delamotte</c:v>
                  </c:pt>
                  <c:pt idx="6">
                    <c:v>Bollinger</c:v>
                  </c:pt>
                  <c:pt idx="7">
                    <c:v>De Blign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19"/>
          <c:min val="2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613"/>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62C4603-CECA-416E-AA01-4B7627E03DA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85FDBF9-0497-444B-9622-426D29A66B3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EBDD3AB-2206-4380-A6CD-E236E4C8BE5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EB0EA5F-3C47-4D11-BEAB-DCFC3D7006B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204CE06-D980-40C1-B9A8-4F466500555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B547605-F9FB-4235-AF1B-8B6EC4A344F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C87F3AA-CFBB-40F3-BBD2-416FD8769CB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8BC86F1D-DDB4-4A35-A518-AC4FCB02EE3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102.6083</c:v>
                </c:pt>
                <c:pt idx="1">
                  <c:v>38.186700000000002</c:v>
                </c:pt>
                <c:pt idx="2">
                  <c:v>65.423100000000005</c:v>
                </c:pt>
                <c:pt idx="3">
                  <c:v>35.214300000000001</c:v>
                </c:pt>
                <c:pt idx="4">
                  <c:v>77.7453</c:v>
                </c:pt>
                <c:pt idx="5">
                  <c:v>56.062899999999999</c:v>
                </c:pt>
                <c:pt idx="6">
                  <c:v>48.319699999999997</c:v>
                </c:pt>
                <c:pt idx="7">
                  <c:v>40.115099999999998</c:v>
                </c:pt>
              </c:numCache>
            </c:numRef>
          </c:xVal>
          <c:yVal>
            <c:numRef>
              <c:f>Sheet1!$B$2:$B$9</c:f>
              <c:numCache>
                <c:formatCode>General</c:formatCode>
                <c:ptCount val="8"/>
                <c:pt idx="0">
                  <c:v>2.0590000000000002</c:v>
                </c:pt>
                <c:pt idx="1">
                  <c:v>0.84799999999999998</c:v>
                </c:pt>
                <c:pt idx="2">
                  <c:v>1.284</c:v>
                </c:pt>
                <c:pt idx="3">
                  <c:v>0.74399999999999999</c:v>
                </c:pt>
                <c:pt idx="4">
                  <c:v>1.4770000000000001</c:v>
                </c:pt>
                <c:pt idx="5">
                  <c:v>1.0329999999999999</c:v>
                </c:pt>
                <c:pt idx="6">
                  <c:v>0.90100000000000002</c:v>
                </c:pt>
                <c:pt idx="7">
                  <c:v>0.78300000000000003</c:v>
                </c:pt>
              </c:numCache>
            </c:numRef>
          </c:yVal>
          <c:bubbleSize>
            <c:numRef>
              <c:f>Sheet1!$C$2:$C$9</c:f>
              <c:numCache>
                <c:formatCode>General</c:formatCode>
                <c:ptCount val="8"/>
                <c:pt idx="0">
                  <c:v>81984</c:v>
                </c:pt>
                <c:pt idx="1">
                  <c:v>12067</c:v>
                </c:pt>
                <c:pt idx="2">
                  <c:v>10206</c:v>
                </c:pt>
                <c:pt idx="3">
                  <c:v>8874</c:v>
                </c:pt>
                <c:pt idx="4">
                  <c:v>8241</c:v>
                </c:pt>
                <c:pt idx="5">
                  <c:v>8017</c:v>
                </c:pt>
                <c:pt idx="6">
                  <c:v>5895</c:v>
                </c:pt>
                <c:pt idx="7">
                  <c:v>5576</c:v>
                </c:pt>
              </c:numCache>
            </c:numRef>
          </c:bubbleSize>
          <c:bubble3D val="0"/>
          <c:extLst>
            <c:ext xmlns:c15="http://schemas.microsoft.com/office/drawing/2012/chart" uri="{02D57815-91ED-43cb-92C2-25804820EDAC}">
              <c15:datalabelsRange>
                <c15:f>Sheet1!$E$2:$E$10</c15:f>
                <c15:dlblRangeCache>
                  <c:ptCount val="9"/>
                  <c:pt idx="0">
                    <c:v>Mhcs</c:v>
                  </c:pt>
                  <c:pt idx="1">
                    <c:v>Malard Nicolas</c:v>
                  </c:pt>
                  <c:pt idx="2">
                    <c:v>Lanson-Bcc</c:v>
                  </c:pt>
                  <c:pt idx="3">
                    <c:v>Malard</c:v>
                  </c:pt>
                  <c:pt idx="4">
                    <c:v>Bollinger</c:v>
                  </c:pt>
                  <c:pt idx="5">
                    <c:v>Delamotte</c:v>
                  </c:pt>
                  <c:pt idx="6">
                    <c:v>Henriot</c:v>
                  </c:pt>
                  <c:pt idx="7">
                    <c:v>De Blign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23"/>
          <c:min val="2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2590000000000003"/>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3A7B89C-7349-42FD-9FFC-F57B421FB44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DBE65B8-A5AA-45E3-9FCA-B9E26703C07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7671D71-C1C6-46A5-B1D0-25D84FC1363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B74A000-2B5A-4B94-9932-1840998CEED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655E4002-A2F2-49CC-928B-D596B68203D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2523AB2-16CD-450A-986C-127578B270C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C8F40FE0-C601-4A15-9128-FB6526124E2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34BD6A1-B5A7-48BC-AA36-C8632331BEC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96.792599999999993</c:v>
                </c:pt>
                <c:pt idx="1">
                  <c:v>38.474600000000002</c:v>
                </c:pt>
                <c:pt idx="2">
                  <c:v>35.273200000000003</c:v>
                </c:pt>
                <c:pt idx="3">
                  <c:v>62.639400000000002</c:v>
                </c:pt>
                <c:pt idx="4">
                  <c:v>84.996300000000005</c:v>
                </c:pt>
                <c:pt idx="5">
                  <c:v>46.717700000000001</c:v>
                </c:pt>
                <c:pt idx="6">
                  <c:v>53.284199999999998</c:v>
                </c:pt>
                <c:pt idx="7">
                  <c:v>199.59440000000001</c:v>
                </c:pt>
              </c:numCache>
            </c:numRef>
          </c:xVal>
          <c:yVal>
            <c:numRef>
              <c:f>Sheet1!$B$2:$B$9</c:f>
              <c:numCache>
                <c:formatCode>General</c:formatCode>
                <c:ptCount val="8"/>
                <c:pt idx="0">
                  <c:v>1.272</c:v>
                </c:pt>
                <c:pt idx="1">
                  <c:v>0.51500000000000001</c:v>
                </c:pt>
                <c:pt idx="2">
                  <c:v>0.45400000000000001</c:v>
                </c:pt>
                <c:pt idx="3">
                  <c:v>0.82499999999999996</c:v>
                </c:pt>
                <c:pt idx="4">
                  <c:v>1.091</c:v>
                </c:pt>
                <c:pt idx="5">
                  <c:v>0.60199999999999998</c:v>
                </c:pt>
                <c:pt idx="6">
                  <c:v>0.68</c:v>
                </c:pt>
                <c:pt idx="7">
                  <c:v>2.5139999999999998</c:v>
                </c:pt>
              </c:numCache>
            </c:numRef>
          </c:yVal>
          <c:bubbleSize>
            <c:numRef>
              <c:f>Sheet1!$C$2:$C$9</c:f>
              <c:numCache>
                <c:formatCode>General</c:formatCode>
                <c:ptCount val="8"/>
                <c:pt idx="0">
                  <c:v>1886198</c:v>
                </c:pt>
                <c:pt idx="1">
                  <c:v>139855</c:v>
                </c:pt>
                <c:pt idx="2">
                  <c:v>116472</c:v>
                </c:pt>
                <c:pt idx="3">
                  <c:v>114129</c:v>
                </c:pt>
                <c:pt idx="4">
                  <c:v>67997</c:v>
                </c:pt>
                <c:pt idx="5">
                  <c:v>66853</c:v>
                </c:pt>
                <c:pt idx="6">
                  <c:v>61490</c:v>
                </c:pt>
                <c:pt idx="7">
                  <c:v>49699</c:v>
                </c:pt>
              </c:numCache>
            </c:numRef>
          </c:bubbleSize>
          <c:bubble3D val="0"/>
          <c:extLst>
            <c:ext xmlns:c15="http://schemas.microsoft.com/office/drawing/2012/chart" uri="{02D57815-91ED-43cb-92C2-25804820EDAC}">
              <c15:datalabelsRange>
                <c15:f>Sheet1!$E$2:$E$10</c15:f>
                <c15:dlblRangeCache>
                  <c:ptCount val="9"/>
                  <c:pt idx="0">
                    <c:v>Mhcs</c:v>
                  </c:pt>
                  <c:pt idx="1">
                    <c:v>Malard Nicolas</c:v>
                  </c:pt>
                  <c:pt idx="2">
                    <c:v>Malard</c:v>
                  </c:pt>
                  <c:pt idx="3">
                    <c:v>Lanson-Bcc</c:v>
                  </c:pt>
                  <c:pt idx="4">
                    <c:v>Pernod Ricard</c:v>
                  </c:pt>
                  <c:pt idx="5">
                    <c:v>Henriot</c:v>
                  </c:pt>
                  <c:pt idx="6">
                    <c:v>Delamotte</c:v>
                  </c:pt>
                  <c:pt idx="7">
                    <c:v>Laurent Perrier</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40"/>
          <c:min val="2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714"/>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51F360E-937B-4566-B995-F75BC61C0FD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F6B0911-5B0F-45DB-ADD5-F235D0E1BF2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63626B9-8386-4A23-984A-7C4A718C2DF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4D39021-9C82-405E-A394-24851DB3D65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521B8BB3-2684-4A34-8F39-82EA010E4BB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F37FA96-37B9-4861-8D21-A92C60C5998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7DE4D6AA-B203-46ED-A309-3F22A17A662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BE07954E-03AD-4E5B-8C30-7DA32854AFD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98.354299999999995</c:v>
                </c:pt>
                <c:pt idx="1">
                  <c:v>39.209699999999998</c:v>
                </c:pt>
                <c:pt idx="2">
                  <c:v>62.353900000000003</c:v>
                </c:pt>
                <c:pt idx="3">
                  <c:v>35.284500000000001</c:v>
                </c:pt>
                <c:pt idx="4">
                  <c:v>46.8782</c:v>
                </c:pt>
                <c:pt idx="5">
                  <c:v>53.136400000000002</c:v>
                </c:pt>
                <c:pt idx="6">
                  <c:v>37.7256</c:v>
                </c:pt>
                <c:pt idx="7">
                  <c:v>76.505700000000004</c:v>
                </c:pt>
              </c:numCache>
            </c:numRef>
          </c:xVal>
          <c:yVal>
            <c:numRef>
              <c:f>Sheet1!$B$2:$B$9</c:f>
              <c:numCache>
                <c:formatCode>General</c:formatCode>
                <c:ptCount val="8"/>
                <c:pt idx="0">
                  <c:v>1.347</c:v>
                </c:pt>
                <c:pt idx="1">
                  <c:v>0.55000000000000004</c:v>
                </c:pt>
                <c:pt idx="2">
                  <c:v>0.879</c:v>
                </c:pt>
                <c:pt idx="3">
                  <c:v>0.48899999999999999</c:v>
                </c:pt>
                <c:pt idx="4">
                  <c:v>0.64400000000000002</c:v>
                </c:pt>
                <c:pt idx="5">
                  <c:v>0.72799999999999998</c:v>
                </c:pt>
                <c:pt idx="6">
                  <c:v>0.52500000000000002</c:v>
                </c:pt>
                <c:pt idx="7">
                  <c:v>1.0209999999999999</c:v>
                </c:pt>
              </c:numCache>
            </c:numRef>
          </c:yVal>
          <c:bubbleSize>
            <c:numRef>
              <c:f>Sheet1!$C$2:$C$9</c:f>
              <c:numCache>
                <c:formatCode>General</c:formatCode>
                <c:ptCount val="8"/>
                <c:pt idx="0">
                  <c:v>638221</c:v>
                </c:pt>
                <c:pt idx="1">
                  <c:v>70695</c:v>
                </c:pt>
                <c:pt idx="2">
                  <c:v>65721</c:v>
                </c:pt>
                <c:pt idx="3">
                  <c:v>60513</c:v>
                </c:pt>
                <c:pt idx="4">
                  <c:v>36940</c:v>
                </c:pt>
                <c:pt idx="5">
                  <c:v>32732</c:v>
                </c:pt>
                <c:pt idx="6">
                  <c:v>20485</c:v>
                </c:pt>
                <c:pt idx="7">
                  <c:v>20274</c:v>
                </c:pt>
              </c:numCache>
            </c:numRef>
          </c:bubbleSize>
          <c:bubble3D val="0"/>
          <c:extLst>
            <c:ext xmlns:c15="http://schemas.microsoft.com/office/drawing/2012/chart" uri="{02D57815-91ED-43cb-92C2-25804820EDAC}">
              <c15:datalabelsRange>
                <c15:f>Sheet1!$E$2:$E$10</c15:f>
                <c15:dlblRangeCache>
                  <c:ptCount val="9"/>
                  <c:pt idx="0">
                    <c:v>Mhcs</c:v>
                  </c:pt>
                  <c:pt idx="1">
                    <c:v>Malard Nicolas</c:v>
                  </c:pt>
                  <c:pt idx="2">
                    <c:v>Lanson-Bcc</c:v>
                  </c:pt>
                  <c:pt idx="3">
                    <c:v>Malard</c:v>
                  </c:pt>
                  <c:pt idx="4">
                    <c:v>Henriot</c:v>
                  </c:pt>
                  <c:pt idx="5">
                    <c:v>Delamotte</c:v>
                  </c:pt>
                  <c:pt idx="6">
                    <c:v>De Bligny</c:v>
                  </c:pt>
                  <c:pt idx="7">
                    <c:v>Bollinger</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18"/>
          <c:min val="2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46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1EFD57F-C38B-4CC5-9120-1AB95362ACB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6DB6936-9B7B-4EBB-B746-3739E55AEFC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1E3F71F-B611-4A1F-A84D-29C51E22454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405F4CE-AAC3-4842-94E0-F446C23248C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E277025-E0FE-44DF-A292-22C0D293C1E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09736FF-35F4-4D3C-A49A-BFAB51DA873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6CDC0341-A6DF-4780-A0B2-056CE48E4F4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B251950B-577A-4576-83B9-4334235BBEE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98.499899999999997</c:v>
                </c:pt>
                <c:pt idx="1">
                  <c:v>37.8874</c:v>
                </c:pt>
                <c:pt idx="2">
                  <c:v>35.116300000000003</c:v>
                </c:pt>
                <c:pt idx="3">
                  <c:v>62.489400000000003</c:v>
                </c:pt>
                <c:pt idx="4">
                  <c:v>46.718200000000003</c:v>
                </c:pt>
                <c:pt idx="5">
                  <c:v>37.393700000000003</c:v>
                </c:pt>
                <c:pt idx="6">
                  <c:v>53.1616</c:v>
                </c:pt>
                <c:pt idx="7">
                  <c:v>75.871099999999998</c:v>
                </c:pt>
              </c:numCache>
            </c:numRef>
          </c:xVal>
          <c:yVal>
            <c:numRef>
              <c:f>Sheet1!$B$2:$B$9</c:f>
              <c:numCache>
                <c:formatCode>General</c:formatCode>
                <c:ptCount val="8"/>
                <c:pt idx="0">
                  <c:v>1.365</c:v>
                </c:pt>
                <c:pt idx="1">
                  <c:v>0.56699999999999995</c:v>
                </c:pt>
                <c:pt idx="2">
                  <c:v>0.49399999999999999</c:v>
                </c:pt>
                <c:pt idx="3">
                  <c:v>0.89400000000000002</c:v>
                </c:pt>
                <c:pt idx="4">
                  <c:v>0.65500000000000003</c:v>
                </c:pt>
                <c:pt idx="5">
                  <c:v>0.52600000000000002</c:v>
                </c:pt>
                <c:pt idx="6">
                  <c:v>0.73699999999999999</c:v>
                </c:pt>
                <c:pt idx="7">
                  <c:v>1.0549999999999999</c:v>
                </c:pt>
              </c:numCache>
            </c:numRef>
          </c:yVal>
          <c:bubbleSize>
            <c:numRef>
              <c:f>Sheet1!$C$2:$C$9</c:f>
              <c:numCache>
                <c:formatCode>General</c:formatCode>
                <c:ptCount val="8"/>
                <c:pt idx="0">
                  <c:v>1109404</c:v>
                </c:pt>
                <c:pt idx="1">
                  <c:v>113094</c:v>
                </c:pt>
                <c:pt idx="2">
                  <c:v>108439</c:v>
                </c:pt>
                <c:pt idx="3">
                  <c:v>106107</c:v>
                </c:pt>
                <c:pt idx="4">
                  <c:v>62509</c:v>
                </c:pt>
                <c:pt idx="5">
                  <c:v>38179</c:v>
                </c:pt>
                <c:pt idx="6">
                  <c:v>38170</c:v>
                </c:pt>
                <c:pt idx="7">
                  <c:v>36494</c:v>
                </c:pt>
              </c:numCache>
            </c:numRef>
          </c:bubbleSize>
          <c:bubble3D val="0"/>
          <c:extLst>
            <c:ext xmlns:c15="http://schemas.microsoft.com/office/drawing/2012/chart" uri="{02D57815-91ED-43cb-92C2-25804820EDAC}">
              <c15:datalabelsRange>
                <c15:f>Sheet1!$E$2:$E$10</c15:f>
                <c15:dlblRangeCache>
                  <c:ptCount val="9"/>
                  <c:pt idx="0">
                    <c:v>Mhcs</c:v>
                  </c:pt>
                  <c:pt idx="1">
                    <c:v>Malard Nicolas</c:v>
                  </c:pt>
                  <c:pt idx="2">
                    <c:v>Malard</c:v>
                  </c:pt>
                  <c:pt idx="3">
                    <c:v>Lanson-Bcc</c:v>
                  </c:pt>
                  <c:pt idx="4">
                    <c:v>Henriot</c:v>
                  </c:pt>
                  <c:pt idx="5">
                    <c:v>De Bligny</c:v>
                  </c:pt>
                  <c:pt idx="6">
                    <c:v>Delamotte</c:v>
                  </c:pt>
                  <c:pt idx="7">
                    <c:v>Bollinger</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18"/>
          <c:min val="2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64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3E2F04B-B202-48AE-8FBD-03F2FB1266D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513B93F-E791-47B4-B76F-83F59C0CA6B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9BA50E3-E718-420C-AC41-5FEA771A2B0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09F66F0-1AE2-42B5-99D8-33E1BD24606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31D84E0-12FB-4CB0-9F00-1F10CB93C90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E739C92-8822-459A-A124-9093309977E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C67306BE-1945-4EF2-8B61-DCDA496E066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CD23797E-9BE3-4CF2-9493-2B32663A4EA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99.423199999999994</c:v>
                </c:pt>
                <c:pt idx="1">
                  <c:v>61.918700000000001</c:v>
                </c:pt>
                <c:pt idx="2">
                  <c:v>38.250900000000001</c:v>
                </c:pt>
                <c:pt idx="3">
                  <c:v>35.230899999999998</c:v>
                </c:pt>
                <c:pt idx="4">
                  <c:v>46.652500000000003</c:v>
                </c:pt>
                <c:pt idx="5">
                  <c:v>37.884399999999999</c:v>
                </c:pt>
                <c:pt idx="6">
                  <c:v>52.9955</c:v>
                </c:pt>
                <c:pt idx="7">
                  <c:v>76.6631</c:v>
                </c:pt>
              </c:numCache>
            </c:numRef>
          </c:xVal>
          <c:yVal>
            <c:numRef>
              <c:f>Sheet1!$B$2:$B$9</c:f>
              <c:numCache>
                <c:formatCode>General</c:formatCode>
                <c:ptCount val="8"/>
                <c:pt idx="0">
                  <c:v>1.347</c:v>
                </c:pt>
                <c:pt idx="1">
                  <c:v>0.88200000000000001</c:v>
                </c:pt>
                <c:pt idx="2">
                  <c:v>0.55600000000000005</c:v>
                </c:pt>
                <c:pt idx="3">
                  <c:v>0.49</c:v>
                </c:pt>
                <c:pt idx="4">
                  <c:v>0.64200000000000002</c:v>
                </c:pt>
                <c:pt idx="5">
                  <c:v>0.52600000000000002</c:v>
                </c:pt>
                <c:pt idx="6">
                  <c:v>0.72799999999999998</c:v>
                </c:pt>
                <c:pt idx="7">
                  <c:v>1.0449999999999999</c:v>
                </c:pt>
              </c:numCache>
            </c:numRef>
          </c:yVal>
          <c:bubbleSize>
            <c:numRef>
              <c:f>Sheet1!$C$2:$C$9</c:f>
              <c:numCache>
                <c:formatCode>General</c:formatCode>
                <c:ptCount val="8"/>
                <c:pt idx="0">
                  <c:v>910915</c:v>
                </c:pt>
                <c:pt idx="1">
                  <c:v>92197</c:v>
                </c:pt>
                <c:pt idx="2">
                  <c:v>83540</c:v>
                </c:pt>
                <c:pt idx="3">
                  <c:v>80714</c:v>
                </c:pt>
                <c:pt idx="4">
                  <c:v>55050</c:v>
                </c:pt>
                <c:pt idx="5">
                  <c:v>38983</c:v>
                </c:pt>
                <c:pt idx="6">
                  <c:v>35189</c:v>
                </c:pt>
                <c:pt idx="7">
                  <c:v>28672</c:v>
                </c:pt>
              </c:numCache>
            </c:numRef>
          </c:bubbleSize>
          <c:bubble3D val="0"/>
          <c:extLst>
            <c:ext xmlns:c15="http://schemas.microsoft.com/office/drawing/2012/chart" uri="{02D57815-91ED-43cb-92C2-25804820EDAC}">
              <c15:datalabelsRange>
                <c15:f>Sheet1!$E$2:$E$10</c15:f>
                <c15:dlblRangeCache>
                  <c:ptCount val="9"/>
                  <c:pt idx="0">
                    <c:v>Mhcs</c:v>
                  </c:pt>
                  <c:pt idx="1">
                    <c:v>Lanson-Bcc</c:v>
                  </c:pt>
                  <c:pt idx="2">
                    <c:v>Malard Nicolas</c:v>
                  </c:pt>
                  <c:pt idx="3">
                    <c:v>Malard</c:v>
                  </c:pt>
                  <c:pt idx="4">
                    <c:v>Henriot</c:v>
                  </c:pt>
                  <c:pt idx="5">
                    <c:v>De Bligny</c:v>
                  </c:pt>
                  <c:pt idx="6">
                    <c:v>Delamotte</c:v>
                  </c:pt>
                  <c:pt idx="7">
                    <c:v>Bollinger</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19"/>
          <c:min val="2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46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3F9C9A2-2C07-49C4-9135-94CF0438E6F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0956A43-2D7E-43EF-8652-DFE63754F6A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BAF0414-90F6-4437-B232-26DB6CC61D8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08F4828-495A-4BA5-BE61-B17251D06B8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DED9A3D-F1FB-4A41-9C9D-0040293F1BA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4A38DA3-5CB0-45AF-85A0-DDB392B050C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2AF6154F-41ED-4AD3-88FE-007BFC514C9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61728092-1815-474E-9905-CC604E5A5C3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99.013999999999996</c:v>
                </c:pt>
                <c:pt idx="1">
                  <c:v>39.005600000000001</c:v>
                </c:pt>
                <c:pt idx="2">
                  <c:v>62.447200000000002</c:v>
                </c:pt>
                <c:pt idx="3">
                  <c:v>35.324399999999997</c:v>
                </c:pt>
                <c:pt idx="4">
                  <c:v>37.983400000000003</c:v>
                </c:pt>
                <c:pt idx="5">
                  <c:v>47.084000000000003</c:v>
                </c:pt>
                <c:pt idx="6">
                  <c:v>53.462699999999998</c:v>
                </c:pt>
                <c:pt idx="7">
                  <c:v>75.419600000000003</c:v>
                </c:pt>
              </c:numCache>
            </c:numRef>
          </c:xVal>
          <c:yVal>
            <c:numRef>
              <c:f>Sheet1!$B$2:$B$9</c:f>
              <c:numCache>
                <c:formatCode>General</c:formatCode>
                <c:ptCount val="8"/>
                <c:pt idx="0">
                  <c:v>1.411</c:v>
                </c:pt>
                <c:pt idx="1">
                  <c:v>0.58199999999999996</c:v>
                </c:pt>
                <c:pt idx="2">
                  <c:v>0.94399999999999995</c:v>
                </c:pt>
                <c:pt idx="3">
                  <c:v>0.51300000000000001</c:v>
                </c:pt>
                <c:pt idx="4">
                  <c:v>0.55300000000000005</c:v>
                </c:pt>
                <c:pt idx="5">
                  <c:v>0.68100000000000005</c:v>
                </c:pt>
                <c:pt idx="6">
                  <c:v>0.76900000000000002</c:v>
                </c:pt>
                <c:pt idx="7">
                  <c:v>1.0760000000000001</c:v>
                </c:pt>
              </c:numCache>
            </c:numRef>
          </c:yVal>
          <c:bubbleSize>
            <c:numRef>
              <c:f>Sheet1!$C$2:$C$9</c:f>
              <c:numCache>
                <c:formatCode>General</c:formatCode>
                <c:ptCount val="8"/>
                <c:pt idx="0">
                  <c:v>763497</c:v>
                </c:pt>
                <c:pt idx="1">
                  <c:v>103677</c:v>
                </c:pt>
                <c:pt idx="2">
                  <c:v>88113</c:v>
                </c:pt>
                <c:pt idx="3">
                  <c:v>84390</c:v>
                </c:pt>
                <c:pt idx="4">
                  <c:v>47935</c:v>
                </c:pt>
                <c:pt idx="5">
                  <c:v>45954</c:v>
                </c:pt>
                <c:pt idx="6">
                  <c:v>30848</c:v>
                </c:pt>
                <c:pt idx="7">
                  <c:v>30017</c:v>
                </c:pt>
              </c:numCache>
            </c:numRef>
          </c:bubbleSize>
          <c:bubble3D val="0"/>
          <c:extLst>
            <c:ext xmlns:c15="http://schemas.microsoft.com/office/drawing/2012/chart" uri="{02D57815-91ED-43cb-92C2-25804820EDAC}">
              <c15:datalabelsRange>
                <c15:f>Sheet1!$E$2:$E$10</c15:f>
                <c15:dlblRangeCache>
                  <c:ptCount val="9"/>
                  <c:pt idx="0">
                    <c:v>Mhcs</c:v>
                  </c:pt>
                  <c:pt idx="1">
                    <c:v>Malard Nicolas</c:v>
                  </c:pt>
                  <c:pt idx="2">
                    <c:v>Lanson-Bcc</c:v>
                  </c:pt>
                  <c:pt idx="3">
                    <c:v>Malard</c:v>
                  </c:pt>
                  <c:pt idx="4">
                    <c:v>De Bligny</c:v>
                  </c:pt>
                  <c:pt idx="5">
                    <c:v>Henriot</c:v>
                  </c:pt>
                  <c:pt idx="6">
                    <c:v>Delamotte</c:v>
                  </c:pt>
                  <c:pt idx="7">
                    <c:v>Bollinger</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19"/>
          <c:min val="2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611"/>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FC84D0A-51C8-4A88-9E5B-8F71D294462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A729BB1-272D-4C39-B64E-F16B4D79131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A4090E6-BD75-4712-B874-CBA1C1BCEB0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3CE2B16-0F64-4C66-88B8-E9DFC32668B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E3003E8-B5AA-4A08-9561-CB323188BA5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B16BD45-2E8E-4526-975E-1A20C73D23C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723A7E8-60A5-4371-9337-B36B08D46D1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21C177E8-4582-4DBD-8150-AFC1048E181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3.571200000000001</c:v>
                </c:pt>
                <c:pt idx="1">
                  <c:v>24.785499999999999</c:v>
                </c:pt>
                <c:pt idx="2">
                  <c:v>45.172600000000003</c:v>
                </c:pt>
                <c:pt idx="3">
                  <c:v>31.055299999999999</c:v>
                </c:pt>
                <c:pt idx="4">
                  <c:v>25.835599999999999</c:v>
                </c:pt>
                <c:pt idx="5">
                  <c:v>24.3565</c:v>
                </c:pt>
                <c:pt idx="6">
                  <c:v>30.503299999999999</c:v>
                </c:pt>
                <c:pt idx="7">
                  <c:v>26.249400000000001</c:v>
                </c:pt>
              </c:numCache>
            </c:numRef>
          </c:xVal>
          <c:yVal>
            <c:numRef>
              <c:f>Sheet1!$B$2:$B$9</c:f>
              <c:numCache>
                <c:formatCode>General</c:formatCode>
                <c:ptCount val="8"/>
                <c:pt idx="0">
                  <c:v>0.57399999999999995</c:v>
                </c:pt>
                <c:pt idx="1">
                  <c:v>1.042</c:v>
                </c:pt>
                <c:pt idx="2">
                  <c:v>2.1920000000000002</c:v>
                </c:pt>
                <c:pt idx="3">
                  <c:v>1.4990000000000001</c:v>
                </c:pt>
                <c:pt idx="4">
                  <c:v>1.222</c:v>
                </c:pt>
                <c:pt idx="5">
                  <c:v>1.109</c:v>
                </c:pt>
                <c:pt idx="6">
                  <c:v>1.5229999999999999</c:v>
                </c:pt>
                <c:pt idx="7">
                  <c:v>1.1850000000000001</c:v>
                </c:pt>
              </c:numCache>
            </c:numRef>
          </c:yVal>
          <c:bubbleSize>
            <c:numRef>
              <c:f>Sheet1!$C$2:$C$9</c:f>
              <c:numCache>
                <c:formatCode>General</c:formatCode>
                <c:ptCount val="8"/>
                <c:pt idx="0">
                  <c:v>69814135</c:v>
                </c:pt>
                <c:pt idx="1">
                  <c:v>63941275</c:v>
                </c:pt>
                <c:pt idx="2">
                  <c:v>54295205</c:v>
                </c:pt>
                <c:pt idx="3">
                  <c:v>38635681</c:v>
                </c:pt>
                <c:pt idx="4">
                  <c:v>24364022</c:v>
                </c:pt>
                <c:pt idx="5">
                  <c:v>23515927</c:v>
                </c:pt>
                <c:pt idx="6">
                  <c:v>22071884</c:v>
                </c:pt>
                <c:pt idx="7">
                  <c:v>20625599</c:v>
                </c:pt>
              </c:numCache>
            </c:numRef>
          </c:bubbleSize>
          <c:bubble3D val="0"/>
          <c:extLst>
            <c:ext xmlns:c15="http://schemas.microsoft.com/office/drawing/2012/chart" uri="{02D57815-91ED-43cb-92C2-25804820EDAC}">
              <c15:datalabelsRange>
                <c15:f>Sheet1!$E$2:$E$10</c15:f>
                <c15:dlblRangeCache>
                  <c:ptCount val="9"/>
                  <c:pt idx="0">
                    <c:v>Vranken Pommery</c:v>
                  </c:pt>
                  <c:pt idx="1">
                    <c:v>Cfgv</c:v>
                  </c:pt>
                  <c:pt idx="2">
                    <c:v>Mhcs</c:v>
                  </c:pt>
                  <c:pt idx="3">
                    <c:v>Pernod Ricard</c:v>
                  </c:pt>
                  <c:pt idx="4">
                    <c:v>C&amp;C Sas France</c:v>
                  </c:pt>
                  <c:pt idx="5">
                    <c:v>Maison Burtin</c:v>
                  </c:pt>
                  <c:pt idx="6">
                    <c:v>Lanson-Bcc</c:v>
                  </c:pt>
                  <c:pt idx="7">
                    <c:v>Laurent Perrier</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4"/>
          <c:min val="1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3920000000000003"/>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751FD324-723B-4B20-9782-0D543D5AE51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BD732D98-B34D-485C-81EE-D01B4A11867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D871-46D6-BBFE-7C00E0D51738}"/>
                </c:ext>
              </c:extLst>
            </c:dLbl>
            <c:dLbl>
              <c:idx val="3"/>
              <c:tx>
                <c:rich>
                  <a:bodyPr/>
                  <a:lstStyle/>
                  <a:p>
                    <a:fld id="{888F3998-0D7B-42FC-B7EA-572B7E48E17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D871-46D6-BBFE-7C00E0D51738}"/>
                </c:ext>
              </c:extLst>
            </c:dLbl>
            <c:dLbl>
              <c:idx val="4"/>
              <c:tx>
                <c:rich>
                  <a:bodyPr/>
                  <a:lstStyle/>
                  <a:p>
                    <a:fld id="{5962E65A-7E00-4D64-BF6E-D0A32CAD7A9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D871-46D6-BBFE-7C00E0D51738}"/>
                </c:ext>
              </c:extLst>
            </c:dLbl>
            <c:dLbl>
              <c:idx val="5"/>
              <c:tx>
                <c:rich>
                  <a:bodyPr/>
                  <a:lstStyle/>
                  <a:p>
                    <a:fld id="{3EBBDB5E-4001-44F7-AE79-59E2995E121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71-46D6-BBFE-7C00E0D51738}"/>
                </c:ext>
              </c:extLst>
            </c:dLbl>
            <c:dLbl>
              <c:idx val="6"/>
              <c:tx>
                <c:rich>
                  <a:bodyPr/>
                  <a:lstStyle/>
                  <a:p>
                    <a:fld id="{612F7FB3-3D63-4043-B0F5-E6E02C7757D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71-46D6-BBFE-7C00E0D51738}"/>
                </c:ext>
              </c:extLst>
            </c:dLbl>
            <c:dLbl>
              <c:idx val="7"/>
              <c:tx>
                <c:rich>
                  <a:bodyPr/>
                  <a:lstStyle/>
                  <a:p>
                    <a:fld id="{50FE41D3-9271-431B-AA8E-64DCABED518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71-46D6-BBFE-7C00E0D51738}"/>
                </c:ext>
              </c:extLst>
            </c:dLbl>
            <c:dLbl>
              <c:idx val="8"/>
              <c:tx>
                <c:rich>
                  <a:bodyPr/>
                  <a:lstStyle/>
                  <a:p>
                    <a:fld id="{E117B4B6-7360-4704-92BA-CEAA75336CF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29.084499999999998</c:v>
                </c:pt>
                <c:pt idx="1">
                  <c:v>11.353199999999999</c:v>
                </c:pt>
              </c:numCache>
            </c:numRef>
          </c:xVal>
          <c:yVal>
            <c:numRef>
              <c:f>Sheet1!$B$2:$B$3</c:f>
              <c:numCache>
                <c:formatCode>General</c:formatCode>
                <c:ptCount val="2"/>
                <c:pt idx="0">
                  <c:v>1.68</c:v>
                </c:pt>
                <c:pt idx="1">
                  <c:v>0.65600000000000003</c:v>
                </c:pt>
              </c:numCache>
            </c:numRef>
          </c:yVal>
          <c:bubbleSize>
            <c:numRef>
              <c:f>Sheet1!$C$2:$C$3</c:f>
              <c:numCache>
                <c:formatCode>General</c:formatCode>
                <c:ptCount val="2"/>
                <c:pt idx="0">
                  <c:v>46128</c:v>
                </c:pt>
                <c:pt idx="1">
                  <c:v>33594</c:v>
                </c:pt>
              </c:numCache>
            </c:numRef>
          </c:bubbleSize>
          <c:bubble3D val="0"/>
          <c:extLst>
            <c:ext xmlns:c15="http://schemas.microsoft.com/office/drawing/2012/chart" uri="{02D57815-91ED-43cb-92C2-25804820EDAC}">
              <c15:datalabelsRange>
                <c15:f>Sheet1!$E$2:$E$10</c15:f>
                <c15:dlblRangeCache>
                  <c:ptCount val="9"/>
                  <c:pt idx="0">
                    <c:v>De Chanceny</c:v>
                  </c:pt>
                  <c:pt idx="1">
                    <c:v>Lyre's</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5"/>
          <c:min val="9"/>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9743EF9-A328-4C98-9AEA-9976ED93877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88D4C33-BE61-4322-9AC7-4F829F2B469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023F8AE-2981-48B1-8B99-895222C1896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3639AB3-F229-4B07-95BA-E6D568FC284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1343EA4-78EF-411C-8A61-3C2EDD57C24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5194584-55EB-494C-A2C8-6AB9E83AC7B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112F0193-A032-4998-8361-97EE20C9160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146434D9-DBF4-4663-AAB1-EEC318949BF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56.291699999999999</c:v>
                </c:pt>
                <c:pt idx="1">
                  <c:v>50.694499999999998</c:v>
                </c:pt>
                <c:pt idx="2">
                  <c:v>22.207599999999999</c:v>
                </c:pt>
                <c:pt idx="3">
                  <c:v>31.369199999999999</c:v>
                </c:pt>
                <c:pt idx="4">
                  <c:v>45.177</c:v>
                </c:pt>
                <c:pt idx="5">
                  <c:v>49.057299999999998</c:v>
                </c:pt>
                <c:pt idx="6">
                  <c:v>30.305599999999998</c:v>
                </c:pt>
                <c:pt idx="7">
                  <c:v>36.5473</c:v>
                </c:pt>
              </c:numCache>
            </c:numRef>
          </c:xVal>
          <c:yVal>
            <c:numRef>
              <c:f>Sheet1!$B$2:$B$9</c:f>
              <c:numCache>
                <c:formatCode>General</c:formatCode>
                <c:ptCount val="8"/>
                <c:pt idx="0">
                  <c:v>1.411</c:v>
                </c:pt>
                <c:pt idx="1">
                  <c:v>1.2509999999999999</c:v>
                </c:pt>
                <c:pt idx="2">
                  <c:v>0.56299999999999994</c:v>
                </c:pt>
                <c:pt idx="3">
                  <c:v>0.83699999999999997</c:v>
                </c:pt>
                <c:pt idx="4">
                  <c:v>1.1240000000000001</c:v>
                </c:pt>
                <c:pt idx="5">
                  <c:v>1.0980000000000001</c:v>
                </c:pt>
                <c:pt idx="6">
                  <c:v>0.79200000000000004</c:v>
                </c:pt>
                <c:pt idx="7">
                  <c:v>0.97399999999999998</c:v>
                </c:pt>
              </c:numCache>
            </c:numRef>
          </c:yVal>
          <c:bubbleSize>
            <c:numRef>
              <c:f>Sheet1!$C$2:$C$9</c:f>
              <c:numCache>
                <c:formatCode>General</c:formatCode>
                <c:ptCount val="8"/>
                <c:pt idx="0">
                  <c:v>10664917</c:v>
                </c:pt>
                <c:pt idx="1">
                  <c:v>5597885</c:v>
                </c:pt>
                <c:pt idx="2">
                  <c:v>4648693</c:v>
                </c:pt>
                <c:pt idx="3">
                  <c:v>3722014</c:v>
                </c:pt>
                <c:pt idx="4">
                  <c:v>3097382</c:v>
                </c:pt>
                <c:pt idx="5">
                  <c:v>2622261</c:v>
                </c:pt>
                <c:pt idx="6">
                  <c:v>1729845</c:v>
                </c:pt>
                <c:pt idx="7">
                  <c:v>1670835</c:v>
                </c:pt>
              </c:numCache>
            </c:numRef>
          </c:bubbleSize>
          <c:bubble3D val="0"/>
          <c:extLst>
            <c:ext xmlns:c15="http://schemas.microsoft.com/office/drawing/2012/chart" uri="{02D57815-91ED-43cb-92C2-25804820EDAC}">
              <c15:datalabelsRange>
                <c15:f>Sheet1!$E$2:$E$10</c15:f>
                <c15:dlblRangeCache>
                  <c:ptCount val="9"/>
                  <c:pt idx="0">
                    <c:v>Mhcs</c:v>
                  </c:pt>
                  <c:pt idx="1">
                    <c:v>Roederer</c:v>
                  </c:pt>
                  <c:pt idx="2">
                    <c:v>Malard Nicolas</c:v>
                  </c:pt>
                  <c:pt idx="3">
                    <c:v>Vranken Pommery</c:v>
                  </c:pt>
                  <c:pt idx="4">
                    <c:v>Bollinger</c:v>
                  </c:pt>
                  <c:pt idx="5">
                    <c:v>Laurent Perrier</c:v>
                  </c:pt>
                  <c:pt idx="6">
                    <c:v>C&amp;C Sas France</c:v>
                  </c:pt>
                  <c:pt idx="7">
                    <c:v>Lanson-Bcc</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8"/>
          <c:min val="1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611"/>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3AD7B68-B007-4A63-B827-5B3EC0489C2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694CF2D-411D-41D5-9674-C7771D7D905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B8DE2DE-EE82-487E-A9F5-5A475C36BC3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933B39C-E2B9-4E9F-8F4D-6381AABE6DE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5237F494-34FE-4D3D-BD9D-F8514DACD9B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BCD9D8D-17E6-4783-91F8-87C96C9512C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24F0A107-7BD9-4EF0-AFD6-F76FD0202A1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753AE1B2-2977-41E2-A305-D2D0096E2E7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3.249099999999999</c:v>
                </c:pt>
                <c:pt idx="1">
                  <c:v>24.740400000000001</c:v>
                </c:pt>
                <c:pt idx="2">
                  <c:v>43.120800000000003</c:v>
                </c:pt>
                <c:pt idx="3">
                  <c:v>30.811</c:v>
                </c:pt>
                <c:pt idx="4">
                  <c:v>24.3565</c:v>
                </c:pt>
                <c:pt idx="5">
                  <c:v>25.5548</c:v>
                </c:pt>
                <c:pt idx="6">
                  <c:v>30.104199999999999</c:v>
                </c:pt>
                <c:pt idx="7">
                  <c:v>24.594100000000001</c:v>
                </c:pt>
              </c:numCache>
            </c:numRef>
          </c:xVal>
          <c:yVal>
            <c:numRef>
              <c:f>Sheet1!$B$2:$B$9</c:f>
              <c:numCache>
                <c:formatCode>General</c:formatCode>
                <c:ptCount val="8"/>
                <c:pt idx="0">
                  <c:v>0.57999999999999996</c:v>
                </c:pt>
                <c:pt idx="1">
                  <c:v>1.0900000000000001</c:v>
                </c:pt>
                <c:pt idx="2">
                  <c:v>2.181</c:v>
                </c:pt>
                <c:pt idx="3">
                  <c:v>1.5580000000000001</c:v>
                </c:pt>
                <c:pt idx="4">
                  <c:v>1.163</c:v>
                </c:pt>
                <c:pt idx="5">
                  <c:v>1.2589999999999999</c:v>
                </c:pt>
                <c:pt idx="6">
                  <c:v>1.569</c:v>
                </c:pt>
                <c:pt idx="7">
                  <c:v>1.1639999999999999</c:v>
                </c:pt>
              </c:numCache>
            </c:numRef>
          </c:yVal>
          <c:bubbleSize>
            <c:numRef>
              <c:f>Sheet1!$C$2:$C$9</c:f>
              <c:numCache>
                <c:formatCode>General</c:formatCode>
                <c:ptCount val="8"/>
                <c:pt idx="0">
                  <c:v>66099109</c:v>
                </c:pt>
                <c:pt idx="1">
                  <c:v>63676794</c:v>
                </c:pt>
                <c:pt idx="2">
                  <c:v>43674023</c:v>
                </c:pt>
                <c:pt idx="3">
                  <c:v>37864933</c:v>
                </c:pt>
                <c:pt idx="4">
                  <c:v>23515927</c:v>
                </c:pt>
                <c:pt idx="5">
                  <c:v>22638139</c:v>
                </c:pt>
                <c:pt idx="6">
                  <c:v>20403347</c:v>
                </c:pt>
                <c:pt idx="7">
                  <c:v>18008474</c:v>
                </c:pt>
              </c:numCache>
            </c:numRef>
          </c:bubbleSize>
          <c:bubble3D val="0"/>
          <c:extLst>
            <c:ext xmlns:c15="http://schemas.microsoft.com/office/drawing/2012/chart" uri="{02D57815-91ED-43cb-92C2-25804820EDAC}">
              <c15:datalabelsRange>
                <c15:f>Sheet1!$E$2:$E$10</c15:f>
                <c15:dlblRangeCache>
                  <c:ptCount val="9"/>
                  <c:pt idx="0">
                    <c:v>Vranken Pommery</c:v>
                  </c:pt>
                  <c:pt idx="1">
                    <c:v>Cfgv</c:v>
                  </c:pt>
                  <c:pt idx="2">
                    <c:v>Mhcs</c:v>
                  </c:pt>
                  <c:pt idx="3">
                    <c:v>Pernod Ricard</c:v>
                  </c:pt>
                  <c:pt idx="4">
                    <c:v>Maison Burtin</c:v>
                  </c:pt>
                  <c:pt idx="5">
                    <c:v>C&amp;C Sas France</c:v>
                  </c:pt>
                  <c:pt idx="6">
                    <c:v>Lanson-Bcc</c:v>
                  </c:pt>
                  <c:pt idx="7">
                    <c:v>Laurent Perrier</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2"/>
          <c:min val="1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3810000000000002"/>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55193B4-20D2-4244-BC75-2067DD1EC2C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B6D59A9-58EC-458D-8BE2-55073FA86BC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2C21C81-3B9D-4DAA-BC6F-2BE86C12956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D8E46A2-88C3-42F8-A6C4-73935CA13C6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1CFDA39-8815-4D63-9C07-C935B85DDB7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630A288-E25F-4A09-8C01-CA2E08EECF7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E564B767-1B42-4F56-AEC3-B422C4A0410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A62E3AB9-D216-4E05-9095-86D1BD036AA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55.768700000000003</c:v>
                </c:pt>
                <c:pt idx="1">
                  <c:v>49.643999999999998</c:v>
                </c:pt>
                <c:pt idx="2">
                  <c:v>22.2364</c:v>
                </c:pt>
                <c:pt idx="3">
                  <c:v>31.155899999999999</c:v>
                </c:pt>
                <c:pt idx="4">
                  <c:v>44.224499999999999</c:v>
                </c:pt>
                <c:pt idx="5">
                  <c:v>48.289099999999998</c:v>
                </c:pt>
                <c:pt idx="6">
                  <c:v>36.3431</c:v>
                </c:pt>
                <c:pt idx="7">
                  <c:v>29.502600000000001</c:v>
                </c:pt>
              </c:numCache>
            </c:numRef>
          </c:xVal>
          <c:yVal>
            <c:numRef>
              <c:f>Sheet1!$B$2:$B$9</c:f>
              <c:numCache>
                <c:formatCode>General</c:formatCode>
                <c:ptCount val="8"/>
                <c:pt idx="0">
                  <c:v>1.415</c:v>
                </c:pt>
                <c:pt idx="1">
                  <c:v>1.2569999999999999</c:v>
                </c:pt>
                <c:pt idx="2">
                  <c:v>0.56899999999999995</c:v>
                </c:pt>
                <c:pt idx="3">
                  <c:v>0.83499999999999996</c:v>
                </c:pt>
                <c:pt idx="4">
                  <c:v>1.115</c:v>
                </c:pt>
                <c:pt idx="5">
                  <c:v>1.101</c:v>
                </c:pt>
                <c:pt idx="6">
                  <c:v>0.97799999999999998</c:v>
                </c:pt>
                <c:pt idx="7">
                  <c:v>0.79200000000000004</c:v>
                </c:pt>
              </c:numCache>
            </c:numRef>
          </c:yVal>
          <c:bubbleSize>
            <c:numRef>
              <c:f>Sheet1!$C$2:$C$9</c:f>
              <c:numCache>
                <c:formatCode>General</c:formatCode>
                <c:ptCount val="8"/>
                <c:pt idx="0">
                  <c:v>4449842</c:v>
                </c:pt>
                <c:pt idx="1">
                  <c:v>2525193</c:v>
                </c:pt>
                <c:pt idx="2">
                  <c:v>2057383</c:v>
                </c:pt>
                <c:pt idx="3">
                  <c:v>1738781</c:v>
                </c:pt>
                <c:pt idx="4">
                  <c:v>1441188</c:v>
                </c:pt>
                <c:pt idx="5">
                  <c:v>1194382</c:v>
                </c:pt>
                <c:pt idx="6">
                  <c:v>836037</c:v>
                </c:pt>
                <c:pt idx="7">
                  <c:v>771759</c:v>
                </c:pt>
              </c:numCache>
            </c:numRef>
          </c:bubbleSize>
          <c:bubble3D val="0"/>
          <c:extLst>
            <c:ext xmlns:c15="http://schemas.microsoft.com/office/drawing/2012/chart" uri="{02D57815-91ED-43cb-92C2-25804820EDAC}">
              <c15:datalabelsRange>
                <c15:f>Sheet1!$E$2:$E$10</c15:f>
                <c15:dlblRangeCache>
                  <c:ptCount val="9"/>
                  <c:pt idx="0">
                    <c:v>Mhcs</c:v>
                  </c:pt>
                  <c:pt idx="1">
                    <c:v>Roederer</c:v>
                  </c:pt>
                  <c:pt idx="2">
                    <c:v>Malard Nicolas</c:v>
                  </c:pt>
                  <c:pt idx="3">
                    <c:v>Vranken Pommery</c:v>
                  </c:pt>
                  <c:pt idx="4">
                    <c:v>Bollinger</c:v>
                  </c:pt>
                  <c:pt idx="5">
                    <c:v>Laurent Perrier</c:v>
                  </c:pt>
                  <c:pt idx="6">
                    <c:v>Lanson-Bcc</c:v>
                  </c:pt>
                  <c:pt idx="7">
                    <c:v>C&amp;C Sas Franc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7"/>
          <c:min val="1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615"/>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45B2059-3375-46EE-9A26-894832E91D8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41D7D7F-C464-45B2-9187-9D34F4BC607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4811ABE-6DC8-4F3F-AEA2-5AB4E3B57F1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CE00BCD-FA0B-45DE-A460-5C9BA905FC6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8E5CB79-D228-464F-B3BE-5F151B6BB9C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029D8A9-4CC7-4EAD-A17E-394644CFAB8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7FDD1653-B632-41AA-BE69-7A1CBFD3987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478B160-6BB9-4FB5-B5CF-C775689100A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56.145899999999997</c:v>
                </c:pt>
                <c:pt idx="1">
                  <c:v>22.116199999999999</c:v>
                </c:pt>
                <c:pt idx="2">
                  <c:v>51.367400000000004</c:v>
                </c:pt>
                <c:pt idx="3">
                  <c:v>32.063600000000001</c:v>
                </c:pt>
                <c:pt idx="4">
                  <c:v>44.051000000000002</c:v>
                </c:pt>
                <c:pt idx="5">
                  <c:v>30.440999999999999</c:v>
                </c:pt>
                <c:pt idx="6">
                  <c:v>49.253999999999998</c:v>
                </c:pt>
                <c:pt idx="7">
                  <c:v>29.9451</c:v>
                </c:pt>
              </c:numCache>
            </c:numRef>
          </c:xVal>
          <c:yVal>
            <c:numRef>
              <c:f>Sheet1!$B$2:$B$9</c:f>
              <c:numCache>
                <c:formatCode>General</c:formatCode>
                <c:ptCount val="8"/>
                <c:pt idx="0">
                  <c:v>1.452</c:v>
                </c:pt>
                <c:pt idx="1">
                  <c:v>0.57899999999999996</c:v>
                </c:pt>
                <c:pt idx="2">
                  <c:v>1.2849999999999999</c:v>
                </c:pt>
                <c:pt idx="3">
                  <c:v>0.872</c:v>
                </c:pt>
                <c:pt idx="4">
                  <c:v>1.131</c:v>
                </c:pt>
                <c:pt idx="5">
                  <c:v>0.81299999999999994</c:v>
                </c:pt>
                <c:pt idx="6">
                  <c:v>1.1200000000000001</c:v>
                </c:pt>
                <c:pt idx="7">
                  <c:v>0.78600000000000003</c:v>
                </c:pt>
              </c:numCache>
            </c:numRef>
          </c:yVal>
          <c:bubbleSize>
            <c:numRef>
              <c:f>Sheet1!$C$2:$C$9</c:f>
              <c:numCache>
                <c:formatCode>General</c:formatCode>
                <c:ptCount val="8"/>
                <c:pt idx="0">
                  <c:v>2053200</c:v>
                </c:pt>
                <c:pt idx="1">
                  <c:v>999807</c:v>
                </c:pt>
                <c:pt idx="2">
                  <c:v>953996</c:v>
                </c:pt>
                <c:pt idx="3">
                  <c:v>742081</c:v>
                </c:pt>
                <c:pt idx="4">
                  <c:v>534163</c:v>
                </c:pt>
                <c:pt idx="5">
                  <c:v>406966</c:v>
                </c:pt>
                <c:pt idx="6">
                  <c:v>402750</c:v>
                </c:pt>
                <c:pt idx="7">
                  <c:v>375092</c:v>
                </c:pt>
              </c:numCache>
            </c:numRef>
          </c:bubbleSize>
          <c:bubble3D val="0"/>
          <c:extLst>
            <c:ext xmlns:c15="http://schemas.microsoft.com/office/drawing/2012/chart" uri="{02D57815-91ED-43cb-92C2-25804820EDAC}">
              <c15:datalabelsRange>
                <c15:f>Sheet1!$E$2:$E$10</c15:f>
                <c15:dlblRangeCache>
                  <c:ptCount val="9"/>
                  <c:pt idx="0">
                    <c:v>Mhcs</c:v>
                  </c:pt>
                  <c:pt idx="1">
                    <c:v>Malard Nicolas</c:v>
                  </c:pt>
                  <c:pt idx="2">
                    <c:v>Roederer</c:v>
                  </c:pt>
                  <c:pt idx="3">
                    <c:v>Vranken Pommery</c:v>
                  </c:pt>
                  <c:pt idx="4">
                    <c:v>Bollinger</c:v>
                  </c:pt>
                  <c:pt idx="5">
                    <c:v>C&amp;C Sas France</c:v>
                  </c:pt>
                  <c:pt idx="6">
                    <c:v>Laurent Perrier</c:v>
                  </c:pt>
                  <c:pt idx="7">
                    <c:v>De Blign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7"/>
          <c:min val="1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651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28F27B2-4094-4643-A9D9-A4EEFEF1095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4D33AE0-E848-4AEE-B730-E04A6EB588A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3B4C143-10C1-483E-91AE-F7A4133B33C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C97973A-20FC-49AF-9F6F-0CE02BE0AEF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EB6C0D5-7F40-47B9-8DA3-205275053FA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F9E7FF6-4AC1-4CEC-9F29-EA873F747B7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55D7B055-5135-4EC9-A907-EDEB18F2525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BEF1FDA-FD92-44D4-9FFB-F7D4FA154D2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56.112699999999997</c:v>
                </c:pt>
                <c:pt idx="1">
                  <c:v>51.082299999999996</c:v>
                </c:pt>
                <c:pt idx="2">
                  <c:v>22.2852</c:v>
                </c:pt>
                <c:pt idx="3">
                  <c:v>47.8994</c:v>
                </c:pt>
                <c:pt idx="4">
                  <c:v>48.895400000000002</c:v>
                </c:pt>
                <c:pt idx="5">
                  <c:v>30.583500000000001</c:v>
                </c:pt>
                <c:pt idx="6">
                  <c:v>51.158700000000003</c:v>
                </c:pt>
                <c:pt idx="7">
                  <c:v>36.723500000000001</c:v>
                </c:pt>
              </c:numCache>
            </c:numRef>
          </c:xVal>
          <c:yVal>
            <c:numRef>
              <c:f>Sheet1!$B$2:$B$9</c:f>
              <c:numCache>
                <c:formatCode>General</c:formatCode>
                <c:ptCount val="8"/>
                <c:pt idx="0">
                  <c:v>1.371</c:v>
                </c:pt>
                <c:pt idx="1">
                  <c:v>1.2310000000000001</c:v>
                </c:pt>
                <c:pt idx="2">
                  <c:v>0.54900000000000004</c:v>
                </c:pt>
                <c:pt idx="3">
                  <c:v>1.145</c:v>
                </c:pt>
                <c:pt idx="4">
                  <c:v>1.075</c:v>
                </c:pt>
                <c:pt idx="5">
                  <c:v>0.83199999999999996</c:v>
                </c:pt>
                <c:pt idx="6">
                  <c:v>1.135</c:v>
                </c:pt>
                <c:pt idx="7">
                  <c:v>0.95299999999999996</c:v>
                </c:pt>
              </c:numCache>
            </c:numRef>
          </c:yVal>
          <c:bubbleSize>
            <c:numRef>
              <c:f>Sheet1!$C$2:$C$9</c:f>
              <c:numCache>
                <c:formatCode>General</c:formatCode>
                <c:ptCount val="8"/>
                <c:pt idx="0">
                  <c:v>1266520</c:v>
                </c:pt>
                <c:pt idx="1">
                  <c:v>665449</c:v>
                </c:pt>
                <c:pt idx="2">
                  <c:v>510510</c:v>
                </c:pt>
                <c:pt idx="3">
                  <c:v>403840</c:v>
                </c:pt>
                <c:pt idx="4">
                  <c:v>389207</c:v>
                </c:pt>
                <c:pt idx="5">
                  <c:v>380153</c:v>
                </c:pt>
                <c:pt idx="6">
                  <c:v>213690</c:v>
                </c:pt>
                <c:pt idx="7">
                  <c:v>179174</c:v>
                </c:pt>
              </c:numCache>
            </c:numRef>
          </c:bubbleSize>
          <c:bubble3D val="0"/>
          <c:extLst>
            <c:ext xmlns:c15="http://schemas.microsoft.com/office/drawing/2012/chart" uri="{02D57815-91ED-43cb-92C2-25804820EDAC}">
              <c15:datalabelsRange>
                <c15:f>Sheet1!$E$2:$E$10</c15:f>
                <c15:dlblRangeCache>
                  <c:ptCount val="9"/>
                  <c:pt idx="0">
                    <c:v>Mhcs</c:v>
                  </c:pt>
                  <c:pt idx="1">
                    <c:v>Roederer</c:v>
                  </c:pt>
                  <c:pt idx="2">
                    <c:v>Malard Nicolas</c:v>
                  </c:pt>
                  <c:pt idx="3">
                    <c:v>Bollinger</c:v>
                  </c:pt>
                  <c:pt idx="4">
                    <c:v>Laurent Perrier</c:v>
                  </c:pt>
                  <c:pt idx="5">
                    <c:v>Vranken Pommery</c:v>
                  </c:pt>
                  <c:pt idx="6">
                    <c:v>Taittinger</c:v>
                  </c:pt>
                  <c:pt idx="7">
                    <c:v>Lanson-Bcc</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7"/>
          <c:min val="1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71"/>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E3F4533-C88C-4685-AE38-850088F72C4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EBEC91B-4EA7-447E-B201-9BD37F3576D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9540936-ED4C-45CF-AAC8-5E82E07B1CA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4C7C290-2B76-4695-B8B1-B2A45648CEA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28C072B-5310-4526-8955-99D8EC3BFBD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FCB42CE-78DC-4CBE-9328-5321B679469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67CC9075-15B7-447F-9E08-87B44C9736E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786ABE88-AAB2-4F80-93B7-DE9879BF1A4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56.518900000000002</c:v>
                </c:pt>
                <c:pt idx="1">
                  <c:v>50.737900000000003</c:v>
                </c:pt>
                <c:pt idx="2">
                  <c:v>49.257599999999996</c:v>
                </c:pt>
                <c:pt idx="3">
                  <c:v>22.162800000000001</c:v>
                </c:pt>
                <c:pt idx="4">
                  <c:v>46.308</c:v>
                </c:pt>
                <c:pt idx="5">
                  <c:v>31.257899999999999</c:v>
                </c:pt>
                <c:pt idx="6">
                  <c:v>52.234499999999997</c:v>
                </c:pt>
                <c:pt idx="7">
                  <c:v>36.964700000000001</c:v>
                </c:pt>
              </c:numCache>
            </c:numRef>
          </c:xVal>
          <c:yVal>
            <c:numRef>
              <c:f>Sheet1!$B$2:$B$9</c:f>
              <c:numCache>
                <c:formatCode>General</c:formatCode>
                <c:ptCount val="8"/>
                <c:pt idx="0">
                  <c:v>1.325</c:v>
                </c:pt>
                <c:pt idx="1">
                  <c:v>1.1739999999999999</c:v>
                </c:pt>
                <c:pt idx="2">
                  <c:v>1.042</c:v>
                </c:pt>
                <c:pt idx="3">
                  <c:v>0.52800000000000002</c:v>
                </c:pt>
                <c:pt idx="4">
                  <c:v>1.0780000000000001</c:v>
                </c:pt>
                <c:pt idx="5">
                  <c:v>0.79700000000000004</c:v>
                </c:pt>
                <c:pt idx="6">
                  <c:v>1.089</c:v>
                </c:pt>
                <c:pt idx="7">
                  <c:v>0.91600000000000004</c:v>
                </c:pt>
              </c:numCache>
            </c:numRef>
          </c:yVal>
          <c:bubbleSize>
            <c:numRef>
              <c:f>Sheet1!$C$2:$C$9</c:f>
              <c:numCache>
                <c:formatCode>General</c:formatCode>
                <c:ptCount val="8"/>
                <c:pt idx="0">
                  <c:v>953869</c:v>
                </c:pt>
                <c:pt idx="1">
                  <c:v>490991</c:v>
                </c:pt>
                <c:pt idx="2">
                  <c:v>288354</c:v>
                </c:pt>
                <c:pt idx="3">
                  <c:v>275838</c:v>
                </c:pt>
                <c:pt idx="4">
                  <c:v>263076</c:v>
                </c:pt>
                <c:pt idx="5">
                  <c:v>232340</c:v>
                </c:pt>
                <c:pt idx="6">
                  <c:v>133198</c:v>
                </c:pt>
                <c:pt idx="7">
                  <c:v>112188</c:v>
                </c:pt>
              </c:numCache>
            </c:numRef>
          </c:bubbleSize>
          <c:bubble3D val="0"/>
          <c:extLst>
            <c:ext xmlns:c15="http://schemas.microsoft.com/office/drawing/2012/chart" uri="{02D57815-91ED-43cb-92C2-25804820EDAC}">
              <c15:datalabelsRange>
                <c15:f>Sheet1!$E$2:$E$10</c15:f>
                <c15:dlblRangeCache>
                  <c:ptCount val="9"/>
                  <c:pt idx="0">
                    <c:v>Mhcs</c:v>
                  </c:pt>
                  <c:pt idx="1">
                    <c:v>Roederer</c:v>
                  </c:pt>
                  <c:pt idx="2">
                    <c:v>Laurent Perrier</c:v>
                  </c:pt>
                  <c:pt idx="3">
                    <c:v>Malard Nicolas</c:v>
                  </c:pt>
                  <c:pt idx="4">
                    <c:v>Bollinger</c:v>
                  </c:pt>
                  <c:pt idx="5">
                    <c:v>Vranken Pommery</c:v>
                  </c:pt>
                  <c:pt idx="6">
                    <c:v>Taittinger</c:v>
                  </c:pt>
                  <c:pt idx="7">
                    <c:v>Lanson-Bcc</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8"/>
          <c:min val="1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24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4DA63E1-CF94-402E-8838-296420863FB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0BF2E25-1768-4F9C-94D0-D71DD6A1330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D8054CB-C354-49CA-8C5E-D40C2A26E8A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CB2FEF6-397A-4E4D-B941-F1D1C8DF45F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69FE8DAF-679F-45B4-B5D4-90444DEFC23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B85200CF-9C77-4D57-B86F-3FEA58E8A54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5370D20A-2A35-4DC0-ADFD-67768B8951C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505A3308-6E94-456C-ABE9-1E65976CE2B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58.258299999999998</c:v>
                </c:pt>
                <c:pt idx="1">
                  <c:v>53.108899999999998</c:v>
                </c:pt>
                <c:pt idx="2">
                  <c:v>22.198699999999999</c:v>
                </c:pt>
                <c:pt idx="3">
                  <c:v>31.764199999999999</c:v>
                </c:pt>
                <c:pt idx="4">
                  <c:v>47.383600000000001</c:v>
                </c:pt>
                <c:pt idx="5">
                  <c:v>51.907299999999999</c:v>
                </c:pt>
                <c:pt idx="6">
                  <c:v>55.335500000000003</c:v>
                </c:pt>
                <c:pt idx="7">
                  <c:v>33.5107</c:v>
                </c:pt>
              </c:numCache>
            </c:numRef>
          </c:xVal>
          <c:yVal>
            <c:numRef>
              <c:f>Sheet1!$B$2:$B$9</c:f>
              <c:numCache>
                <c:formatCode>General</c:formatCode>
                <c:ptCount val="8"/>
                <c:pt idx="0">
                  <c:v>1.3839999999999999</c:v>
                </c:pt>
                <c:pt idx="1">
                  <c:v>1.218</c:v>
                </c:pt>
                <c:pt idx="2">
                  <c:v>0.53800000000000003</c:v>
                </c:pt>
                <c:pt idx="3">
                  <c:v>0.82799999999999996</c:v>
                </c:pt>
                <c:pt idx="4">
                  <c:v>1.133</c:v>
                </c:pt>
                <c:pt idx="5">
                  <c:v>1.056</c:v>
                </c:pt>
                <c:pt idx="6">
                  <c:v>1.1160000000000001</c:v>
                </c:pt>
                <c:pt idx="7">
                  <c:v>0.78300000000000003</c:v>
                </c:pt>
              </c:numCache>
            </c:numRef>
          </c:yVal>
          <c:bubbleSize>
            <c:numRef>
              <c:f>Sheet1!$C$2:$C$9</c:f>
              <c:numCache>
                <c:formatCode>General</c:formatCode>
                <c:ptCount val="8"/>
                <c:pt idx="0">
                  <c:v>634782</c:v>
                </c:pt>
                <c:pt idx="1">
                  <c:v>259490</c:v>
                </c:pt>
                <c:pt idx="2">
                  <c:v>195127</c:v>
                </c:pt>
                <c:pt idx="3">
                  <c:v>159520</c:v>
                </c:pt>
                <c:pt idx="4">
                  <c:v>104860</c:v>
                </c:pt>
                <c:pt idx="5">
                  <c:v>95146</c:v>
                </c:pt>
                <c:pt idx="6">
                  <c:v>92687</c:v>
                </c:pt>
                <c:pt idx="7">
                  <c:v>91015</c:v>
                </c:pt>
              </c:numCache>
            </c:numRef>
          </c:bubbleSize>
          <c:bubble3D val="0"/>
          <c:extLst>
            <c:ext xmlns:c15="http://schemas.microsoft.com/office/drawing/2012/chart" uri="{02D57815-91ED-43cb-92C2-25804820EDAC}">
              <c15:datalabelsRange>
                <c15:f>Sheet1!$E$2:$E$10</c15:f>
                <c15:dlblRangeCache>
                  <c:ptCount val="9"/>
                  <c:pt idx="0">
                    <c:v>Mhcs</c:v>
                  </c:pt>
                  <c:pt idx="1">
                    <c:v>Roederer</c:v>
                  </c:pt>
                  <c:pt idx="2">
                    <c:v>Malard Nicolas</c:v>
                  </c:pt>
                  <c:pt idx="3">
                    <c:v>Vranken Pommery</c:v>
                  </c:pt>
                  <c:pt idx="4">
                    <c:v>Bollinger</c:v>
                  </c:pt>
                  <c:pt idx="5">
                    <c:v>Laurent Perrier</c:v>
                  </c:pt>
                  <c:pt idx="6">
                    <c:v>Taittinger</c:v>
                  </c:pt>
                  <c:pt idx="7">
                    <c:v>C&amp;C Sas Franc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0"/>
          <c:min val="1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83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6DB56BD-BCAF-4336-ABBB-8CC81DB2DF0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B78B8D4-8AA4-463D-9139-86B8639A93D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6718C70-7FC6-44B5-9D97-C34FB00277E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FDD5A81-3D51-415B-9FED-A57415D6A7E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A78FE04-F1C8-4D1C-8E37-68077382E38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3120F2E-53AD-4373-9AA1-E9DCBBCE990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71BF2D2-AB02-4C1B-83BF-033842FB2FB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B50F087-596D-4E41-9391-24AD380C8CA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55.873699999999999</c:v>
                </c:pt>
                <c:pt idx="1">
                  <c:v>49.873399999999997</c:v>
                </c:pt>
                <c:pt idx="2">
                  <c:v>22.1584</c:v>
                </c:pt>
                <c:pt idx="3">
                  <c:v>31.279699999999998</c:v>
                </c:pt>
                <c:pt idx="4">
                  <c:v>44.9056</c:v>
                </c:pt>
                <c:pt idx="5">
                  <c:v>48.481099999999998</c:v>
                </c:pt>
                <c:pt idx="6">
                  <c:v>36.387500000000003</c:v>
                </c:pt>
                <c:pt idx="7">
                  <c:v>51.601100000000002</c:v>
                </c:pt>
              </c:numCache>
            </c:numRef>
          </c:xVal>
          <c:yVal>
            <c:numRef>
              <c:f>Sheet1!$B$2:$B$9</c:f>
              <c:numCache>
                <c:formatCode>General</c:formatCode>
                <c:ptCount val="8"/>
                <c:pt idx="0">
                  <c:v>1.399</c:v>
                </c:pt>
                <c:pt idx="1">
                  <c:v>1.2410000000000001</c:v>
                </c:pt>
                <c:pt idx="2">
                  <c:v>0.56100000000000005</c:v>
                </c:pt>
                <c:pt idx="3">
                  <c:v>0.83299999999999996</c:v>
                </c:pt>
                <c:pt idx="4">
                  <c:v>1.113</c:v>
                </c:pt>
                <c:pt idx="5">
                  <c:v>1.0920000000000001</c:v>
                </c:pt>
                <c:pt idx="6">
                  <c:v>0.96599999999999997</c:v>
                </c:pt>
                <c:pt idx="7">
                  <c:v>1.151</c:v>
                </c:pt>
              </c:numCache>
            </c:numRef>
          </c:yVal>
          <c:bubbleSize>
            <c:numRef>
              <c:f>Sheet1!$C$2:$C$9</c:f>
              <c:numCache>
                <c:formatCode>General</c:formatCode>
                <c:ptCount val="8"/>
                <c:pt idx="0">
                  <c:v>7430476</c:v>
                </c:pt>
                <c:pt idx="1">
                  <c:v>3863095</c:v>
                </c:pt>
                <c:pt idx="2">
                  <c:v>3088765</c:v>
                </c:pt>
                <c:pt idx="3">
                  <c:v>2500341</c:v>
                </c:pt>
                <c:pt idx="4">
                  <c:v>2144197</c:v>
                </c:pt>
                <c:pt idx="5">
                  <c:v>1954226</c:v>
                </c:pt>
                <c:pt idx="6">
                  <c:v>1198569</c:v>
                </c:pt>
                <c:pt idx="7">
                  <c:v>1142706</c:v>
                </c:pt>
              </c:numCache>
            </c:numRef>
          </c:bubbleSize>
          <c:bubble3D val="0"/>
          <c:extLst>
            <c:ext xmlns:c15="http://schemas.microsoft.com/office/drawing/2012/chart" uri="{02D57815-91ED-43cb-92C2-25804820EDAC}">
              <c15:datalabelsRange>
                <c15:f>Sheet1!$E$2:$E$10</c15:f>
                <c15:dlblRangeCache>
                  <c:ptCount val="9"/>
                  <c:pt idx="0">
                    <c:v>Mhcs</c:v>
                  </c:pt>
                  <c:pt idx="1">
                    <c:v>Roederer</c:v>
                  </c:pt>
                  <c:pt idx="2">
                    <c:v>Malard Nicolas</c:v>
                  </c:pt>
                  <c:pt idx="3">
                    <c:v>Vranken Pommery</c:v>
                  </c:pt>
                  <c:pt idx="4">
                    <c:v>Bollinger</c:v>
                  </c:pt>
                  <c:pt idx="5">
                    <c:v>Laurent Perrier</c:v>
                  </c:pt>
                  <c:pt idx="6">
                    <c:v>Lanson-Bcc</c:v>
                  </c:pt>
                  <c:pt idx="7">
                    <c:v>Taittinger</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7"/>
          <c:min val="1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F9FA589-0620-456E-9B8B-98980EBB126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761DA17-5B9B-4379-A084-04A5684B21C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05DBC0B-F6D7-4023-B2AF-1970C682A2F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B90BCD3-F00C-4BB5-8C3A-F52DF758660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CDF962C-24B4-4D74-A3F6-0F24865E6A6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3EE69B6-6E23-4B9A-A128-14CD80E4DFE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5AF7D0DB-F375-49C0-B6D4-D4A8EE1EF71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738A6EC4-21D9-4BAE-8FC5-A329B152EAA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57.738500000000002</c:v>
                </c:pt>
                <c:pt idx="1">
                  <c:v>52.755600000000001</c:v>
                </c:pt>
                <c:pt idx="2">
                  <c:v>22.195399999999999</c:v>
                </c:pt>
                <c:pt idx="3">
                  <c:v>31.430800000000001</c:v>
                </c:pt>
                <c:pt idx="4">
                  <c:v>49.416499999999999</c:v>
                </c:pt>
                <c:pt idx="5">
                  <c:v>47.818800000000003</c:v>
                </c:pt>
                <c:pt idx="6">
                  <c:v>53.543199999999999</c:v>
                </c:pt>
                <c:pt idx="7">
                  <c:v>30.589300000000001</c:v>
                </c:pt>
              </c:numCache>
            </c:numRef>
          </c:xVal>
          <c:yVal>
            <c:numRef>
              <c:f>Sheet1!$B$2:$B$9</c:f>
              <c:numCache>
                <c:formatCode>General</c:formatCode>
                <c:ptCount val="8"/>
                <c:pt idx="0">
                  <c:v>1.413</c:v>
                </c:pt>
                <c:pt idx="1">
                  <c:v>1.242</c:v>
                </c:pt>
                <c:pt idx="2">
                  <c:v>0.55400000000000005</c:v>
                </c:pt>
                <c:pt idx="3">
                  <c:v>0.82899999999999996</c:v>
                </c:pt>
                <c:pt idx="4">
                  <c:v>1.0960000000000001</c:v>
                </c:pt>
                <c:pt idx="5">
                  <c:v>1.17</c:v>
                </c:pt>
                <c:pt idx="6">
                  <c:v>1.151</c:v>
                </c:pt>
                <c:pt idx="7">
                  <c:v>0.79700000000000004</c:v>
                </c:pt>
              </c:numCache>
            </c:numRef>
          </c:yVal>
          <c:bubbleSize>
            <c:numRef>
              <c:f>Sheet1!$C$2:$C$9</c:f>
              <c:numCache>
                <c:formatCode>General</c:formatCode>
                <c:ptCount val="8"/>
                <c:pt idx="0">
                  <c:v>1196168</c:v>
                </c:pt>
                <c:pt idx="1">
                  <c:v>569602</c:v>
                </c:pt>
                <c:pt idx="2">
                  <c:v>516597</c:v>
                </c:pt>
                <c:pt idx="3">
                  <c:v>380878</c:v>
                </c:pt>
                <c:pt idx="4">
                  <c:v>259140</c:v>
                </c:pt>
                <c:pt idx="5">
                  <c:v>257074</c:v>
                </c:pt>
                <c:pt idx="6">
                  <c:v>163039</c:v>
                </c:pt>
                <c:pt idx="7">
                  <c:v>141139</c:v>
                </c:pt>
              </c:numCache>
            </c:numRef>
          </c:bubbleSize>
          <c:bubble3D val="0"/>
          <c:extLst>
            <c:ext xmlns:c15="http://schemas.microsoft.com/office/drawing/2012/chart" uri="{02D57815-91ED-43cb-92C2-25804820EDAC}">
              <c15:datalabelsRange>
                <c15:f>Sheet1!$E$2:$E$10</c15:f>
                <c15:dlblRangeCache>
                  <c:ptCount val="9"/>
                  <c:pt idx="0">
                    <c:v>Mhcs</c:v>
                  </c:pt>
                  <c:pt idx="1">
                    <c:v>Roederer</c:v>
                  </c:pt>
                  <c:pt idx="2">
                    <c:v>Malard Nicolas</c:v>
                  </c:pt>
                  <c:pt idx="3">
                    <c:v>Vranken Pommery</c:v>
                  </c:pt>
                  <c:pt idx="4">
                    <c:v>Laurent Perrier</c:v>
                  </c:pt>
                  <c:pt idx="5">
                    <c:v>Bollinger</c:v>
                  </c:pt>
                  <c:pt idx="6">
                    <c:v>Taittinger</c:v>
                  </c:pt>
                  <c:pt idx="7">
                    <c:v>C&amp;C Sas Franc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9"/>
          <c:min val="1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613"/>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51A5BDB-806C-4934-84D5-D617283AE88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8F2022F-A36C-4392-B8D7-6FC8537BFDE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66CB1BF-1F8F-48BB-A1D7-F62F4F6CB45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6521A2B-1513-4946-916F-C4B7810C842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69460D9-3B33-414F-9AC5-07E5AA293B2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7313629-E673-4333-98FC-CB7B622EDDB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3373EE6-E7A4-4F1F-9DBA-BB85B3BE532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C418A3A3-5B4A-43E4-ADB7-E0E6BD3340F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56.8977</c:v>
                </c:pt>
                <c:pt idx="1">
                  <c:v>51.833100000000002</c:v>
                </c:pt>
                <c:pt idx="2">
                  <c:v>22.9695</c:v>
                </c:pt>
                <c:pt idx="3">
                  <c:v>31.049600000000002</c:v>
                </c:pt>
                <c:pt idx="4">
                  <c:v>45.999499999999998</c:v>
                </c:pt>
                <c:pt idx="5">
                  <c:v>51.685499999999998</c:v>
                </c:pt>
                <c:pt idx="6">
                  <c:v>55.038899999999998</c:v>
                </c:pt>
                <c:pt idx="7">
                  <c:v>31.77</c:v>
                </c:pt>
              </c:numCache>
            </c:numRef>
          </c:xVal>
          <c:yVal>
            <c:numRef>
              <c:f>Sheet1!$B$2:$B$9</c:f>
              <c:numCache>
                <c:formatCode>General</c:formatCode>
                <c:ptCount val="8"/>
                <c:pt idx="0">
                  <c:v>1.3879999999999999</c:v>
                </c:pt>
                <c:pt idx="1">
                  <c:v>1.222</c:v>
                </c:pt>
                <c:pt idx="2">
                  <c:v>0.56299999999999994</c:v>
                </c:pt>
                <c:pt idx="3">
                  <c:v>0.81399999999999995</c:v>
                </c:pt>
                <c:pt idx="4">
                  <c:v>1.121</c:v>
                </c:pt>
                <c:pt idx="5">
                  <c:v>1.0629999999999999</c:v>
                </c:pt>
                <c:pt idx="6">
                  <c:v>1.145</c:v>
                </c:pt>
                <c:pt idx="7">
                  <c:v>0.78400000000000003</c:v>
                </c:pt>
              </c:numCache>
            </c:numRef>
          </c:yVal>
          <c:bubbleSize>
            <c:numRef>
              <c:f>Sheet1!$C$2:$C$9</c:f>
              <c:numCache>
                <c:formatCode>General</c:formatCode>
                <c:ptCount val="8"/>
                <c:pt idx="0">
                  <c:v>576544</c:v>
                </c:pt>
                <c:pt idx="1">
                  <c:v>352776</c:v>
                </c:pt>
                <c:pt idx="2">
                  <c:v>218187</c:v>
                </c:pt>
                <c:pt idx="3">
                  <c:v>214056</c:v>
                </c:pt>
                <c:pt idx="4">
                  <c:v>193842</c:v>
                </c:pt>
                <c:pt idx="5">
                  <c:v>121616</c:v>
                </c:pt>
                <c:pt idx="6">
                  <c:v>118719</c:v>
                </c:pt>
                <c:pt idx="7">
                  <c:v>117962</c:v>
                </c:pt>
              </c:numCache>
            </c:numRef>
          </c:bubbleSize>
          <c:bubble3D val="0"/>
          <c:extLst>
            <c:ext xmlns:c15="http://schemas.microsoft.com/office/drawing/2012/chart" uri="{02D57815-91ED-43cb-92C2-25804820EDAC}">
              <c15:datalabelsRange>
                <c15:f>Sheet1!$E$2:$E$10</c15:f>
                <c15:dlblRangeCache>
                  <c:ptCount val="9"/>
                  <c:pt idx="0">
                    <c:v>Mhcs</c:v>
                  </c:pt>
                  <c:pt idx="1">
                    <c:v>Roederer</c:v>
                  </c:pt>
                  <c:pt idx="2">
                    <c:v>Malard Nicolas</c:v>
                  </c:pt>
                  <c:pt idx="3">
                    <c:v>Vranken Pommery</c:v>
                  </c:pt>
                  <c:pt idx="4">
                    <c:v>Bollinger</c:v>
                  </c:pt>
                  <c:pt idx="5">
                    <c:v>Laurent Perrier</c:v>
                  </c:pt>
                  <c:pt idx="6">
                    <c:v>Taittinger</c:v>
                  </c:pt>
                  <c:pt idx="7">
                    <c:v>C&amp;C Sas Franc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8"/>
          <c:min val="1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87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844C423-1055-461A-A8B3-6ECAC9B2A97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C502DFA-4A67-47A6-8098-63B66534633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F6EB4A8-695F-4A77-98CF-47723A76B40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E38AF77-0CC8-4313-AD7B-41BB61A1257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B4B3647-5CF6-414B-AB30-7F02CAF0F16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A80ED50-DD90-403F-AC32-AB7F9C9EA34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29A9D05B-94AA-4D53-9EC8-6C42C24009F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3ADA8CBB-562D-44DC-8761-68CBD087702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69.275000000000006</c:v>
                </c:pt>
                <c:pt idx="1">
                  <c:v>23.590299999999999</c:v>
                </c:pt>
                <c:pt idx="2">
                  <c:v>50.235199999999999</c:v>
                </c:pt>
                <c:pt idx="3">
                  <c:v>31.48</c:v>
                </c:pt>
                <c:pt idx="4">
                  <c:v>52.412700000000001</c:v>
                </c:pt>
                <c:pt idx="5">
                  <c:v>32.894399999999997</c:v>
                </c:pt>
                <c:pt idx="6">
                  <c:v>29.253399999999999</c:v>
                </c:pt>
                <c:pt idx="7">
                  <c:v>38.716000000000001</c:v>
                </c:pt>
              </c:numCache>
            </c:numRef>
          </c:xVal>
          <c:yVal>
            <c:numRef>
              <c:f>Sheet1!$B$2:$B$9</c:f>
              <c:numCache>
                <c:formatCode>General</c:formatCode>
                <c:ptCount val="8"/>
                <c:pt idx="0">
                  <c:v>1.6160000000000001</c:v>
                </c:pt>
                <c:pt idx="1">
                  <c:v>0.56000000000000005</c:v>
                </c:pt>
                <c:pt idx="2">
                  <c:v>1.1599999999999999</c:v>
                </c:pt>
                <c:pt idx="3">
                  <c:v>0.745</c:v>
                </c:pt>
                <c:pt idx="4">
                  <c:v>1.1080000000000001</c:v>
                </c:pt>
                <c:pt idx="5">
                  <c:v>0.75700000000000001</c:v>
                </c:pt>
                <c:pt idx="6">
                  <c:v>0.69099999999999995</c:v>
                </c:pt>
                <c:pt idx="7">
                  <c:v>0.91500000000000004</c:v>
                </c:pt>
              </c:numCache>
            </c:numRef>
          </c:yVal>
          <c:bubbleSize>
            <c:numRef>
              <c:f>Sheet1!$C$2:$C$9</c:f>
              <c:numCache>
                <c:formatCode>General</c:formatCode>
                <c:ptCount val="8"/>
                <c:pt idx="0">
                  <c:v>3453150</c:v>
                </c:pt>
                <c:pt idx="1">
                  <c:v>1317521</c:v>
                </c:pt>
                <c:pt idx="2">
                  <c:v>1108641</c:v>
                </c:pt>
                <c:pt idx="3">
                  <c:v>730304</c:v>
                </c:pt>
                <c:pt idx="4">
                  <c:v>682885</c:v>
                </c:pt>
                <c:pt idx="5">
                  <c:v>520981</c:v>
                </c:pt>
                <c:pt idx="6">
                  <c:v>468611</c:v>
                </c:pt>
                <c:pt idx="7">
                  <c:v>467844</c:v>
                </c:pt>
              </c:numCache>
            </c:numRef>
          </c:bubbleSize>
          <c:bubble3D val="0"/>
          <c:extLst>
            <c:ext xmlns:c15="http://schemas.microsoft.com/office/drawing/2012/chart" uri="{02D57815-91ED-43cb-92C2-25804820EDAC}">
              <c15:datalabelsRange>
                <c15:f>Sheet1!$E$2:$E$10</c15:f>
                <c15:dlblRangeCache>
                  <c:ptCount val="9"/>
                  <c:pt idx="0">
                    <c:v>Ruinart</c:v>
                  </c:pt>
                  <c:pt idx="1">
                    <c:v>Nicolas</c:v>
                  </c:pt>
                  <c:pt idx="2">
                    <c:v>Deutz</c:v>
                  </c:pt>
                  <c:pt idx="3">
                    <c:v>Malard</c:v>
                  </c:pt>
                  <c:pt idx="4">
                    <c:v>Laurent Perrier</c:v>
                  </c:pt>
                  <c:pt idx="5">
                    <c:v>Nicolas Feuillatte</c:v>
                  </c:pt>
                  <c:pt idx="6">
                    <c:v>Heidsieck &amp; Co Monopole</c:v>
                  </c:pt>
                  <c:pt idx="7">
                    <c:v>Ayala</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3"/>
          <c:min val="19"/>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0C58392-5EF3-4B11-9C72-22CCAB6E259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A78CF3D-D13D-4771-9FD9-1891186F0BA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BE0DD34-557B-4B26-B328-F4BB6134E8B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292B98C-37FF-4785-8FE5-1FBF93145D1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4FDCA89-DA72-4D48-AE4A-8940F199776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0F0A3F8-6BF6-4A25-A5CF-D3A91D87A63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90C0C2A-1C39-4971-B2FB-816E5DE2D8D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06CAF2D3-4E2D-46F3-8631-FCCEAE76B19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57.273600000000002</c:v>
                </c:pt>
                <c:pt idx="1">
                  <c:v>51.568300000000001</c:v>
                </c:pt>
                <c:pt idx="2">
                  <c:v>22.021899999999999</c:v>
                </c:pt>
                <c:pt idx="3">
                  <c:v>30.7685</c:v>
                </c:pt>
                <c:pt idx="4">
                  <c:v>43.920499999999997</c:v>
                </c:pt>
                <c:pt idx="5">
                  <c:v>30.0596</c:v>
                </c:pt>
                <c:pt idx="6">
                  <c:v>31.234200000000001</c:v>
                </c:pt>
                <c:pt idx="7">
                  <c:v>53.264400000000002</c:v>
                </c:pt>
              </c:numCache>
            </c:numRef>
          </c:xVal>
          <c:yVal>
            <c:numRef>
              <c:f>Sheet1!$B$2:$B$9</c:f>
              <c:numCache>
                <c:formatCode>General</c:formatCode>
                <c:ptCount val="8"/>
                <c:pt idx="0">
                  <c:v>1.492</c:v>
                </c:pt>
                <c:pt idx="1">
                  <c:v>1.327</c:v>
                </c:pt>
                <c:pt idx="2">
                  <c:v>0.58699999999999997</c:v>
                </c:pt>
                <c:pt idx="3">
                  <c:v>0.84599999999999997</c:v>
                </c:pt>
                <c:pt idx="4">
                  <c:v>1.157</c:v>
                </c:pt>
                <c:pt idx="5">
                  <c:v>0.80500000000000005</c:v>
                </c:pt>
                <c:pt idx="6">
                  <c:v>0.82099999999999995</c:v>
                </c:pt>
                <c:pt idx="7">
                  <c:v>1.173</c:v>
                </c:pt>
              </c:numCache>
            </c:numRef>
          </c:yVal>
          <c:bubbleSize>
            <c:numRef>
              <c:f>Sheet1!$C$2:$C$9</c:f>
              <c:numCache>
                <c:formatCode>General</c:formatCode>
                <c:ptCount val="8"/>
                <c:pt idx="0">
                  <c:v>267983</c:v>
                </c:pt>
                <c:pt idx="1">
                  <c:v>189565</c:v>
                </c:pt>
                <c:pt idx="2">
                  <c:v>185733</c:v>
                </c:pt>
                <c:pt idx="3">
                  <c:v>132520</c:v>
                </c:pt>
                <c:pt idx="4">
                  <c:v>101632</c:v>
                </c:pt>
                <c:pt idx="5">
                  <c:v>65109</c:v>
                </c:pt>
                <c:pt idx="6">
                  <c:v>54691</c:v>
                </c:pt>
                <c:pt idx="7">
                  <c:v>50974</c:v>
                </c:pt>
              </c:numCache>
            </c:numRef>
          </c:bubbleSize>
          <c:bubble3D val="0"/>
          <c:extLst>
            <c:ext xmlns:c15="http://schemas.microsoft.com/office/drawing/2012/chart" uri="{02D57815-91ED-43cb-92C2-25804820EDAC}">
              <c15:datalabelsRange>
                <c15:f>Sheet1!$E$2:$E$10</c15:f>
                <c15:dlblRangeCache>
                  <c:ptCount val="9"/>
                  <c:pt idx="0">
                    <c:v>Mhcs</c:v>
                  </c:pt>
                  <c:pt idx="1">
                    <c:v>Roederer</c:v>
                  </c:pt>
                  <c:pt idx="2">
                    <c:v>Malard Nicolas</c:v>
                  </c:pt>
                  <c:pt idx="3">
                    <c:v>Vranken Pommery</c:v>
                  </c:pt>
                  <c:pt idx="4">
                    <c:v>Bollinger</c:v>
                  </c:pt>
                  <c:pt idx="5">
                    <c:v>De Bligny</c:v>
                  </c:pt>
                  <c:pt idx="6">
                    <c:v>C&amp;C Sas France</c:v>
                  </c:pt>
                  <c:pt idx="7">
                    <c:v>Laurent Perrier</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9"/>
          <c:min val="1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691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45EF0AF-5374-483A-AD71-33103295612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2B5A6F4-FD55-40FB-9AC2-8950F97B4D6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2839390-4C64-42E4-8563-B365AE7477C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DE924A8-CC63-45A0-B746-6FF6AC0D095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16E5BCF5-5FF1-4717-B3FD-7E62CAA4072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070262A-A227-4206-8D18-B0630018BEB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C6099876-E935-4DBF-9D2F-76261C52FA2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44FA4788-E0C1-46F5-B0EF-EBA17332B07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57.089399999999998</c:v>
                </c:pt>
                <c:pt idx="1">
                  <c:v>21.622299999999999</c:v>
                </c:pt>
                <c:pt idx="2">
                  <c:v>51.558999999999997</c:v>
                </c:pt>
                <c:pt idx="3">
                  <c:v>47.154400000000003</c:v>
                </c:pt>
                <c:pt idx="4">
                  <c:v>33.342300000000002</c:v>
                </c:pt>
                <c:pt idx="5">
                  <c:v>51.144300000000001</c:v>
                </c:pt>
                <c:pt idx="6">
                  <c:v>37.1526</c:v>
                </c:pt>
                <c:pt idx="7">
                  <c:v>33.765999999999998</c:v>
                </c:pt>
              </c:numCache>
            </c:numRef>
          </c:xVal>
          <c:yVal>
            <c:numRef>
              <c:f>Sheet1!$B$2:$B$9</c:f>
              <c:numCache>
                <c:formatCode>General</c:formatCode>
                <c:ptCount val="8"/>
                <c:pt idx="0">
                  <c:v>1.4850000000000001</c:v>
                </c:pt>
                <c:pt idx="1">
                  <c:v>0.57299999999999995</c:v>
                </c:pt>
                <c:pt idx="2">
                  <c:v>1.3129999999999999</c:v>
                </c:pt>
                <c:pt idx="3">
                  <c:v>1.22</c:v>
                </c:pt>
                <c:pt idx="4">
                  <c:v>0.95499999999999996</c:v>
                </c:pt>
                <c:pt idx="5">
                  <c:v>1.153</c:v>
                </c:pt>
                <c:pt idx="6">
                  <c:v>1.0429999999999999</c:v>
                </c:pt>
                <c:pt idx="7">
                  <c:v>0.90600000000000003</c:v>
                </c:pt>
              </c:numCache>
            </c:numRef>
          </c:yVal>
          <c:bubbleSize>
            <c:numRef>
              <c:f>Sheet1!$C$2:$C$9</c:f>
              <c:numCache>
                <c:formatCode>General</c:formatCode>
                <c:ptCount val="8"/>
                <c:pt idx="0">
                  <c:v>222306</c:v>
                </c:pt>
                <c:pt idx="1">
                  <c:v>116501</c:v>
                </c:pt>
                <c:pt idx="2">
                  <c:v>106160</c:v>
                </c:pt>
                <c:pt idx="3">
                  <c:v>83086</c:v>
                </c:pt>
                <c:pt idx="4">
                  <c:v>75887</c:v>
                </c:pt>
                <c:pt idx="5">
                  <c:v>49252</c:v>
                </c:pt>
                <c:pt idx="6">
                  <c:v>48447</c:v>
                </c:pt>
                <c:pt idx="7">
                  <c:v>47610</c:v>
                </c:pt>
              </c:numCache>
            </c:numRef>
          </c:bubbleSize>
          <c:bubble3D val="0"/>
          <c:extLst>
            <c:ext xmlns:c15="http://schemas.microsoft.com/office/drawing/2012/chart" uri="{02D57815-91ED-43cb-92C2-25804820EDAC}">
              <c15:datalabelsRange>
                <c15:f>Sheet1!$E$2:$E$10</c15:f>
                <c15:dlblRangeCache>
                  <c:ptCount val="9"/>
                  <c:pt idx="0">
                    <c:v>Mhcs</c:v>
                  </c:pt>
                  <c:pt idx="1">
                    <c:v>Malard Nicolas</c:v>
                  </c:pt>
                  <c:pt idx="2">
                    <c:v>Roederer</c:v>
                  </c:pt>
                  <c:pt idx="3">
                    <c:v>Bollinger</c:v>
                  </c:pt>
                  <c:pt idx="4">
                    <c:v>Vranken Pommery</c:v>
                  </c:pt>
                  <c:pt idx="5">
                    <c:v>Laurent Perrier</c:v>
                  </c:pt>
                  <c:pt idx="6">
                    <c:v>Lanson-Bcc</c:v>
                  </c:pt>
                  <c:pt idx="7">
                    <c:v>C&amp;C Sas Franc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9"/>
          <c:min val="17"/>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6850000000000001"/>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736C36F-25BF-4E6D-A211-CC4C685AA70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959F6C6-C3CE-44C6-ADBB-76DAF9AF702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8CDF303-4E0C-4977-917C-29E3D815423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66670AF-EFA0-4563-97B7-1CC57A2B9A1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5440C5A-79BA-4764-AA15-6FA434E85D2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4E3C13A-4A05-4F37-86A5-3B07265B8C5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282D3EEB-EB6B-4149-8D1C-2F27EF96A30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00409FE8-F708-41E0-BBD2-8EE7BE19B07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56.706299999999999</c:v>
                </c:pt>
                <c:pt idx="1">
                  <c:v>50.892800000000001</c:v>
                </c:pt>
                <c:pt idx="2">
                  <c:v>22.172899999999998</c:v>
                </c:pt>
                <c:pt idx="3">
                  <c:v>30.892199999999999</c:v>
                </c:pt>
                <c:pt idx="4">
                  <c:v>46.359499999999997</c:v>
                </c:pt>
                <c:pt idx="5">
                  <c:v>49.451500000000003</c:v>
                </c:pt>
                <c:pt idx="6">
                  <c:v>52.2971</c:v>
                </c:pt>
                <c:pt idx="7">
                  <c:v>29.692699999999999</c:v>
                </c:pt>
              </c:numCache>
            </c:numRef>
          </c:xVal>
          <c:yVal>
            <c:numRef>
              <c:f>Sheet1!$B$2:$B$9</c:f>
              <c:numCache>
                <c:formatCode>General</c:formatCode>
                <c:ptCount val="8"/>
                <c:pt idx="0">
                  <c:v>1.3819999999999999</c:v>
                </c:pt>
                <c:pt idx="1">
                  <c:v>1.2290000000000001</c:v>
                </c:pt>
                <c:pt idx="2">
                  <c:v>0.54800000000000004</c:v>
                </c:pt>
                <c:pt idx="3">
                  <c:v>0.82</c:v>
                </c:pt>
                <c:pt idx="4">
                  <c:v>1.119</c:v>
                </c:pt>
                <c:pt idx="5">
                  <c:v>1.0820000000000001</c:v>
                </c:pt>
                <c:pt idx="6">
                  <c:v>1.1299999999999999</c:v>
                </c:pt>
                <c:pt idx="7">
                  <c:v>0.76</c:v>
                </c:pt>
              </c:numCache>
            </c:numRef>
          </c:yVal>
          <c:bubbleSize>
            <c:numRef>
              <c:f>Sheet1!$C$2:$C$9</c:f>
              <c:numCache>
                <c:formatCode>General</c:formatCode>
                <c:ptCount val="8"/>
                <c:pt idx="0">
                  <c:v>3157633</c:v>
                </c:pt>
                <c:pt idx="1">
                  <c:v>1603836</c:v>
                </c:pt>
                <c:pt idx="2">
                  <c:v>1187314</c:v>
                </c:pt>
                <c:pt idx="3">
                  <c:v>966369</c:v>
                </c:pt>
                <c:pt idx="4">
                  <c:v>899375</c:v>
                </c:pt>
                <c:pt idx="5">
                  <c:v>855759</c:v>
                </c:pt>
                <c:pt idx="6">
                  <c:v>490285</c:v>
                </c:pt>
                <c:pt idx="7">
                  <c:v>423536</c:v>
                </c:pt>
              </c:numCache>
            </c:numRef>
          </c:bubbleSize>
          <c:bubble3D val="0"/>
          <c:extLst>
            <c:ext xmlns:c15="http://schemas.microsoft.com/office/drawing/2012/chart" uri="{02D57815-91ED-43cb-92C2-25804820EDAC}">
              <c15:datalabelsRange>
                <c15:f>Sheet1!$E$2:$E$10</c15:f>
                <c15:dlblRangeCache>
                  <c:ptCount val="9"/>
                  <c:pt idx="0">
                    <c:v>Mhcs</c:v>
                  </c:pt>
                  <c:pt idx="1">
                    <c:v>Roederer</c:v>
                  </c:pt>
                  <c:pt idx="2">
                    <c:v>Malard Nicolas</c:v>
                  </c:pt>
                  <c:pt idx="3">
                    <c:v>Vranken Pommery</c:v>
                  </c:pt>
                  <c:pt idx="4">
                    <c:v>Bollinger</c:v>
                  </c:pt>
                  <c:pt idx="5">
                    <c:v>Laurent Perrier</c:v>
                  </c:pt>
                  <c:pt idx="6">
                    <c:v>Taittinger</c:v>
                  </c:pt>
                  <c:pt idx="7">
                    <c:v>C&amp;C Sas Franc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8"/>
          <c:min val="1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81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9B30104-1BE5-4CBE-B818-5A9D7873619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01A8E5D-F948-4D6A-8D66-1BD823FF576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618215B-6656-4D26-A4F4-CD22F8AEBFA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6728E47-792B-4367-B199-FB816E7E301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57AB6BC4-B68F-48E1-858B-62951036565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45E43AD-4E31-48D9-8B1D-AC91CA3B620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A9A6C13-595E-4423-8162-13B68D2C0C2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3DE89634-99BA-47D1-A4B4-C9C26BB7FA1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56.167000000000002</c:v>
                </c:pt>
                <c:pt idx="1">
                  <c:v>49.802100000000003</c:v>
                </c:pt>
                <c:pt idx="2">
                  <c:v>22.019500000000001</c:v>
                </c:pt>
                <c:pt idx="3">
                  <c:v>31.6188</c:v>
                </c:pt>
                <c:pt idx="4">
                  <c:v>44.488100000000003</c:v>
                </c:pt>
                <c:pt idx="5">
                  <c:v>47.922400000000003</c:v>
                </c:pt>
                <c:pt idx="6">
                  <c:v>29.9375</c:v>
                </c:pt>
                <c:pt idx="7">
                  <c:v>36.246499999999997</c:v>
                </c:pt>
              </c:numCache>
            </c:numRef>
          </c:xVal>
          <c:yVal>
            <c:numRef>
              <c:f>Sheet1!$B$2:$B$9</c:f>
              <c:numCache>
                <c:formatCode>General</c:formatCode>
                <c:ptCount val="8"/>
                <c:pt idx="0">
                  <c:v>1.4159999999999999</c:v>
                </c:pt>
                <c:pt idx="1">
                  <c:v>1.2470000000000001</c:v>
                </c:pt>
                <c:pt idx="2">
                  <c:v>0.56299999999999994</c:v>
                </c:pt>
                <c:pt idx="3">
                  <c:v>0.84199999999999997</c:v>
                </c:pt>
                <c:pt idx="4">
                  <c:v>1.1160000000000001</c:v>
                </c:pt>
                <c:pt idx="5">
                  <c:v>1.0880000000000001</c:v>
                </c:pt>
                <c:pt idx="6">
                  <c:v>0.79200000000000004</c:v>
                </c:pt>
                <c:pt idx="7">
                  <c:v>0.97899999999999998</c:v>
                </c:pt>
              </c:numCache>
            </c:numRef>
          </c:yVal>
          <c:bubbleSize>
            <c:numRef>
              <c:f>Sheet1!$C$2:$C$9</c:f>
              <c:numCache>
                <c:formatCode>General</c:formatCode>
                <c:ptCount val="8"/>
                <c:pt idx="0">
                  <c:v>1555320</c:v>
                </c:pt>
                <c:pt idx="1">
                  <c:v>861825</c:v>
                </c:pt>
                <c:pt idx="2">
                  <c:v>702400</c:v>
                </c:pt>
                <c:pt idx="3">
                  <c:v>548334</c:v>
                </c:pt>
                <c:pt idx="4">
                  <c:v>430912</c:v>
                </c:pt>
                <c:pt idx="5">
                  <c:v>424928</c:v>
                </c:pt>
                <c:pt idx="6">
                  <c:v>254439</c:v>
                </c:pt>
                <c:pt idx="7">
                  <c:v>245860</c:v>
                </c:pt>
              </c:numCache>
            </c:numRef>
          </c:bubbleSize>
          <c:bubble3D val="0"/>
          <c:extLst>
            <c:ext xmlns:c15="http://schemas.microsoft.com/office/drawing/2012/chart" uri="{02D57815-91ED-43cb-92C2-25804820EDAC}">
              <c15:datalabelsRange>
                <c15:f>Sheet1!$E$2:$E$10</c15:f>
                <c15:dlblRangeCache>
                  <c:ptCount val="9"/>
                  <c:pt idx="0">
                    <c:v>Mhcs</c:v>
                  </c:pt>
                  <c:pt idx="1">
                    <c:v>Roederer</c:v>
                  </c:pt>
                  <c:pt idx="2">
                    <c:v>Malard Nicolas</c:v>
                  </c:pt>
                  <c:pt idx="3">
                    <c:v>Vranken Pommery</c:v>
                  </c:pt>
                  <c:pt idx="4">
                    <c:v>Bollinger</c:v>
                  </c:pt>
                  <c:pt idx="5">
                    <c:v>Laurent Perrier</c:v>
                  </c:pt>
                  <c:pt idx="6">
                    <c:v>C&amp;C Sas France</c:v>
                  </c:pt>
                  <c:pt idx="7">
                    <c:v>Lanson-Bcc</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7"/>
          <c:min val="1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615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47817D9-C3F2-4E8C-A153-C99E1105C11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55E8362-C819-462E-A506-64E37DA50AB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36931D0-9138-431E-B34D-C7C8DA38116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8E56F07-5F41-4523-B1D3-5F2E62D950B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6685E2A7-E4AE-4B2F-8D2C-1CD736B132C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C8026F8-73B6-43E4-B47A-C972EEEB224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3A27177E-AFDD-4DEF-BF6C-EA9D310168B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0FF8D6AA-6D7B-4663-8C77-98428499011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56.280500000000004</c:v>
                </c:pt>
                <c:pt idx="1">
                  <c:v>50.663800000000002</c:v>
                </c:pt>
                <c:pt idx="2">
                  <c:v>22.205500000000001</c:v>
                </c:pt>
                <c:pt idx="3">
                  <c:v>31.444800000000001</c:v>
                </c:pt>
                <c:pt idx="4">
                  <c:v>44.361899999999999</c:v>
                </c:pt>
                <c:pt idx="5">
                  <c:v>48.909500000000001</c:v>
                </c:pt>
                <c:pt idx="6">
                  <c:v>30.1663</c:v>
                </c:pt>
                <c:pt idx="7">
                  <c:v>30.159199999999998</c:v>
                </c:pt>
              </c:numCache>
            </c:numRef>
          </c:xVal>
          <c:yVal>
            <c:numRef>
              <c:f>Sheet1!$B$2:$B$9</c:f>
              <c:numCache>
                <c:formatCode>General</c:formatCode>
                <c:ptCount val="8"/>
                <c:pt idx="0">
                  <c:v>1.4259999999999999</c:v>
                </c:pt>
                <c:pt idx="1">
                  <c:v>1.262</c:v>
                </c:pt>
                <c:pt idx="2">
                  <c:v>0.56899999999999995</c:v>
                </c:pt>
                <c:pt idx="3">
                  <c:v>0.84499999999999997</c:v>
                </c:pt>
                <c:pt idx="4">
                  <c:v>1.1200000000000001</c:v>
                </c:pt>
                <c:pt idx="5">
                  <c:v>1.1060000000000001</c:v>
                </c:pt>
                <c:pt idx="6">
                  <c:v>0.79700000000000004</c:v>
                </c:pt>
                <c:pt idx="7">
                  <c:v>0.77400000000000002</c:v>
                </c:pt>
              </c:numCache>
            </c:numRef>
          </c:yVal>
          <c:bubbleSize>
            <c:numRef>
              <c:f>Sheet1!$C$2:$C$9</c:f>
              <c:numCache>
                <c:formatCode>General</c:formatCode>
                <c:ptCount val="8"/>
                <c:pt idx="0">
                  <c:v>2388882</c:v>
                </c:pt>
                <c:pt idx="1">
                  <c:v>1204734</c:v>
                </c:pt>
                <c:pt idx="2">
                  <c:v>1080677</c:v>
                </c:pt>
                <c:pt idx="3">
                  <c:v>840268</c:v>
                </c:pt>
                <c:pt idx="4">
                  <c:v>721547</c:v>
                </c:pt>
                <c:pt idx="5">
                  <c:v>550525</c:v>
                </c:pt>
                <c:pt idx="6">
                  <c:v>414756</c:v>
                </c:pt>
                <c:pt idx="7">
                  <c:v>402293</c:v>
                </c:pt>
              </c:numCache>
            </c:numRef>
          </c:bubbleSize>
          <c:bubble3D val="0"/>
          <c:extLst>
            <c:ext xmlns:c15="http://schemas.microsoft.com/office/drawing/2012/chart" uri="{02D57815-91ED-43cb-92C2-25804820EDAC}">
              <c15:datalabelsRange>
                <c15:f>Sheet1!$E$2:$E$10</c15:f>
                <c15:dlblRangeCache>
                  <c:ptCount val="9"/>
                  <c:pt idx="0">
                    <c:v>Mhcs</c:v>
                  </c:pt>
                  <c:pt idx="1">
                    <c:v>Roederer</c:v>
                  </c:pt>
                  <c:pt idx="2">
                    <c:v>Malard Nicolas</c:v>
                  </c:pt>
                  <c:pt idx="3">
                    <c:v>Vranken Pommery</c:v>
                  </c:pt>
                  <c:pt idx="4">
                    <c:v>Bollinger</c:v>
                  </c:pt>
                  <c:pt idx="5">
                    <c:v>Laurent Perrier</c:v>
                  </c:pt>
                  <c:pt idx="6">
                    <c:v>C&amp;C Sas France</c:v>
                  </c:pt>
                  <c:pt idx="7">
                    <c:v>De Blign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8"/>
          <c:min val="1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625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86AA38C-898B-4168-B4DD-43083EEDE54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655CA5F-194F-496E-9965-C1AC54D59AB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D6AC648-526A-4FBF-85A1-B3F3F036033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ACD7D3A-32EE-44FC-B82F-DA5F6238327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8F1CDEF-A988-432A-8499-EB08D048536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1F2F149-33BD-4266-A626-DE45D9CE97F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6D9FD10F-5591-4637-B6DE-9FEF8536129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3B7D1593-073D-4BF1-BCC8-5A090C0E30B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55.964300000000001</c:v>
                </c:pt>
                <c:pt idx="1">
                  <c:v>50.423699999999997</c:v>
                </c:pt>
                <c:pt idx="2">
                  <c:v>22.341100000000001</c:v>
                </c:pt>
                <c:pt idx="3">
                  <c:v>31.3522</c:v>
                </c:pt>
                <c:pt idx="4">
                  <c:v>45.020400000000002</c:v>
                </c:pt>
                <c:pt idx="5">
                  <c:v>49.332900000000002</c:v>
                </c:pt>
                <c:pt idx="6">
                  <c:v>36.496099999999998</c:v>
                </c:pt>
                <c:pt idx="7">
                  <c:v>30.2136</c:v>
                </c:pt>
              </c:numCache>
            </c:numRef>
          </c:xVal>
          <c:yVal>
            <c:numRef>
              <c:f>Sheet1!$B$2:$B$9</c:f>
              <c:numCache>
                <c:formatCode>General</c:formatCode>
                <c:ptCount val="8"/>
                <c:pt idx="0">
                  <c:v>1.415</c:v>
                </c:pt>
                <c:pt idx="1">
                  <c:v>1.2529999999999999</c:v>
                </c:pt>
                <c:pt idx="2">
                  <c:v>0.57099999999999995</c:v>
                </c:pt>
                <c:pt idx="3">
                  <c:v>0.84</c:v>
                </c:pt>
                <c:pt idx="4">
                  <c:v>1.127</c:v>
                </c:pt>
                <c:pt idx="5">
                  <c:v>1.099</c:v>
                </c:pt>
                <c:pt idx="6">
                  <c:v>0.97799999999999998</c:v>
                </c:pt>
                <c:pt idx="7">
                  <c:v>0.77400000000000002</c:v>
                </c:pt>
              </c:numCache>
            </c:numRef>
          </c:yVal>
          <c:bubbleSize>
            <c:numRef>
              <c:f>Sheet1!$C$2:$C$9</c:f>
              <c:numCache>
                <c:formatCode>General</c:formatCode>
                <c:ptCount val="8"/>
                <c:pt idx="0">
                  <c:v>1856783</c:v>
                </c:pt>
                <c:pt idx="1">
                  <c:v>1030307</c:v>
                </c:pt>
                <c:pt idx="2">
                  <c:v>834864</c:v>
                </c:pt>
                <c:pt idx="3">
                  <c:v>709656</c:v>
                </c:pt>
                <c:pt idx="4">
                  <c:v>522147</c:v>
                </c:pt>
                <c:pt idx="5">
                  <c:v>423079</c:v>
                </c:pt>
                <c:pt idx="6">
                  <c:v>360946</c:v>
                </c:pt>
                <c:pt idx="7">
                  <c:v>333890</c:v>
                </c:pt>
              </c:numCache>
            </c:numRef>
          </c:bubbleSize>
          <c:bubble3D val="0"/>
          <c:extLst>
            <c:ext xmlns:c15="http://schemas.microsoft.com/office/drawing/2012/chart" uri="{02D57815-91ED-43cb-92C2-25804820EDAC}">
              <c15:datalabelsRange>
                <c15:f>Sheet1!$E$2:$E$10</c15:f>
                <c15:dlblRangeCache>
                  <c:ptCount val="9"/>
                  <c:pt idx="0">
                    <c:v>Mhcs</c:v>
                  </c:pt>
                  <c:pt idx="1">
                    <c:v>Roederer</c:v>
                  </c:pt>
                  <c:pt idx="2">
                    <c:v>Malard Nicolas</c:v>
                  </c:pt>
                  <c:pt idx="3">
                    <c:v>Vranken Pommery</c:v>
                  </c:pt>
                  <c:pt idx="4">
                    <c:v>Bollinger</c:v>
                  </c:pt>
                  <c:pt idx="5">
                    <c:v>Laurent Perrier</c:v>
                  </c:pt>
                  <c:pt idx="6">
                    <c:v>Lanson-Bcc</c:v>
                  </c:pt>
                  <c:pt idx="7">
                    <c:v>De Blign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7"/>
          <c:min val="1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615"/>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839B391-E38A-4E42-B6FB-190297B0270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B4F874D-8B72-4EE8-8F4B-C732A1F9F7A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8A954BD-EB29-4382-809A-506513639F9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6232704-1C64-4659-8569-0EB0179C1F1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18D21768-5FE2-432E-B347-CC9669B45F9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6BF9DB3-8709-489E-89EB-EE10FEF7DAA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184AA429-5DA0-4BEF-ADC3-4A34D2A6504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CAE08938-D5F8-4EF1-B049-733F93FF1B2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55.747399999999999</c:v>
                </c:pt>
                <c:pt idx="1">
                  <c:v>51.195099999999996</c:v>
                </c:pt>
                <c:pt idx="2">
                  <c:v>22.2439</c:v>
                </c:pt>
                <c:pt idx="3">
                  <c:v>31.631599999999999</c:v>
                </c:pt>
                <c:pt idx="4">
                  <c:v>44.8476</c:v>
                </c:pt>
                <c:pt idx="5">
                  <c:v>49.148099999999999</c:v>
                </c:pt>
                <c:pt idx="6">
                  <c:v>30.978899999999999</c:v>
                </c:pt>
                <c:pt idx="7">
                  <c:v>30.294499999999999</c:v>
                </c:pt>
              </c:numCache>
            </c:numRef>
          </c:xVal>
          <c:yVal>
            <c:numRef>
              <c:f>Sheet1!$B$2:$B$9</c:f>
              <c:numCache>
                <c:formatCode>General</c:formatCode>
                <c:ptCount val="8"/>
                <c:pt idx="0">
                  <c:v>1.4259999999999999</c:v>
                </c:pt>
                <c:pt idx="1">
                  <c:v>1.2669999999999999</c:v>
                </c:pt>
                <c:pt idx="2">
                  <c:v>0.57399999999999995</c:v>
                </c:pt>
                <c:pt idx="3">
                  <c:v>0.84699999999999998</c:v>
                </c:pt>
                <c:pt idx="4">
                  <c:v>1.139</c:v>
                </c:pt>
                <c:pt idx="5">
                  <c:v>1.115</c:v>
                </c:pt>
                <c:pt idx="6">
                  <c:v>0.82499999999999996</c:v>
                </c:pt>
                <c:pt idx="7">
                  <c:v>0.78300000000000003</c:v>
                </c:pt>
              </c:numCache>
            </c:numRef>
          </c:yVal>
          <c:bubbleSize>
            <c:numRef>
              <c:f>Sheet1!$C$2:$C$9</c:f>
              <c:numCache>
                <c:formatCode>General</c:formatCode>
                <c:ptCount val="8"/>
                <c:pt idx="0">
                  <c:v>1706485</c:v>
                </c:pt>
                <c:pt idx="1">
                  <c:v>897297</c:v>
                </c:pt>
                <c:pt idx="2">
                  <c:v>843512</c:v>
                </c:pt>
                <c:pt idx="3">
                  <c:v>657495</c:v>
                </c:pt>
                <c:pt idx="4">
                  <c:v>523461</c:v>
                </c:pt>
                <c:pt idx="5">
                  <c:v>368021</c:v>
                </c:pt>
                <c:pt idx="6">
                  <c:v>320291</c:v>
                </c:pt>
                <c:pt idx="7">
                  <c:v>302794</c:v>
                </c:pt>
              </c:numCache>
            </c:numRef>
          </c:bubbleSize>
          <c:bubble3D val="0"/>
          <c:extLst>
            <c:ext xmlns:c15="http://schemas.microsoft.com/office/drawing/2012/chart" uri="{02D57815-91ED-43cb-92C2-25804820EDAC}">
              <c15:datalabelsRange>
                <c15:f>Sheet1!$E$2:$E$10</c15:f>
                <c15:dlblRangeCache>
                  <c:ptCount val="9"/>
                  <c:pt idx="0">
                    <c:v>Mhcs</c:v>
                  </c:pt>
                  <c:pt idx="1">
                    <c:v>Roederer</c:v>
                  </c:pt>
                  <c:pt idx="2">
                    <c:v>Malard Nicolas</c:v>
                  </c:pt>
                  <c:pt idx="3">
                    <c:v>Vranken Pommery</c:v>
                  </c:pt>
                  <c:pt idx="4">
                    <c:v>Bollinger</c:v>
                  </c:pt>
                  <c:pt idx="5">
                    <c:v>Laurent Perrier</c:v>
                  </c:pt>
                  <c:pt idx="6">
                    <c:v>C&amp;C Sas France</c:v>
                  </c:pt>
                  <c:pt idx="7">
                    <c:v>De Blign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7"/>
          <c:min val="1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625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913F24E-B588-4EEF-9CFD-11D7502994F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06E751B-F531-4680-B057-85CBA097A3D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4E9FF90-ED0A-4178-8938-E4F402563BE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90D386D-75FA-4A5F-9B6B-5D8BC3AA659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8975A9A6-2D9B-4B28-BBC2-FACACB62396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B21F8BA0-1847-4F82-A735-8907C9C9944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4544E89C-946A-4141-8537-C59652B7DFA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AEDA4688-71C8-4190-9EBA-3E59680DF6C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29.5609</c:v>
                </c:pt>
                <c:pt idx="1">
                  <c:v>30.4114</c:v>
                </c:pt>
                <c:pt idx="2">
                  <c:v>31.256699999999999</c:v>
                </c:pt>
                <c:pt idx="3">
                  <c:v>34.277999999999999</c:v>
                </c:pt>
              </c:numCache>
            </c:numRef>
          </c:xVal>
          <c:yVal>
            <c:numRef>
              <c:f>Sheet1!$B$2:$B$5</c:f>
              <c:numCache>
                <c:formatCode>General</c:formatCode>
                <c:ptCount val="4"/>
                <c:pt idx="0">
                  <c:v>0.98699999999999999</c:v>
                </c:pt>
                <c:pt idx="1">
                  <c:v>1.016</c:v>
                </c:pt>
                <c:pt idx="2">
                  <c:v>1.0429999999999999</c:v>
                </c:pt>
                <c:pt idx="3">
                  <c:v>1.0940000000000001</c:v>
                </c:pt>
              </c:numCache>
            </c:numRef>
          </c:yVal>
          <c:bubbleSize>
            <c:numRef>
              <c:f>Sheet1!$C$2:$C$5</c:f>
              <c:numCache>
                <c:formatCode>General</c:formatCode>
                <c:ptCount val="4"/>
                <c:pt idx="0">
                  <c:v>2004646</c:v>
                </c:pt>
                <c:pt idx="1">
                  <c:v>529675</c:v>
                </c:pt>
                <c:pt idx="2">
                  <c:v>278560</c:v>
                </c:pt>
                <c:pt idx="3">
                  <c:v>67699</c:v>
                </c:pt>
              </c:numCache>
            </c:numRef>
          </c:bubbleSize>
          <c:bubble3D val="0"/>
          <c:extLst>
            <c:ext xmlns:c15="http://schemas.microsoft.com/office/drawing/2012/chart" uri="{02D57815-91ED-43cb-92C2-25804820EDAC}">
              <c15:datalabelsRange>
                <c15:f>Sheet1!$E$2:$E$10</c15:f>
                <c15:dlblRangeCache>
                  <c:ptCount val="9"/>
                  <c:pt idx="0">
                    <c:v>Malard</c:v>
                  </c:pt>
                  <c:pt idx="1">
                    <c:v>Vesselle</c:v>
                  </c:pt>
                  <c:pt idx="2">
                    <c:v>Louis Martin</c:v>
                  </c:pt>
                  <c:pt idx="3">
                    <c:v>Malard Nicola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1"/>
          <c:min val="2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94"/>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E43E413-8ACD-44F9-8E1B-53CB7463D4D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AC2A66F-CB57-4090-A6FE-AE13D59638F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234E5C0-7C0B-4CCA-9D5A-26510B683D2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638C698-8192-43C2-A6FD-14805C9EB98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CDCE39F5-22AD-4AE5-9520-6F5E66C7111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F95AA5EC-1D56-4807-8A96-5FB3F1BEA43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679F6439-C3FC-4A45-93F4-3FEFEA72C5C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9157D732-3434-4585-A954-B459BAFB53A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29.6005</c:v>
                </c:pt>
                <c:pt idx="1">
                  <c:v>30.4802</c:v>
                </c:pt>
                <c:pt idx="2">
                  <c:v>31.5137</c:v>
                </c:pt>
                <c:pt idx="3">
                  <c:v>35.524299999999997</c:v>
                </c:pt>
              </c:numCache>
            </c:numRef>
          </c:xVal>
          <c:yVal>
            <c:numRef>
              <c:f>Sheet1!$B$2:$B$5</c:f>
              <c:numCache>
                <c:formatCode>General</c:formatCode>
                <c:ptCount val="4"/>
                <c:pt idx="0">
                  <c:v>0.98699999999999999</c:v>
                </c:pt>
                <c:pt idx="1">
                  <c:v>1.0149999999999999</c:v>
                </c:pt>
                <c:pt idx="2">
                  <c:v>1.0469999999999999</c:v>
                </c:pt>
                <c:pt idx="3">
                  <c:v>1.077</c:v>
                </c:pt>
              </c:numCache>
            </c:numRef>
          </c:yVal>
          <c:bubbleSize>
            <c:numRef>
              <c:f>Sheet1!$C$2:$C$5</c:f>
              <c:numCache>
                <c:formatCode>General</c:formatCode>
                <c:ptCount val="4"/>
                <c:pt idx="0">
                  <c:v>2007386</c:v>
                </c:pt>
                <c:pt idx="1">
                  <c:v>530203</c:v>
                </c:pt>
                <c:pt idx="2">
                  <c:v>279022</c:v>
                </c:pt>
                <c:pt idx="3">
                  <c:v>70054</c:v>
                </c:pt>
              </c:numCache>
            </c:numRef>
          </c:bubbleSize>
          <c:bubble3D val="0"/>
          <c:extLst>
            <c:ext xmlns:c15="http://schemas.microsoft.com/office/drawing/2012/chart" uri="{02D57815-91ED-43cb-92C2-25804820EDAC}">
              <c15:datalabelsRange>
                <c15:f>Sheet1!$E$2:$E$10</c15:f>
                <c15:dlblRangeCache>
                  <c:ptCount val="9"/>
                  <c:pt idx="0">
                    <c:v>Malard</c:v>
                  </c:pt>
                  <c:pt idx="1">
                    <c:v>Vesselle</c:v>
                  </c:pt>
                  <c:pt idx="2">
                    <c:v>Louis Martin</c:v>
                  </c:pt>
                  <c:pt idx="3">
                    <c:v>Malard Nicola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3"/>
          <c:min val="2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76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7E08C7C-5582-4B10-874D-F277F83BA97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669FA36-CB95-4CBE-B30E-CDF2252E70B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6491E28-CF94-49D2-A020-26D32AA9E77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AFB8700-281E-4D38-84BF-3127970940D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21643957-2986-4EF6-B8CF-1E14A6EDFEB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DE4388A2-0410-4089-AE13-B4C64C58C1A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8FFF3E4D-E8A1-4391-9496-ED3F6278E4C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7020A846-3EFB-481E-AF77-6FBFDF4FADD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29.6553</c:v>
                </c:pt>
                <c:pt idx="1">
                  <c:v>30.398399999999999</c:v>
                </c:pt>
                <c:pt idx="2">
                  <c:v>31.399699999999999</c:v>
                </c:pt>
                <c:pt idx="3">
                  <c:v>35.377000000000002</c:v>
                </c:pt>
              </c:numCache>
            </c:numRef>
          </c:xVal>
          <c:yVal>
            <c:numRef>
              <c:f>Sheet1!$B$2:$B$5</c:f>
              <c:numCache>
                <c:formatCode>General</c:formatCode>
                <c:ptCount val="4"/>
                <c:pt idx="0">
                  <c:v>0.98799999999999999</c:v>
                </c:pt>
                <c:pt idx="1">
                  <c:v>1.012</c:v>
                </c:pt>
                <c:pt idx="2">
                  <c:v>1.0469999999999999</c:v>
                </c:pt>
                <c:pt idx="3">
                  <c:v>1.0880000000000001</c:v>
                </c:pt>
              </c:numCache>
            </c:numRef>
          </c:yVal>
          <c:bubbleSize>
            <c:numRef>
              <c:f>Sheet1!$C$2:$C$5</c:f>
              <c:numCache>
                <c:formatCode>General</c:formatCode>
                <c:ptCount val="4"/>
                <c:pt idx="0">
                  <c:v>1002232</c:v>
                </c:pt>
                <c:pt idx="1">
                  <c:v>253340</c:v>
                </c:pt>
                <c:pt idx="2">
                  <c:v>140074</c:v>
                </c:pt>
                <c:pt idx="3">
                  <c:v>28903</c:v>
                </c:pt>
              </c:numCache>
            </c:numRef>
          </c:bubbleSize>
          <c:bubble3D val="0"/>
          <c:extLst>
            <c:ext xmlns:c15="http://schemas.microsoft.com/office/drawing/2012/chart" uri="{02D57815-91ED-43cb-92C2-25804820EDAC}">
              <c15:datalabelsRange>
                <c15:f>Sheet1!$E$2:$E$10</c15:f>
                <c15:dlblRangeCache>
                  <c:ptCount val="9"/>
                  <c:pt idx="0">
                    <c:v>Malard</c:v>
                  </c:pt>
                  <c:pt idx="1">
                    <c:v>Vesselle</c:v>
                  </c:pt>
                  <c:pt idx="2">
                    <c:v>Louis Martin</c:v>
                  </c:pt>
                  <c:pt idx="3">
                    <c:v>Malard Nicola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2"/>
          <c:min val="2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88"/>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43E2715E-78DB-43D2-84D2-0A7118E07DF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31432ADE-7740-4104-AF29-01B319746D0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35C62DD3-A48F-4DBA-ADF9-322AC0E61D7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067A374C-1768-4F1C-8DF7-D3C54A1204E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4895D9E8-5058-44B8-88DF-97F24099E20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B0D2193F-54EA-46D8-94E7-98728B13841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73184127-F33C-4C7D-A99F-DF94877DF16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283FDC24-3F24-4921-B751-CA7844993FE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11.404999999999999</c:v>
                </c:pt>
                <c:pt idx="1">
                  <c:v>12.696099999999999</c:v>
                </c:pt>
                <c:pt idx="2">
                  <c:v>9.0840999999999994</c:v>
                </c:pt>
                <c:pt idx="3">
                  <c:v>17.397300000000001</c:v>
                </c:pt>
                <c:pt idx="4">
                  <c:v>11.7463</c:v>
                </c:pt>
                <c:pt idx="5">
                  <c:v>11.4129</c:v>
                </c:pt>
                <c:pt idx="6">
                  <c:v>13.5061</c:v>
                </c:pt>
                <c:pt idx="7">
                  <c:v>5.7343000000000002</c:v>
                </c:pt>
              </c:numCache>
            </c:numRef>
          </c:xVal>
          <c:yVal>
            <c:numRef>
              <c:f>Sheet1!$B$2:$B$9</c:f>
              <c:numCache>
                <c:formatCode>General</c:formatCode>
                <c:ptCount val="8"/>
                <c:pt idx="0">
                  <c:v>1.0820000000000001</c:v>
                </c:pt>
                <c:pt idx="1">
                  <c:v>1.2050000000000001</c:v>
                </c:pt>
                <c:pt idx="2">
                  <c:v>0.86199999999999999</c:v>
                </c:pt>
                <c:pt idx="3">
                  <c:v>1.6519999999999999</c:v>
                </c:pt>
                <c:pt idx="4">
                  <c:v>1.0720000000000001</c:v>
                </c:pt>
                <c:pt idx="5">
                  <c:v>1.083</c:v>
                </c:pt>
                <c:pt idx="6">
                  <c:v>1.28</c:v>
                </c:pt>
                <c:pt idx="7">
                  <c:v>0.54500000000000004</c:v>
                </c:pt>
              </c:numCache>
            </c:numRef>
          </c:yVal>
          <c:bubbleSize>
            <c:numRef>
              <c:f>Sheet1!$C$2:$C$9</c:f>
              <c:numCache>
                <c:formatCode>General</c:formatCode>
                <c:ptCount val="8"/>
                <c:pt idx="0">
                  <c:v>150888</c:v>
                </c:pt>
                <c:pt idx="1">
                  <c:v>111713</c:v>
                </c:pt>
                <c:pt idx="2">
                  <c:v>86281</c:v>
                </c:pt>
                <c:pt idx="3">
                  <c:v>76009</c:v>
                </c:pt>
                <c:pt idx="4">
                  <c:v>74413</c:v>
                </c:pt>
                <c:pt idx="5">
                  <c:v>70235</c:v>
                </c:pt>
                <c:pt idx="6">
                  <c:v>42355</c:v>
                </c:pt>
                <c:pt idx="7">
                  <c:v>19233</c:v>
                </c:pt>
              </c:numCache>
            </c:numRef>
          </c:bubbleSize>
          <c:bubble3D val="0"/>
          <c:extLst>
            <c:ext xmlns:c15="http://schemas.microsoft.com/office/drawing/2012/chart" uri="{02D57815-91ED-43cb-92C2-25804820EDAC}">
              <c15:datalabelsRange>
                <c15:f>Sheet1!$E$2:$E$10</c15:f>
                <c15:dlblRangeCache>
                  <c:ptCount val="9"/>
                  <c:pt idx="0">
                    <c:v>Bottega</c:v>
                  </c:pt>
                  <c:pt idx="1">
                    <c:v>Patriarche</c:v>
                  </c:pt>
                  <c:pt idx="2">
                    <c:v>Savian</c:v>
                  </c:pt>
                  <c:pt idx="3">
                    <c:v>Mure</c:v>
                  </c:pt>
                  <c:pt idx="4">
                    <c:v>Bouvet-Ladubay</c:v>
                  </c:pt>
                  <c:pt idx="5">
                    <c:v>Chateau Moncontour</c:v>
                  </c:pt>
                  <c:pt idx="6">
                    <c:v>De Chanceny</c:v>
                  </c:pt>
                  <c:pt idx="7">
                    <c:v>Kriter</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
          <c:min val="5"/>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9B13339-3F1E-476C-9742-C159ECA3E9F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CF86D53-3BC0-48AA-A181-E43C9B8F016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E4D7B59-13BE-4521-AA0F-CFE27EB634B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87995DF-2D59-4BCD-A789-6CA16A2969E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FA13B3A7-F913-46D3-9E97-42F97F2D30F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00DFD70F-C3D8-4DAB-87C7-6BB92B21B67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9DEEAF5A-A6B4-4D6B-B843-37675BAC433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7B941A34-2415-439E-8BAE-CE61CFC4295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29.4084</c:v>
                </c:pt>
                <c:pt idx="1">
                  <c:v>30.382000000000001</c:v>
                </c:pt>
                <c:pt idx="2">
                  <c:v>31.254200000000001</c:v>
                </c:pt>
                <c:pt idx="3">
                  <c:v>34.145899999999997</c:v>
                </c:pt>
              </c:numCache>
            </c:numRef>
          </c:xVal>
          <c:yVal>
            <c:numRef>
              <c:f>Sheet1!$B$2:$B$5</c:f>
              <c:numCache>
                <c:formatCode>General</c:formatCode>
                <c:ptCount val="4"/>
                <c:pt idx="0">
                  <c:v>0.98699999999999999</c:v>
                </c:pt>
                <c:pt idx="1">
                  <c:v>1.02</c:v>
                </c:pt>
                <c:pt idx="2">
                  <c:v>1.044</c:v>
                </c:pt>
                <c:pt idx="3">
                  <c:v>1.0760000000000001</c:v>
                </c:pt>
              </c:numCache>
            </c:numRef>
          </c:yVal>
          <c:bubbleSize>
            <c:numRef>
              <c:f>Sheet1!$C$2:$C$5</c:f>
              <c:numCache>
                <c:formatCode>General</c:formatCode>
                <c:ptCount val="4"/>
                <c:pt idx="0">
                  <c:v>383838</c:v>
                </c:pt>
                <c:pt idx="1">
                  <c:v>108160</c:v>
                </c:pt>
                <c:pt idx="2">
                  <c:v>42412</c:v>
                </c:pt>
                <c:pt idx="3">
                  <c:v>17790</c:v>
                </c:pt>
              </c:numCache>
            </c:numRef>
          </c:bubbleSize>
          <c:bubble3D val="0"/>
          <c:extLst>
            <c:ext xmlns:c15="http://schemas.microsoft.com/office/drawing/2012/chart" uri="{02D57815-91ED-43cb-92C2-25804820EDAC}">
              <c15:datalabelsRange>
                <c15:f>Sheet1!$E$2:$E$10</c15:f>
                <c15:dlblRangeCache>
                  <c:ptCount val="9"/>
                  <c:pt idx="0">
                    <c:v>Malard</c:v>
                  </c:pt>
                  <c:pt idx="1">
                    <c:v>Vesselle</c:v>
                  </c:pt>
                  <c:pt idx="2">
                    <c:v>Louis Martin</c:v>
                  </c:pt>
                  <c:pt idx="3">
                    <c:v>Malard Nicola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1"/>
          <c:min val="2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76"/>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88BDF6F-EB60-4C1C-A074-B1E6350F38F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FC6B6B7-C38E-4866-B172-03C51FE2702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60541F4-2F3B-4857-9491-77E8BBC9C54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C58FBCD-2199-48A9-838A-D8FFE9220DF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8B4AA95D-28B2-4E50-A3C5-629B07EAC98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1A056379-500A-4622-9822-861A1B6FEBD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3BCDCC40-F28A-4825-8083-B1081B81186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666B596C-6156-4961-980C-CCD97B458DE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29.729199999999999</c:v>
                </c:pt>
                <c:pt idx="1">
                  <c:v>30.648199999999999</c:v>
                </c:pt>
                <c:pt idx="2">
                  <c:v>31.512</c:v>
                </c:pt>
                <c:pt idx="3">
                  <c:v>35.926099999999998</c:v>
                </c:pt>
              </c:numCache>
            </c:numRef>
          </c:xVal>
          <c:yVal>
            <c:numRef>
              <c:f>Sheet1!$B$2:$B$5</c:f>
              <c:numCache>
                <c:formatCode>General</c:formatCode>
                <c:ptCount val="4"/>
                <c:pt idx="0">
                  <c:v>0.98499999999999999</c:v>
                </c:pt>
                <c:pt idx="1">
                  <c:v>1.0129999999999999</c:v>
                </c:pt>
                <c:pt idx="2">
                  <c:v>1.044</c:v>
                </c:pt>
                <c:pt idx="3">
                  <c:v>1.0720000000000001</c:v>
                </c:pt>
              </c:numCache>
            </c:numRef>
          </c:yVal>
          <c:bubbleSize>
            <c:numRef>
              <c:f>Sheet1!$C$2:$C$5</c:f>
              <c:numCache>
                <c:formatCode>General</c:formatCode>
                <c:ptCount val="4"/>
                <c:pt idx="0">
                  <c:v>224277</c:v>
                </c:pt>
                <c:pt idx="1">
                  <c:v>77540</c:v>
                </c:pt>
                <c:pt idx="2">
                  <c:v>41974</c:v>
                </c:pt>
                <c:pt idx="3">
                  <c:v>7293</c:v>
                </c:pt>
              </c:numCache>
            </c:numRef>
          </c:bubbleSize>
          <c:bubble3D val="0"/>
          <c:extLst>
            <c:ext xmlns:c15="http://schemas.microsoft.com/office/drawing/2012/chart" uri="{02D57815-91ED-43cb-92C2-25804820EDAC}">
              <c15:datalabelsRange>
                <c15:f>Sheet1!$E$2:$E$10</c15:f>
                <c15:dlblRangeCache>
                  <c:ptCount val="9"/>
                  <c:pt idx="0">
                    <c:v>Malard</c:v>
                  </c:pt>
                  <c:pt idx="1">
                    <c:v>Vesselle</c:v>
                  </c:pt>
                  <c:pt idx="2">
                    <c:v>Louis Martin</c:v>
                  </c:pt>
                  <c:pt idx="3">
                    <c:v>Malard Nicola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3"/>
          <c:min val="2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72"/>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78C15C1-AFF4-4E99-B861-EE9956EEF81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2A4FB2F-BE6F-405F-A610-52052C1A990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15FCDF4-A0EC-4172-A94B-B17FBF0317C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097B88B-5840-47FD-85D4-2C520D0BFA5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C6245F19-E1E0-4C03-8430-3FAB567D5FB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520F13B4-7269-43C9-B9E4-BA8EAA16ECA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2F8760FE-065E-40F7-8A66-252A9586BA1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ACFDE244-BD9B-4C94-A4AD-B179C936D90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29.914100000000001</c:v>
                </c:pt>
                <c:pt idx="1">
                  <c:v>30.693300000000001</c:v>
                </c:pt>
                <c:pt idx="2">
                  <c:v>31.7714</c:v>
                </c:pt>
                <c:pt idx="3">
                  <c:v>36.119399999999999</c:v>
                </c:pt>
              </c:numCache>
            </c:numRef>
          </c:xVal>
          <c:yVal>
            <c:numRef>
              <c:f>Sheet1!$B$2:$B$5</c:f>
              <c:numCache>
                <c:formatCode>General</c:formatCode>
                <c:ptCount val="4"/>
                <c:pt idx="0">
                  <c:v>0.99</c:v>
                </c:pt>
                <c:pt idx="1">
                  <c:v>1.012</c:v>
                </c:pt>
                <c:pt idx="2">
                  <c:v>1.048</c:v>
                </c:pt>
                <c:pt idx="3">
                  <c:v>1.0640000000000001</c:v>
                </c:pt>
              </c:numCache>
            </c:numRef>
          </c:yVal>
          <c:bubbleSize>
            <c:numRef>
              <c:f>Sheet1!$C$2:$C$5</c:f>
              <c:numCache>
                <c:formatCode>General</c:formatCode>
                <c:ptCount val="4"/>
                <c:pt idx="0">
                  <c:v>133357</c:v>
                </c:pt>
                <c:pt idx="1">
                  <c:v>22314</c:v>
                </c:pt>
                <c:pt idx="2">
                  <c:v>15981</c:v>
                </c:pt>
                <c:pt idx="3">
                  <c:v>4840</c:v>
                </c:pt>
              </c:numCache>
            </c:numRef>
          </c:bubbleSize>
          <c:bubble3D val="0"/>
          <c:extLst>
            <c:ext xmlns:c15="http://schemas.microsoft.com/office/drawing/2012/chart" uri="{02D57815-91ED-43cb-92C2-25804820EDAC}">
              <c15:datalabelsRange>
                <c15:f>Sheet1!$E$2:$E$10</c15:f>
                <c15:dlblRangeCache>
                  <c:ptCount val="9"/>
                  <c:pt idx="0">
                    <c:v>Malard</c:v>
                  </c:pt>
                  <c:pt idx="1">
                    <c:v>Vesselle</c:v>
                  </c:pt>
                  <c:pt idx="2">
                    <c:v>Louis Martin</c:v>
                  </c:pt>
                  <c:pt idx="3">
                    <c:v>Malard Nicola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3"/>
          <c:min val="2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64"/>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220028A-4B46-4F74-AD99-4142391DEEF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3EC3CB0-F999-485A-A6B8-CD2D016C504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FEDA8E3-BEFF-4482-B5A3-91654F07A61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5A269F3-CF93-4BED-B4BA-35CE0239B7A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0C0B8434-309A-4E84-921A-32759EF3E65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7CC9521A-0126-436D-9381-773F8EE95C7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48110216-28D4-4159-BABE-9DC10D4F0DC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6D976385-52C0-4BB7-AF10-0B1190E1515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29.4651</c:v>
                </c:pt>
                <c:pt idx="1">
                  <c:v>30.619399999999999</c:v>
                </c:pt>
                <c:pt idx="2">
                  <c:v>32.537999999999997</c:v>
                </c:pt>
                <c:pt idx="3">
                  <c:v>38.537300000000002</c:v>
                </c:pt>
              </c:numCache>
            </c:numRef>
          </c:xVal>
          <c:yVal>
            <c:numRef>
              <c:f>Sheet1!$B$2:$B$5</c:f>
              <c:numCache>
                <c:formatCode>General</c:formatCode>
                <c:ptCount val="4"/>
                <c:pt idx="0">
                  <c:v>0.98799999999999999</c:v>
                </c:pt>
                <c:pt idx="1">
                  <c:v>1.028</c:v>
                </c:pt>
                <c:pt idx="2">
                  <c:v>1.044</c:v>
                </c:pt>
                <c:pt idx="3">
                  <c:v>1.03</c:v>
                </c:pt>
              </c:numCache>
            </c:numRef>
          </c:yVal>
          <c:bubbleSize>
            <c:numRef>
              <c:f>Sheet1!$C$2:$C$5</c:f>
              <c:numCache>
                <c:formatCode>General</c:formatCode>
                <c:ptCount val="4"/>
                <c:pt idx="0">
                  <c:v>74193</c:v>
                </c:pt>
                <c:pt idx="1">
                  <c:v>21158</c:v>
                </c:pt>
                <c:pt idx="2">
                  <c:v>5564</c:v>
                </c:pt>
                <c:pt idx="3">
                  <c:v>2582</c:v>
                </c:pt>
              </c:numCache>
            </c:numRef>
          </c:bubbleSize>
          <c:bubble3D val="0"/>
          <c:extLst>
            <c:ext xmlns:c15="http://schemas.microsoft.com/office/drawing/2012/chart" uri="{02D57815-91ED-43cb-92C2-25804820EDAC}">
              <c15:datalabelsRange>
                <c15:f>Sheet1!$E$2:$E$10</c15:f>
                <c15:dlblRangeCache>
                  <c:ptCount val="9"/>
                  <c:pt idx="0">
                    <c:v>Malard</c:v>
                  </c:pt>
                  <c:pt idx="1">
                    <c:v>Vesselle</c:v>
                  </c:pt>
                  <c:pt idx="2">
                    <c:v>Louis Martin</c:v>
                  </c:pt>
                  <c:pt idx="3">
                    <c:v>Malard Nicola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6"/>
          <c:min val="2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44"/>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B35172E-E590-4FBB-A02F-3F1B77ED04A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143E370-72A3-44D4-A98B-B574DA81552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90B9A7F-BB35-46BE-9E23-8BC4869BE73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782B899-E87B-4456-A126-A7CDA8CEDFE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8693CC8B-202B-404B-A793-9329C89A977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29CAD44E-609D-468A-B290-916AD204DB8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4F335684-DE15-4DBA-A9B6-95E5F85766C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1EF94055-97B2-40F9-A67C-233A27D2D97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29.6662</c:v>
                </c:pt>
                <c:pt idx="1">
                  <c:v>30.448499999999999</c:v>
                </c:pt>
                <c:pt idx="2">
                  <c:v>31.352499999999999</c:v>
                </c:pt>
                <c:pt idx="3">
                  <c:v>34.601999999999997</c:v>
                </c:pt>
              </c:numCache>
            </c:numRef>
          </c:xVal>
          <c:yVal>
            <c:numRef>
              <c:f>Sheet1!$B$2:$B$5</c:f>
              <c:numCache>
                <c:formatCode>General</c:formatCode>
                <c:ptCount val="4"/>
                <c:pt idx="0">
                  <c:v>0.98799999999999999</c:v>
                </c:pt>
                <c:pt idx="1">
                  <c:v>1.014</c:v>
                </c:pt>
                <c:pt idx="2">
                  <c:v>1.044</c:v>
                </c:pt>
                <c:pt idx="3">
                  <c:v>1.097</c:v>
                </c:pt>
              </c:numCache>
            </c:numRef>
          </c:yVal>
          <c:bubbleSize>
            <c:numRef>
              <c:f>Sheet1!$C$2:$C$5</c:f>
              <c:numCache>
                <c:formatCode>General</c:formatCode>
                <c:ptCount val="4"/>
                <c:pt idx="0">
                  <c:v>1479719</c:v>
                </c:pt>
                <c:pt idx="1">
                  <c:v>386635</c:v>
                </c:pt>
                <c:pt idx="2">
                  <c:v>205547</c:v>
                </c:pt>
                <c:pt idx="3">
                  <c:v>45640</c:v>
                </c:pt>
              </c:numCache>
            </c:numRef>
          </c:bubbleSize>
          <c:bubble3D val="0"/>
          <c:extLst>
            <c:ext xmlns:c15="http://schemas.microsoft.com/office/drawing/2012/chart" uri="{02D57815-91ED-43cb-92C2-25804820EDAC}">
              <c15:datalabelsRange>
                <c15:f>Sheet1!$E$2:$E$10</c15:f>
                <c15:dlblRangeCache>
                  <c:ptCount val="9"/>
                  <c:pt idx="0">
                    <c:v>Malard</c:v>
                  </c:pt>
                  <c:pt idx="1">
                    <c:v>Vesselle</c:v>
                  </c:pt>
                  <c:pt idx="2">
                    <c:v>Louis Martin</c:v>
                  </c:pt>
                  <c:pt idx="3">
                    <c:v>Malard Nicola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2"/>
          <c:min val="2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96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ACBF87F-39FA-4B47-9F32-3ED988BE145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B1183C6-7620-401C-8550-EFBB577AC88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379515A-3FB4-4D90-B744-066EBD6A3F4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AC40561-9103-47A2-99BD-BBC12BA536D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7C26FF4D-5AA1-430E-9C1F-5EF40766202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8C8C78B7-07BD-463C-AB4E-DC36ECA6117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8A7C6267-B117-4348-B027-14B1600EF50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F3D6A91C-3BD7-4F73-B323-CE99FBE2DB2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29.3569</c:v>
                </c:pt>
                <c:pt idx="1">
                  <c:v>30.4191</c:v>
                </c:pt>
                <c:pt idx="2">
                  <c:v>31.601700000000001</c:v>
                </c:pt>
                <c:pt idx="3">
                  <c:v>35.307699999999997</c:v>
                </c:pt>
              </c:numCache>
            </c:numRef>
          </c:xVal>
          <c:yVal>
            <c:numRef>
              <c:f>Sheet1!$B$2:$B$5</c:f>
              <c:numCache>
                <c:formatCode>General</c:formatCode>
                <c:ptCount val="4"/>
                <c:pt idx="0">
                  <c:v>0.98099999999999998</c:v>
                </c:pt>
                <c:pt idx="1">
                  <c:v>1.0189999999999999</c:v>
                </c:pt>
                <c:pt idx="2">
                  <c:v>1.048</c:v>
                </c:pt>
                <c:pt idx="3">
                  <c:v>1.0780000000000001</c:v>
                </c:pt>
              </c:numCache>
            </c:numRef>
          </c:yVal>
          <c:bubbleSize>
            <c:numRef>
              <c:f>Sheet1!$C$2:$C$5</c:f>
              <c:numCache>
                <c:formatCode>General</c:formatCode>
                <c:ptCount val="4"/>
                <c:pt idx="0">
                  <c:v>130785</c:v>
                </c:pt>
                <c:pt idx="1">
                  <c:v>29324</c:v>
                </c:pt>
                <c:pt idx="2">
                  <c:v>14600</c:v>
                </c:pt>
                <c:pt idx="3">
                  <c:v>6885</c:v>
                </c:pt>
              </c:numCache>
            </c:numRef>
          </c:bubbleSize>
          <c:bubble3D val="0"/>
          <c:extLst>
            <c:ext xmlns:c15="http://schemas.microsoft.com/office/drawing/2012/chart" uri="{02D57815-91ED-43cb-92C2-25804820EDAC}">
              <c15:datalabelsRange>
                <c15:f>Sheet1!$E$2:$E$10</c15:f>
                <c15:dlblRangeCache>
                  <c:ptCount val="9"/>
                  <c:pt idx="0">
                    <c:v>Malard</c:v>
                  </c:pt>
                  <c:pt idx="1">
                    <c:v>Vesselle</c:v>
                  </c:pt>
                  <c:pt idx="2">
                    <c:v>Louis Martin</c:v>
                  </c:pt>
                  <c:pt idx="3">
                    <c:v>Malard Nicola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2"/>
          <c:min val="23"/>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78"/>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8283C20-3E6F-41DF-8F23-2B941BE56CD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AEDD04A-1EBF-4979-BADA-DEF60A494D5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6B07B56-8F39-49EE-8A09-1D5167A57FF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206B577-4E97-4324-8D68-B8C346EC272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3A8B803F-6593-49FF-87E0-7E1FB86F1BF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54C00D8F-8BB1-43E9-B924-B09203E4702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8D60E07A-AD40-40F7-BC52-5D167478210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6016E76F-9E80-4119-8E69-7F107B5F6FB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29.557700000000001</c:v>
                </c:pt>
                <c:pt idx="1">
                  <c:v>30.572399999999998</c:v>
                </c:pt>
                <c:pt idx="2">
                  <c:v>32.226799999999997</c:v>
                </c:pt>
                <c:pt idx="3">
                  <c:v>37.310899999999997</c:v>
                </c:pt>
              </c:numCache>
            </c:numRef>
          </c:xVal>
          <c:yVal>
            <c:numRef>
              <c:f>Sheet1!$B$2:$B$5</c:f>
              <c:numCache>
                <c:formatCode>General</c:formatCode>
                <c:ptCount val="4"/>
                <c:pt idx="0">
                  <c:v>0.98599999999999999</c:v>
                </c:pt>
                <c:pt idx="1">
                  <c:v>1.022</c:v>
                </c:pt>
                <c:pt idx="2">
                  <c:v>1.0620000000000001</c:v>
                </c:pt>
                <c:pt idx="3">
                  <c:v>1.1220000000000001</c:v>
                </c:pt>
              </c:numCache>
            </c:numRef>
          </c:yVal>
          <c:bubbleSize>
            <c:numRef>
              <c:f>Sheet1!$C$2:$C$5</c:f>
              <c:numCache>
                <c:formatCode>General</c:formatCode>
                <c:ptCount val="4"/>
                <c:pt idx="0">
                  <c:v>105787</c:v>
                </c:pt>
                <c:pt idx="1">
                  <c:v>23663</c:v>
                </c:pt>
                <c:pt idx="2">
                  <c:v>9378</c:v>
                </c:pt>
                <c:pt idx="3">
                  <c:v>4440</c:v>
                </c:pt>
              </c:numCache>
            </c:numRef>
          </c:bubbleSize>
          <c:bubble3D val="0"/>
          <c:extLst>
            <c:ext xmlns:c15="http://schemas.microsoft.com/office/drawing/2012/chart" uri="{02D57815-91ED-43cb-92C2-25804820EDAC}">
              <c15:datalabelsRange>
                <c15:f>Sheet1!$E$2:$E$10</c15:f>
                <c15:dlblRangeCache>
                  <c:ptCount val="9"/>
                  <c:pt idx="0">
                    <c:v>Malard</c:v>
                  </c:pt>
                  <c:pt idx="1">
                    <c:v>Vesselle</c:v>
                  </c:pt>
                  <c:pt idx="2">
                    <c:v>Louis Martin</c:v>
                  </c:pt>
                  <c:pt idx="3">
                    <c:v>Malard Nicola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5"/>
          <c:min val="2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3220000000000001"/>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D9B37FB-7B9B-4E62-9EBC-A57AFE749D9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4016F50-B87D-41B1-BDD3-4D13C211252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8D01516-7564-40A8-8EDC-D55394B1CD4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8A0C21A-8A15-47E8-8BE8-7DC76EBD4D1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46DAC085-874D-4149-82EF-CFEF109CB56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BBFAB329-B4B4-403B-B80E-4BC2FEF094F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3D81A4B0-138B-4296-91EE-FE5AA45B822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448BBFCE-BB6F-45A7-A14D-FF95D6AC151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29.436900000000001</c:v>
                </c:pt>
                <c:pt idx="1">
                  <c:v>31.312200000000001</c:v>
                </c:pt>
                <c:pt idx="2">
                  <c:v>30.658899999999999</c:v>
                </c:pt>
                <c:pt idx="3">
                  <c:v>40.5139</c:v>
                </c:pt>
              </c:numCache>
            </c:numRef>
          </c:xVal>
          <c:yVal>
            <c:numRef>
              <c:f>Sheet1!$B$2:$B$5</c:f>
              <c:numCache>
                <c:formatCode>General</c:formatCode>
                <c:ptCount val="4"/>
                <c:pt idx="0">
                  <c:v>0.98</c:v>
                </c:pt>
                <c:pt idx="1">
                  <c:v>1.0369999999999999</c:v>
                </c:pt>
                <c:pt idx="2">
                  <c:v>1.0249999999999999</c:v>
                </c:pt>
                <c:pt idx="3">
                  <c:v>1.085</c:v>
                </c:pt>
              </c:numCache>
            </c:numRef>
          </c:yVal>
          <c:bubbleSize>
            <c:numRef>
              <c:f>Sheet1!$C$2:$C$5</c:f>
              <c:numCache>
                <c:formatCode>General</c:formatCode>
                <c:ptCount val="4"/>
                <c:pt idx="0">
                  <c:v>59698</c:v>
                </c:pt>
                <c:pt idx="1">
                  <c:v>19257</c:v>
                </c:pt>
                <c:pt idx="2">
                  <c:v>13122</c:v>
                </c:pt>
                <c:pt idx="3">
                  <c:v>2917</c:v>
                </c:pt>
              </c:numCache>
            </c:numRef>
          </c:bubbleSize>
          <c:bubble3D val="0"/>
          <c:extLst>
            <c:ext xmlns:c15="http://schemas.microsoft.com/office/drawing/2012/chart" uri="{02D57815-91ED-43cb-92C2-25804820EDAC}">
              <c15:datalabelsRange>
                <c15:f>Sheet1!$E$2:$E$10</c15:f>
                <c15:dlblRangeCache>
                  <c:ptCount val="9"/>
                  <c:pt idx="0">
                    <c:v>Malard</c:v>
                  </c:pt>
                  <c:pt idx="1">
                    <c:v>Louis Martin</c:v>
                  </c:pt>
                  <c:pt idx="2">
                    <c:v>Vesselle</c:v>
                  </c:pt>
                  <c:pt idx="3">
                    <c:v>Malard Nicola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9"/>
          <c:min val="2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84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2E5BD79-6FD8-47E2-A4AC-A539B5FF952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4B90B64-B412-468E-B8D3-641B3341CE9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7A32098-7D11-41D5-BC59-D33E61AA04C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7A5B63D-D9BB-4BD0-BE06-5C60CBD06F1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FA59E5DE-DE9B-4CEE-B2AE-B18B8A144E4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4379CB99-B595-4256-AA49-CA68AE5B58D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282ECFAB-808E-471E-803A-F86C50104B0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5C8C4670-8158-40B8-BBD1-B7DC1AD9438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29.215199999999999</c:v>
                </c:pt>
                <c:pt idx="1">
                  <c:v>30.151700000000002</c:v>
                </c:pt>
                <c:pt idx="2">
                  <c:v>31.995200000000001</c:v>
                </c:pt>
                <c:pt idx="3">
                  <c:v>39.242400000000004</c:v>
                </c:pt>
              </c:numCache>
            </c:numRef>
          </c:xVal>
          <c:yVal>
            <c:numRef>
              <c:f>Sheet1!$B$2:$B$5</c:f>
              <c:numCache>
                <c:formatCode>General</c:formatCode>
                <c:ptCount val="4"/>
                <c:pt idx="0">
                  <c:v>0.98599999999999999</c:v>
                </c:pt>
                <c:pt idx="1">
                  <c:v>1.0049999999999999</c:v>
                </c:pt>
                <c:pt idx="2">
                  <c:v>1.0469999999999999</c:v>
                </c:pt>
                <c:pt idx="3">
                  <c:v>1.0920000000000001</c:v>
                </c:pt>
              </c:numCache>
            </c:numRef>
          </c:yVal>
          <c:bubbleSize>
            <c:numRef>
              <c:f>Sheet1!$C$2:$C$5</c:f>
              <c:numCache>
                <c:formatCode>General</c:formatCode>
                <c:ptCount val="4"/>
                <c:pt idx="0">
                  <c:v>32984</c:v>
                </c:pt>
                <c:pt idx="1">
                  <c:v>11729</c:v>
                </c:pt>
                <c:pt idx="2">
                  <c:v>6623</c:v>
                </c:pt>
                <c:pt idx="3">
                  <c:v>1295</c:v>
                </c:pt>
              </c:numCache>
            </c:numRef>
          </c:bubbleSize>
          <c:bubble3D val="0"/>
          <c:extLst>
            <c:ext xmlns:c15="http://schemas.microsoft.com/office/drawing/2012/chart" uri="{02D57815-91ED-43cb-92C2-25804820EDAC}">
              <c15:datalabelsRange>
                <c15:f>Sheet1!$E$2:$E$10</c15:f>
                <c15:dlblRangeCache>
                  <c:ptCount val="9"/>
                  <c:pt idx="0">
                    <c:v>Malard</c:v>
                  </c:pt>
                  <c:pt idx="1">
                    <c:v>Vesselle</c:v>
                  </c:pt>
                  <c:pt idx="2">
                    <c:v>Louis Martin</c:v>
                  </c:pt>
                  <c:pt idx="3">
                    <c:v>Malard Nicola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7"/>
          <c:min val="23"/>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92"/>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26C9348-44F3-461C-BCE6-1F3FFFB707D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807322A-F1CD-437F-A29F-C70364EB141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779FD00-2216-40D5-9675-807E935F0BE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E9E7785-0874-4C50-991C-150872C11DF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A237D753-7122-483C-BC57-1DD22E0A044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820D8684-8ADF-438A-8C51-640E07D46F8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F384BD8D-2F08-483E-9624-D31B003677F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0D412395-5B37-44F4-B911-275CD31AC9B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29.531199999999998</c:v>
                </c:pt>
                <c:pt idx="1">
                  <c:v>30.371099999999998</c:v>
                </c:pt>
                <c:pt idx="2">
                  <c:v>31.214400000000001</c:v>
                </c:pt>
                <c:pt idx="3">
                  <c:v>36.494700000000002</c:v>
                </c:pt>
              </c:numCache>
            </c:numRef>
          </c:xVal>
          <c:yVal>
            <c:numRef>
              <c:f>Sheet1!$B$2:$B$5</c:f>
              <c:numCache>
                <c:formatCode>General</c:formatCode>
                <c:ptCount val="4"/>
                <c:pt idx="0">
                  <c:v>0.98599999999999999</c:v>
                </c:pt>
                <c:pt idx="1">
                  <c:v>1.014</c:v>
                </c:pt>
                <c:pt idx="2">
                  <c:v>1.0409999999999999</c:v>
                </c:pt>
                <c:pt idx="3">
                  <c:v>1.101</c:v>
                </c:pt>
              </c:numCache>
            </c:numRef>
          </c:yVal>
          <c:bubbleSize>
            <c:numRef>
              <c:f>Sheet1!$C$2:$C$5</c:f>
              <c:numCache>
                <c:formatCode>General</c:formatCode>
                <c:ptCount val="4"/>
                <c:pt idx="0">
                  <c:v>508084</c:v>
                </c:pt>
                <c:pt idx="1">
                  <c:v>137581</c:v>
                </c:pt>
                <c:pt idx="2">
                  <c:v>98575</c:v>
                </c:pt>
                <c:pt idx="3">
                  <c:v>10328</c:v>
                </c:pt>
              </c:numCache>
            </c:numRef>
          </c:bubbleSize>
          <c:bubble3D val="0"/>
          <c:extLst>
            <c:ext xmlns:c15="http://schemas.microsoft.com/office/drawing/2012/chart" uri="{02D57815-91ED-43cb-92C2-25804820EDAC}">
              <c15:datalabelsRange>
                <c15:f>Sheet1!$E$2:$E$10</c15:f>
                <c15:dlblRangeCache>
                  <c:ptCount val="9"/>
                  <c:pt idx="0">
                    <c:v>Malard</c:v>
                  </c:pt>
                  <c:pt idx="1">
                    <c:v>Vesselle</c:v>
                  </c:pt>
                  <c:pt idx="2">
                    <c:v>Louis Martin</c:v>
                  </c:pt>
                  <c:pt idx="3">
                    <c:v>Malard Nicola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4"/>
          <c:min val="2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300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933A051F-F5CA-42C2-B4CF-EF4B16D8B91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DA8E5EBA-5A61-4F67-A629-BF7F317BD07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D871-46D6-BBFE-7C00E0D51738}"/>
                </c:ext>
              </c:extLst>
            </c:dLbl>
            <c:dLbl>
              <c:idx val="3"/>
              <c:tx>
                <c:rich>
                  <a:bodyPr/>
                  <a:lstStyle/>
                  <a:p>
                    <a:fld id="{EE3B7321-FFD9-4714-9F87-2EB508CF629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D871-46D6-BBFE-7C00E0D51738}"/>
                </c:ext>
              </c:extLst>
            </c:dLbl>
            <c:dLbl>
              <c:idx val="4"/>
              <c:tx>
                <c:rich>
                  <a:bodyPr/>
                  <a:lstStyle/>
                  <a:p>
                    <a:fld id="{D6562C48-E948-4A86-8497-D1B91448AAC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D871-46D6-BBFE-7C00E0D51738}"/>
                </c:ext>
              </c:extLst>
            </c:dLbl>
            <c:dLbl>
              <c:idx val="5"/>
              <c:tx>
                <c:rich>
                  <a:bodyPr/>
                  <a:lstStyle/>
                  <a:p>
                    <a:fld id="{65DBCD47-577B-421B-8E83-B76C299CF8C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71-46D6-BBFE-7C00E0D51738}"/>
                </c:ext>
              </c:extLst>
            </c:dLbl>
            <c:dLbl>
              <c:idx val="6"/>
              <c:tx>
                <c:rich>
                  <a:bodyPr/>
                  <a:lstStyle/>
                  <a:p>
                    <a:fld id="{36C63127-FBA8-458C-A3E0-EC70FB6D4C8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71-46D6-BBFE-7C00E0D51738}"/>
                </c:ext>
              </c:extLst>
            </c:dLbl>
            <c:dLbl>
              <c:idx val="7"/>
              <c:tx>
                <c:rich>
                  <a:bodyPr/>
                  <a:lstStyle/>
                  <a:p>
                    <a:fld id="{6CF3B94F-58C9-4FB6-AF7D-D40B9D96609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71-46D6-BBFE-7C00E0D51738}"/>
                </c:ext>
              </c:extLst>
            </c:dLbl>
            <c:dLbl>
              <c:idx val="8"/>
              <c:tx>
                <c:rich>
                  <a:bodyPr/>
                  <a:lstStyle/>
                  <a:p>
                    <a:fld id="{D315D42D-8753-4BC2-A953-3140CD12711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29.0535</c:v>
                </c:pt>
                <c:pt idx="1">
                  <c:v>11.4306</c:v>
                </c:pt>
              </c:numCache>
            </c:numRef>
          </c:xVal>
          <c:yVal>
            <c:numRef>
              <c:f>Sheet1!$B$2:$B$3</c:f>
              <c:numCache>
                <c:formatCode>General</c:formatCode>
                <c:ptCount val="2"/>
                <c:pt idx="0">
                  <c:v>1.665</c:v>
                </c:pt>
                <c:pt idx="1">
                  <c:v>0.65500000000000003</c:v>
                </c:pt>
              </c:numCache>
            </c:numRef>
          </c:yVal>
          <c:bubbleSize>
            <c:numRef>
              <c:f>Sheet1!$C$2:$C$3</c:f>
              <c:numCache>
                <c:formatCode>General</c:formatCode>
                <c:ptCount val="2"/>
                <c:pt idx="0">
                  <c:v>74377</c:v>
                </c:pt>
                <c:pt idx="1">
                  <c:v>47963</c:v>
                </c:pt>
              </c:numCache>
            </c:numRef>
          </c:bubbleSize>
          <c:bubble3D val="0"/>
          <c:extLst>
            <c:ext xmlns:c15="http://schemas.microsoft.com/office/drawing/2012/chart" uri="{02D57815-91ED-43cb-92C2-25804820EDAC}">
              <c15:datalabelsRange>
                <c15:f>Sheet1!$E$2:$E$10</c15:f>
                <c15:dlblRangeCache>
                  <c:ptCount val="9"/>
                  <c:pt idx="0">
                    <c:v>De Chanceny</c:v>
                  </c:pt>
                  <c:pt idx="1">
                    <c:v>Lyre's</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5"/>
          <c:min val="9"/>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1D85419-3BE4-42C4-BAFB-DCE9E1CB235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1ED0A59-5CA4-4DA9-A331-AB8953D4CA6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33F02C1-0B64-475B-9E46-960108D6301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390E351-17C9-445F-903E-BDCE8227724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94D4C7AA-A7E4-444D-8819-B86FF6FEE0E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47D33C6E-131A-4D07-A5DE-292039AD294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9A36263C-17E3-4962-A5EB-F0A337C4F5F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09B4CBC6-2DAD-4A28-8C8B-3BEFF411177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29.617699999999999</c:v>
                </c:pt>
                <c:pt idx="1">
                  <c:v>30.427199999999999</c:v>
                </c:pt>
                <c:pt idx="2">
                  <c:v>31.374600000000001</c:v>
                </c:pt>
                <c:pt idx="3">
                  <c:v>35.311599999999999</c:v>
                </c:pt>
              </c:numCache>
            </c:numRef>
          </c:xVal>
          <c:yVal>
            <c:numRef>
              <c:f>Sheet1!$B$2:$B$5</c:f>
              <c:numCache>
                <c:formatCode>General</c:formatCode>
                <c:ptCount val="4"/>
                <c:pt idx="0">
                  <c:v>0.98699999999999999</c:v>
                </c:pt>
                <c:pt idx="1">
                  <c:v>1.016</c:v>
                </c:pt>
                <c:pt idx="2">
                  <c:v>1.042</c:v>
                </c:pt>
                <c:pt idx="3">
                  <c:v>1.0920000000000001</c:v>
                </c:pt>
              </c:numCache>
            </c:numRef>
          </c:yVal>
          <c:bubbleSize>
            <c:numRef>
              <c:f>Sheet1!$C$2:$C$5</c:f>
              <c:numCache>
                <c:formatCode>General</c:formatCode>
                <c:ptCount val="4"/>
                <c:pt idx="0">
                  <c:v>294104</c:v>
                </c:pt>
                <c:pt idx="1">
                  <c:v>80845</c:v>
                </c:pt>
                <c:pt idx="2">
                  <c:v>39281</c:v>
                </c:pt>
                <c:pt idx="3">
                  <c:v>10311</c:v>
                </c:pt>
              </c:numCache>
            </c:numRef>
          </c:bubbleSize>
          <c:bubble3D val="0"/>
          <c:extLst>
            <c:ext xmlns:c15="http://schemas.microsoft.com/office/drawing/2012/chart" uri="{02D57815-91ED-43cb-92C2-25804820EDAC}">
              <c15:datalabelsRange>
                <c15:f>Sheet1!$E$2:$E$10</c15:f>
                <c15:dlblRangeCache>
                  <c:ptCount val="9"/>
                  <c:pt idx="0">
                    <c:v>Malard</c:v>
                  </c:pt>
                  <c:pt idx="1">
                    <c:v>Vesselle</c:v>
                  </c:pt>
                  <c:pt idx="2">
                    <c:v>Louis Martin</c:v>
                  </c:pt>
                  <c:pt idx="3">
                    <c:v>Malard Nicola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2"/>
          <c:min val="2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92"/>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46F64FA-10BF-467E-8C1C-4DCDC91E627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24470C5-36C9-408F-9E44-7F0DFA21ED7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D7A9345-B9CC-41F6-B07B-96EDD1A7560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87DC35D-495E-421A-9D47-DD2F6F574BF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A04CED40-EFF1-437E-AB51-8F21886239D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41BB1981-B775-47DE-AB7A-74E998C4580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7AF65224-B093-4B83-B864-9E499A37A0A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C8041E71-BC8E-41C5-B2D0-526765EC588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29.588699999999999</c:v>
                </c:pt>
                <c:pt idx="1">
                  <c:v>30.354199999999999</c:v>
                </c:pt>
                <c:pt idx="2">
                  <c:v>31.344000000000001</c:v>
                </c:pt>
                <c:pt idx="3">
                  <c:v>35.375900000000001</c:v>
                </c:pt>
              </c:numCache>
            </c:numRef>
          </c:xVal>
          <c:yVal>
            <c:numRef>
              <c:f>Sheet1!$B$2:$B$5</c:f>
              <c:numCache>
                <c:formatCode>General</c:formatCode>
                <c:ptCount val="4"/>
                <c:pt idx="0">
                  <c:v>0.98799999999999999</c:v>
                </c:pt>
                <c:pt idx="1">
                  <c:v>1.014</c:v>
                </c:pt>
                <c:pt idx="2">
                  <c:v>1.044</c:v>
                </c:pt>
                <c:pt idx="3">
                  <c:v>1.095</c:v>
                </c:pt>
              </c:numCache>
            </c:numRef>
          </c:yVal>
          <c:bubbleSize>
            <c:numRef>
              <c:f>Sheet1!$C$2:$C$5</c:f>
              <c:numCache>
                <c:formatCode>General</c:formatCode>
                <c:ptCount val="4"/>
                <c:pt idx="0">
                  <c:v>452589</c:v>
                </c:pt>
                <c:pt idx="1">
                  <c:v>112098</c:v>
                </c:pt>
                <c:pt idx="2">
                  <c:v>59585</c:v>
                </c:pt>
                <c:pt idx="3">
                  <c:v>14398</c:v>
                </c:pt>
              </c:numCache>
            </c:numRef>
          </c:bubbleSize>
          <c:bubble3D val="0"/>
          <c:extLst>
            <c:ext xmlns:c15="http://schemas.microsoft.com/office/drawing/2012/chart" uri="{02D57815-91ED-43cb-92C2-25804820EDAC}">
              <c15:datalabelsRange>
                <c15:f>Sheet1!$E$2:$E$10</c15:f>
                <c15:dlblRangeCache>
                  <c:ptCount val="9"/>
                  <c:pt idx="0">
                    <c:v>Malard</c:v>
                  </c:pt>
                  <c:pt idx="1">
                    <c:v>Vesselle</c:v>
                  </c:pt>
                  <c:pt idx="2">
                    <c:v>Louis Martin</c:v>
                  </c:pt>
                  <c:pt idx="3">
                    <c:v>Malard Nicola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2"/>
          <c:min val="2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94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FC765D2-2457-4784-8D62-24C9FDE79DF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17E29A0-E9AC-4EAE-9E6A-21F34214264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ABE2E84-B842-475C-8523-C5BE9FD1B3E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28C8B86-9C32-405F-B895-C177DD7246B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673B8DE0-88A7-4178-89E4-0C1398B2DCF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7C133444-B763-4D96-9C20-7733E2F192A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2A231011-C80A-49D0-B81D-6D854FE661C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188C60C0-F5C0-48C9-9219-DD5FA1E6758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29.644600000000001</c:v>
                </c:pt>
                <c:pt idx="1">
                  <c:v>30.648399999999999</c:v>
                </c:pt>
                <c:pt idx="2">
                  <c:v>31.499199999999998</c:v>
                </c:pt>
                <c:pt idx="3">
                  <c:v>35.204099999999997</c:v>
                </c:pt>
              </c:numCache>
            </c:numRef>
          </c:xVal>
          <c:yVal>
            <c:numRef>
              <c:f>Sheet1!$B$2:$B$5</c:f>
              <c:numCache>
                <c:formatCode>General</c:formatCode>
                <c:ptCount val="4"/>
                <c:pt idx="0">
                  <c:v>0.98699999999999999</c:v>
                </c:pt>
                <c:pt idx="1">
                  <c:v>1.02</c:v>
                </c:pt>
                <c:pt idx="2">
                  <c:v>1.0489999999999999</c:v>
                </c:pt>
                <c:pt idx="3">
                  <c:v>1.0669999999999999</c:v>
                </c:pt>
              </c:numCache>
            </c:numRef>
          </c:yVal>
          <c:bubbleSize>
            <c:numRef>
              <c:f>Sheet1!$C$2:$C$5</c:f>
              <c:numCache>
                <c:formatCode>General</c:formatCode>
                <c:ptCount val="4"/>
                <c:pt idx="0">
                  <c:v>397653</c:v>
                </c:pt>
                <c:pt idx="1">
                  <c:v>109231</c:v>
                </c:pt>
                <c:pt idx="2">
                  <c:v>41012</c:v>
                </c:pt>
                <c:pt idx="3">
                  <c:v>15349</c:v>
                </c:pt>
              </c:numCache>
            </c:numRef>
          </c:bubbleSize>
          <c:bubble3D val="0"/>
          <c:extLst>
            <c:ext xmlns:c15="http://schemas.microsoft.com/office/drawing/2012/chart" uri="{02D57815-91ED-43cb-92C2-25804820EDAC}">
              <c15:datalabelsRange>
                <c15:f>Sheet1!$E$2:$E$10</c15:f>
                <c15:dlblRangeCache>
                  <c:ptCount val="9"/>
                  <c:pt idx="0">
                    <c:v>Malard</c:v>
                  </c:pt>
                  <c:pt idx="1">
                    <c:v>Vesselle</c:v>
                  </c:pt>
                  <c:pt idx="2">
                    <c:v>Louis Martin</c:v>
                  </c:pt>
                  <c:pt idx="3">
                    <c:v>Malard Nicola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2"/>
          <c:min val="2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66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B9EFC71-CC30-4F3E-A0A9-1EEDF28D130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25F8046-5A7C-427B-8783-292661B072E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23AEEC4-E1C8-4AED-971F-FD425C200E2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DC2E868-7E10-4CC0-94E6-26C6964E46F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FBED336C-3BE2-4218-9C12-EE2E9ECCFCD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10C0FD2D-AE6B-4E8A-9F00-0D50307D4A1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7232B00D-0B28-4E30-8C05-6E8F27C9574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349D2DC3-DBF5-496F-BBB8-5F913E998C2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29.6189</c:v>
                </c:pt>
                <c:pt idx="1">
                  <c:v>30.450399999999998</c:v>
                </c:pt>
                <c:pt idx="2">
                  <c:v>31.941800000000001</c:v>
                </c:pt>
                <c:pt idx="3">
                  <c:v>34.472900000000003</c:v>
                </c:pt>
              </c:numCache>
            </c:numRef>
          </c:xVal>
          <c:yVal>
            <c:numRef>
              <c:f>Sheet1!$B$2:$B$5</c:f>
              <c:numCache>
                <c:formatCode>General</c:formatCode>
                <c:ptCount val="4"/>
                <c:pt idx="0">
                  <c:v>0.98599999999999999</c:v>
                </c:pt>
                <c:pt idx="1">
                  <c:v>1.016</c:v>
                </c:pt>
                <c:pt idx="2">
                  <c:v>1.0640000000000001</c:v>
                </c:pt>
                <c:pt idx="3">
                  <c:v>1.06</c:v>
                </c:pt>
              </c:numCache>
            </c:numRef>
          </c:yVal>
          <c:bubbleSize>
            <c:numRef>
              <c:f>Sheet1!$C$2:$C$5</c:f>
              <c:numCache>
                <c:formatCode>General</c:formatCode>
                <c:ptCount val="4"/>
                <c:pt idx="0">
                  <c:v>354983</c:v>
                </c:pt>
                <c:pt idx="1">
                  <c:v>90468</c:v>
                </c:pt>
                <c:pt idx="2">
                  <c:v>40598</c:v>
                </c:pt>
                <c:pt idx="3">
                  <c:v>19684</c:v>
                </c:pt>
              </c:numCache>
            </c:numRef>
          </c:bubbleSize>
          <c:bubble3D val="0"/>
          <c:extLst>
            <c:ext xmlns:c15="http://schemas.microsoft.com/office/drawing/2012/chart" uri="{02D57815-91ED-43cb-92C2-25804820EDAC}">
              <c15:datalabelsRange>
                <c15:f>Sheet1!$E$2:$E$10</c15:f>
                <c15:dlblRangeCache>
                  <c:ptCount val="9"/>
                  <c:pt idx="0">
                    <c:v>Malard</c:v>
                  </c:pt>
                  <c:pt idx="1">
                    <c:v>Vesselle</c:v>
                  </c:pt>
                  <c:pt idx="2">
                    <c:v>Louis Martin</c:v>
                  </c:pt>
                  <c:pt idx="3">
                    <c:v>Malard Nicola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1"/>
          <c:min val="2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64"/>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B689E1C-AB74-4AB3-9716-DADCF55B7FE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BAC6CAD-0615-4C1D-87C4-B815646C0C1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E6F4774-B861-4174-9F3F-69B7B753B0C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9D4E8B5C-6881-40B2-9779-77662FFDB9E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A87EB75E-2AA4-4215-8B8A-EAEC5076BC2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93505070-E2DF-43F3-9E39-9024FC7C2DB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70124E74-929F-4FD7-945C-761BD437137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EBC7A0BA-8D21-4828-BBD5-C51621831EF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30.164100000000001</c:v>
                </c:pt>
                <c:pt idx="1">
                  <c:v>31.168800000000001</c:v>
                </c:pt>
                <c:pt idx="2">
                  <c:v>43.229799999999997</c:v>
                </c:pt>
              </c:numCache>
            </c:numRef>
          </c:xVal>
          <c:yVal>
            <c:numRef>
              <c:f>Sheet1!$B$2:$B$4</c:f>
              <c:numCache>
                <c:formatCode>General</c:formatCode>
                <c:ptCount val="3"/>
                <c:pt idx="0">
                  <c:v>0.95399999999999996</c:v>
                </c:pt>
                <c:pt idx="1">
                  <c:v>0.98599999999999999</c:v>
                </c:pt>
                <c:pt idx="2">
                  <c:v>1.369</c:v>
                </c:pt>
              </c:numCache>
            </c:numRef>
          </c:yVal>
          <c:bubbleSize>
            <c:numRef>
              <c:f>Sheet1!$C$2:$C$4</c:f>
              <c:numCache>
                <c:formatCode>General</c:formatCode>
                <c:ptCount val="3"/>
                <c:pt idx="0">
                  <c:v>2201675</c:v>
                </c:pt>
                <c:pt idx="1">
                  <c:v>1768174</c:v>
                </c:pt>
                <c:pt idx="2">
                  <c:v>478122</c:v>
                </c:pt>
              </c:numCache>
            </c:numRef>
          </c:bubbleSize>
          <c:bubble3D val="0"/>
          <c:extLst>
            <c:ext xmlns:c15="http://schemas.microsoft.com/office/drawing/2012/chart" uri="{02D57815-91ED-43cb-92C2-25804820EDAC}">
              <c15:datalabelsRange>
                <c15:f>Sheet1!$E$2:$E$10</c15:f>
                <c15:dlblRangeCache>
                  <c:ptCount val="9"/>
                  <c:pt idx="0">
                    <c:v>C&amp;C Sas France</c:v>
                  </c:pt>
                  <c:pt idx="1">
                    <c:v>Cfgv</c:v>
                  </c:pt>
                  <c:pt idx="2">
                    <c:v>Mhc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2"/>
          <c:min val="2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6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4ED762A-37F2-4C7B-AF2C-E8331068495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FB39E0D-FD5A-4627-80CD-F29F33E80EE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2A073FB-15D2-4A36-900E-6CBC0C65A81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67ECB9A5-F2C4-4E06-81C5-D60FE6634D3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9DF0B79E-4F78-4E6C-8F17-BB83D338580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2BBBC67D-9D33-4A48-BE63-9FF8F84E4AA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8A3DD4CA-23AC-41AE-8400-D49E2A8EEF9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2B70869C-1504-4882-AF77-C47AE8E9D51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31.206</c:v>
                </c:pt>
                <c:pt idx="1">
                  <c:v>43.504300000000001</c:v>
                </c:pt>
                <c:pt idx="2">
                  <c:v>39.130899999999997</c:v>
                </c:pt>
              </c:numCache>
            </c:numRef>
          </c:xVal>
          <c:yVal>
            <c:numRef>
              <c:f>Sheet1!$B$2:$B$4</c:f>
              <c:numCache>
                <c:formatCode>General</c:formatCode>
                <c:ptCount val="3"/>
                <c:pt idx="0">
                  <c:v>0.93700000000000006</c:v>
                </c:pt>
                <c:pt idx="1">
                  <c:v>1.3069999999999999</c:v>
                </c:pt>
                <c:pt idx="2">
                  <c:v>1.1140000000000001</c:v>
                </c:pt>
              </c:numCache>
            </c:numRef>
          </c:yVal>
          <c:bubbleSize>
            <c:numRef>
              <c:f>Sheet1!$C$2:$C$4</c:f>
              <c:numCache>
                <c:formatCode>General</c:formatCode>
                <c:ptCount val="3"/>
                <c:pt idx="0">
                  <c:v>1767506</c:v>
                </c:pt>
                <c:pt idx="1">
                  <c:v>484768</c:v>
                </c:pt>
                <c:pt idx="2">
                  <c:v>30796</c:v>
                </c:pt>
              </c:numCache>
            </c:numRef>
          </c:bubbleSize>
          <c:bubble3D val="0"/>
          <c:extLst>
            <c:ext xmlns:c15="http://schemas.microsoft.com/office/drawing/2012/chart" uri="{02D57815-91ED-43cb-92C2-25804820EDAC}">
              <c15:datalabelsRange>
                <c15:f>Sheet1!$E$2:$E$10</c15:f>
                <c15:dlblRangeCache>
                  <c:ptCount val="9"/>
                  <c:pt idx="0">
                    <c:v>Cfgv</c:v>
                  </c:pt>
                  <c:pt idx="1">
                    <c:v>Mhcs</c:v>
                  </c:pt>
                  <c:pt idx="2">
                    <c:v>C&amp;C Sas Franc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2"/>
          <c:min val="2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06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5A720C9-BB6C-4756-BFEA-4FEF93DBCDC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EE32173E-7CB5-41BA-8209-79ED78689BD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A35D6FCD-0B5A-4308-A2F9-36DCCC1450F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64FF755A-EA68-4EE3-84DC-8831A1DA737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9E688854-E9B9-47C4-85DE-975C7797E57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06C51D58-0EFC-48EA-9261-1E79E9B8690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1FF08B7A-7B70-4E4E-B11C-65658F4B349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92D624F5-320E-47AB-AB21-2E205BDCDBD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30.0794</c:v>
                </c:pt>
              </c:numCache>
            </c:numRef>
          </c:xVal>
          <c:yVal>
            <c:numRef>
              <c:f>Sheet1!$B$2:$B$2</c:f>
              <c:numCache>
                <c:formatCode>General</c:formatCode>
                <c:ptCount val="1"/>
                <c:pt idx="0">
                  <c:v>1</c:v>
                </c:pt>
              </c:numCache>
            </c:numRef>
          </c:yVal>
          <c:bubbleSize>
            <c:numRef>
              <c:f>Sheet1!$C$2:$C$2</c:f>
              <c:numCache>
                <c:formatCode>General</c:formatCode>
                <c:ptCount val="1"/>
                <c:pt idx="0">
                  <c:v>2170979</c:v>
                </c:pt>
              </c:numCache>
            </c:numRef>
          </c:bubbleSize>
          <c:bubble3D val="0"/>
          <c:extLst>
            <c:ext xmlns:c15="http://schemas.microsoft.com/office/drawing/2012/chart" uri="{02D57815-91ED-43cb-92C2-25804820EDAC}">
              <c15:datalabelsRange>
                <c15:f>Sheet1!$E$2:$E$10</c15:f>
                <c15:dlblRangeCache>
                  <c:ptCount val="9"/>
                  <c:pt idx="0">
                    <c:v>C&amp;C Sas Franc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6"/>
          <c:min val="2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FD4192C-D1AD-4323-B67D-07F76406FED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D7DE97B-73D1-45C3-AAAC-96723C7A898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5FA2EAE-59D1-43F3-A565-8A072CC4686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3E4C4D20-1E08-4C63-B09D-BC5EA6A5313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BEDD3512-AD77-4BF7-BAD9-7D44C73D4AB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36BDBA2A-EC54-4BB0-848C-F853A3C8533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9784C78C-744D-45AB-8211-B79E268FE69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BE7E8581-D0A6-40FB-A7F1-466F8B38F59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31.183</c:v>
                </c:pt>
                <c:pt idx="1">
                  <c:v>43.559199999999997</c:v>
                </c:pt>
                <c:pt idx="2">
                  <c:v>38.469000000000001</c:v>
                </c:pt>
              </c:numCache>
            </c:numRef>
          </c:xVal>
          <c:yVal>
            <c:numRef>
              <c:f>Sheet1!$B$2:$B$4</c:f>
              <c:numCache>
                <c:formatCode>General</c:formatCode>
                <c:ptCount val="3"/>
                <c:pt idx="0">
                  <c:v>0.94</c:v>
                </c:pt>
                <c:pt idx="1">
                  <c:v>1.3120000000000001</c:v>
                </c:pt>
                <c:pt idx="2">
                  <c:v>1.1519999999999999</c:v>
                </c:pt>
              </c:numCache>
            </c:numRef>
          </c:yVal>
          <c:bubbleSize>
            <c:numRef>
              <c:f>Sheet1!$C$2:$C$4</c:f>
              <c:numCache>
                <c:formatCode>General</c:formatCode>
                <c:ptCount val="3"/>
                <c:pt idx="0">
                  <c:v>827128</c:v>
                </c:pt>
                <c:pt idx="1">
                  <c:v>211001</c:v>
                </c:pt>
                <c:pt idx="2">
                  <c:v>17388</c:v>
                </c:pt>
              </c:numCache>
            </c:numRef>
          </c:bubbleSize>
          <c:bubble3D val="0"/>
          <c:extLst>
            <c:ext xmlns:c15="http://schemas.microsoft.com/office/drawing/2012/chart" uri="{02D57815-91ED-43cb-92C2-25804820EDAC}">
              <c15:datalabelsRange>
                <c15:f>Sheet1!$E$2:$E$10</c15:f>
                <c15:dlblRangeCache>
                  <c:ptCount val="9"/>
                  <c:pt idx="0">
                    <c:v>Cfgv</c:v>
                  </c:pt>
                  <c:pt idx="1">
                    <c:v>Mhcs</c:v>
                  </c:pt>
                  <c:pt idx="2">
                    <c:v>C&amp;C Sas Franc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2"/>
          <c:min val="2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12"/>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43AB400-4FE5-43ED-8A24-B53E43C4D02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858D176-37E2-4022-8C3B-D37A61A58FD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55D0A4A-90D0-4EB9-8FE4-F67AEACE275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66E7E020-8510-45E4-ACDE-81B31E9F0EE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26B7D78C-C6A5-4D9D-A565-28CB7809291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E306D517-26E4-4A5F-9236-016CE8E0361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5A17BA96-7D3B-4D1B-9C56-8DD1C5870F5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2DFEAE4A-87BD-4041-80F9-9A3BE652881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31.057600000000001</c:v>
                </c:pt>
                <c:pt idx="1">
                  <c:v>43.201500000000003</c:v>
                </c:pt>
                <c:pt idx="2">
                  <c:v>39.285699999999999</c:v>
                </c:pt>
              </c:numCache>
            </c:numRef>
          </c:xVal>
          <c:yVal>
            <c:numRef>
              <c:f>Sheet1!$B$2:$B$4</c:f>
              <c:numCache>
                <c:formatCode>General</c:formatCode>
                <c:ptCount val="3"/>
                <c:pt idx="0">
                  <c:v>0.94499999999999995</c:v>
                </c:pt>
                <c:pt idx="1">
                  <c:v>1.3169999999999999</c:v>
                </c:pt>
                <c:pt idx="2">
                  <c:v>1.1459999999999999</c:v>
                </c:pt>
              </c:numCache>
            </c:numRef>
          </c:yVal>
          <c:bubbleSize>
            <c:numRef>
              <c:f>Sheet1!$C$2:$C$4</c:f>
              <c:numCache>
                <c:formatCode>General</c:formatCode>
                <c:ptCount val="3"/>
                <c:pt idx="0">
                  <c:v>331167</c:v>
                </c:pt>
                <c:pt idx="1">
                  <c:v>75689</c:v>
                </c:pt>
                <c:pt idx="2">
                  <c:v>5225</c:v>
                </c:pt>
              </c:numCache>
            </c:numRef>
          </c:bubbleSize>
          <c:bubble3D val="0"/>
          <c:extLst>
            <c:ext xmlns:c15="http://schemas.microsoft.com/office/drawing/2012/chart" uri="{02D57815-91ED-43cb-92C2-25804820EDAC}">
              <c15:datalabelsRange>
                <c15:f>Sheet1!$E$2:$E$10</c15:f>
                <c15:dlblRangeCache>
                  <c:ptCount val="9"/>
                  <c:pt idx="0">
                    <c:v>Cfgv</c:v>
                  </c:pt>
                  <c:pt idx="1">
                    <c:v>Mhcs</c:v>
                  </c:pt>
                  <c:pt idx="2">
                    <c:v>C&amp;C Sas Franc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2"/>
          <c:min val="2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16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6B3E3E7-11E1-4BDA-AF15-1DA4B2C7550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A21AFB6-BCA2-4543-A660-A11461F7EDF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07AF505-513A-4589-BE30-C876E755D28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17D229DF-F1C5-41EB-A7AC-A9B66099A98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85C8B3B0-3028-4EFA-94E8-CF21AE95787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646181DA-6DEB-4D11-AB4C-2337EC288DA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4CA65EA8-C56E-4E6A-ACB6-A1124AABCC7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DC308090-C461-45B6-BC90-1E8135B15AE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31.551100000000002</c:v>
                </c:pt>
                <c:pt idx="1">
                  <c:v>43.418399999999998</c:v>
                </c:pt>
                <c:pt idx="2">
                  <c:v>39.845399999999998</c:v>
                </c:pt>
              </c:numCache>
            </c:numRef>
          </c:xVal>
          <c:yVal>
            <c:numRef>
              <c:f>Sheet1!$B$2:$B$4</c:f>
              <c:numCache>
                <c:formatCode>General</c:formatCode>
                <c:ptCount val="3"/>
                <c:pt idx="0">
                  <c:v>0.93600000000000005</c:v>
                </c:pt>
                <c:pt idx="1">
                  <c:v>1.2929999999999999</c:v>
                </c:pt>
                <c:pt idx="2">
                  <c:v>1.0620000000000001</c:v>
                </c:pt>
              </c:numCache>
            </c:numRef>
          </c:yVal>
          <c:bubbleSize>
            <c:numRef>
              <c:f>Sheet1!$C$2:$C$4</c:f>
              <c:numCache>
                <c:formatCode>General</c:formatCode>
                <c:ptCount val="3"/>
                <c:pt idx="0">
                  <c:v>218807</c:v>
                </c:pt>
                <c:pt idx="1">
                  <c:v>63304</c:v>
                </c:pt>
                <c:pt idx="2">
                  <c:v>3865</c:v>
                </c:pt>
              </c:numCache>
            </c:numRef>
          </c:bubbleSize>
          <c:bubble3D val="0"/>
          <c:extLst>
            <c:ext xmlns:c15="http://schemas.microsoft.com/office/drawing/2012/chart" uri="{02D57815-91ED-43cb-92C2-25804820EDAC}">
              <c15:datalabelsRange>
                <c15:f>Sheet1!$E$2:$E$10</c15:f>
                <c15:dlblRangeCache>
                  <c:ptCount val="9"/>
                  <c:pt idx="0">
                    <c:v>Cfgv</c:v>
                  </c:pt>
                  <c:pt idx="1">
                    <c:v>Mhcs</c:v>
                  </c:pt>
                  <c:pt idx="2">
                    <c:v>C&amp;C Sas Franc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2"/>
          <c:min val="2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492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AC05864-F076-4E1B-B967-3212A84A8BF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91846E4-B131-4667-B32F-696B30A5107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52EAE3B-EE3A-48AF-98AD-FEFE7C30F8E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21E7ECF-06F9-483A-9EBB-9173568CAFC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90A0B23-BEA2-49E9-B873-A8825EE2E3A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64EA438-130A-4447-A649-2D267707C09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68CC5CFF-95BB-4E91-ADD5-653DB5CB8E9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6DD7431D-C7D6-42FE-8522-0C73446A826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69.515299999999996</c:v>
                </c:pt>
                <c:pt idx="1">
                  <c:v>23.7239</c:v>
                </c:pt>
                <c:pt idx="2">
                  <c:v>49.200299999999999</c:v>
                </c:pt>
                <c:pt idx="3">
                  <c:v>31.5063</c:v>
                </c:pt>
                <c:pt idx="4">
                  <c:v>52.281500000000001</c:v>
                </c:pt>
                <c:pt idx="5">
                  <c:v>32.801400000000001</c:v>
                </c:pt>
                <c:pt idx="6">
                  <c:v>29.312200000000001</c:v>
                </c:pt>
                <c:pt idx="7">
                  <c:v>30.9068</c:v>
                </c:pt>
              </c:numCache>
            </c:numRef>
          </c:xVal>
          <c:yVal>
            <c:numRef>
              <c:f>Sheet1!$B$2:$B$9</c:f>
              <c:numCache>
                <c:formatCode>General</c:formatCode>
                <c:ptCount val="8"/>
                <c:pt idx="0">
                  <c:v>1.625</c:v>
                </c:pt>
                <c:pt idx="1">
                  <c:v>0.56499999999999995</c:v>
                </c:pt>
                <c:pt idx="2">
                  <c:v>1.141</c:v>
                </c:pt>
                <c:pt idx="3">
                  <c:v>0.748</c:v>
                </c:pt>
                <c:pt idx="4">
                  <c:v>1.0960000000000001</c:v>
                </c:pt>
                <c:pt idx="5">
                  <c:v>0.75700000000000001</c:v>
                </c:pt>
                <c:pt idx="6">
                  <c:v>0.69499999999999995</c:v>
                </c:pt>
                <c:pt idx="7">
                  <c:v>0.73299999999999998</c:v>
                </c:pt>
              </c:numCache>
            </c:numRef>
          </c:yVal>
          <c:bubbleSize>
            <c:numRef>
              <c:f>Sheet1!$C$2:$C$9</c:f>
              <c:numCache>
                <c:formatCode>General</c:formatCode>
                <c:ptCount val="8"/>
                <c:pt idx="0">
                  <c:v>2733549</c:v>
                </c:pt>
                <c:pt idx="1">
                  <c:v>1023352</c:v>
                </c:pt>
                <c:pt idx="2">
                  <c:v>901841</c:v>
                </c:pt>
                <c:pt idx="3">
                  <c:v>627069</c:v>
                </c:pt>
                <c:pt idx="4">
                  <c:v>511679</c:v>
                </c:pt>
                <c:pt idx="5">
                  <c:v>429337</c:v>
                </c:pt>
                <c:pt idx="6">
                  <c:v>405270</c:v>
                </c:pt>
                <c:pt idx="7">
                  <c:v>374003</c:v>
                </c:pt>
              </c:numCache>
            </c:numRef>
          </c:bubbleSize>
          <c:bubble3D val="0"/>
          <c:extLst>
            <c:ext xmlns:c15="http://schemas.microsoft.com/office/drawing/2012/chart" uri="{02D57815-91ED-43cb-92C2-25804820EDAC}">
              <c15:datalabelsRange>
                <c15:f>Sheet1!$E$2:$E$10</c15:f>
                <c15:dlblRangeCache>
                  <c:ptCount val="9"/>
                  <c:pt idx="0">
                    <c:v>Ruinart</c:v>
                  </c:pt>
                  <c:pt idx="1">
                    <c:v>Nicolas</c:v>
                  </c:pt>
                  <c:pt idx="2">
                    <c:v>Deutz</c:v>
                  </c:pt>
                  <c:pt idx="3">
                    <c:v>Malard</c:v>
                  </c:pt>
                  <c:pt idx="4">
                    <c:v>Laurent Perrier</c:v>
                  </c:pt>
                  <c:pt idx="5">
                    <c:v>Nicolas Feuillatte</c:v>
                  </c:pt>
                  <c:pt idx="6">
                    <c:v>Heidsieck &amp; Co Monopole</c:v>
                  </c:pt>
                  <c:pt idx="7">
                    <c:v>De Blign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3"/>
          <c:min val="19"/>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5CD4DB0-E6E3-4AA0-A44B-88E780A8014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FCCA9A8-F4E8-4857-8A06-BC828B93373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8B61C16F-AE51-4CE3-8C9C-9C7651D2FE4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B5013471-3806-43D7-AB42-280FC1B9DFC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A0AF0611-57D2-40B4-93A5-A4954164304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FA6EC708-156D-460D-95CF-0BD0B88BBA9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DD7199FE-2B64-4769-859F-AE739BF46F3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ECD46FD5-AF94-44F4-AFEC-F16303C1F3B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31.242999999999999</c:v>
                </c:pt>
                <c:pt idx="1">
                  <c:v>42.777900000000002</c:v>
                </c:pt>
              </c:numCache>
            </c:numRef>
          </c:xVal>
          <c:yVal>
            <c:numRef>
              <c:f>Sheet1!$B$2:$B$3</c:f>
              <c:numCache>
                <c:formatCode>General</c:formatCode>
                <c:ptCount val="2"/>
                <c:pt idx="0">
                  <c:v>0.92200000000000004</c:v>
                </c:pt>
                <c:pt idx="1">
                  <c:v>1.2669999999999999</c:v>
                </c:pt>
              </c:numCache>
            </c:numRef>
          </c:yVal>
          <c:bubbleSize>
            <c:numRef>
              <c:f>Sheet1!$C$2:$C$3</c:f>
              <c:numCache>
                <c:formatCode>General</c:formatCode>
                <c:ptCount val="2"/>
                <c:pt idx="0">
                  <c:v>161589</c:v>
                </c:pt>
                <c:pt idx="1">
                  <c:v>64894</c:v>
                </c:pt>
              </c:numCache>
            </c:numRef>
          </c:bubbleSize>
          <c:bubble3D val="0"/>
          <c:extLst>
            <c:ext xmlns:c15="http://schemas.microsoft.com/office/drawing/2012/chart" uri="{02D57815-91ED-43cb-92C2-25804820EDAC}">
              <c15:datalabelsRange>
                <c15:f>Sheet1!$E$2:$E$10</c15:f>
                <c15:dlblRangeCache>
                  <c:ptCount val="9"/>
                  <c:pt idx="0">
                    <c:v>Cfgv</c:v>
                  </c:pt>
                  <c:pt idx="1">
                    <c:v>Mhc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1"/>
          <c:min val="2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466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D223808-3B99-48B6-8BA5-07AD580F69B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0C887AB-D17E-4BB5-822C-176D42B2431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587F8C4A-2848-4F37-855E-956CEDB48D7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9D823B57-E859-4A1D-BC78-9D97D78ECE6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BAD2DF3C-8A37-4C0C-BF34-7E49320E0D5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73D2E942-4F32-4025-B3A2-5BAC1C53989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B4C68C4B-B6D3-4359-823C-BB9C4D93A1F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E0E2CEF7-463E-46A6-B29C-BCF72B05469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30.879000000000001</c:v>
                </c:pt>
                <c:pt idx="1">
                  <c:v>44.436199999999999</c:v>
                </c:pt>
              </c:numCache>
            </c:numRef>
          </c:xVal>
          <c:yVal>
            <c:numRef>
              <c:f>Sheet1!$B$2:$B$3</c:f>
              <c:numCache>
                <c:formatCode>General</c:formatCode>
                <c:ptCount val="2"/>
                <c:pt idx="0">
                  <c:v>0.92900000000000005</c:v>
                </c:pt>
                <c:pt idx="1">
                  <c:v>1.3420000000000001</c:v>
                </c:pt>
              </c:numCache>
            </c:numRef>
          </c:yVal>
          <c:bubbleSize>
            <c:numRef>
              <c:f>Sheet1!$C$2:$C$3</c:f>
              <c:numCache>
                <c:formatCode>General</c:formatCode>
                <c:ptCount val="2"/>
                <c:pt idx="0">
                  <c:v>79359</c:v>
                </c:pt>
                <c:pt idx="1">
                  <c:v>23329</c:v>
                </c:pt>
              </c:numCache>
            </c:numRef>
          </c:bubbleSize>
          <c:bubble3D val="0"/>
          <c:extLst>
            <c:ext xmlns:c15="http://schemas.microsoft.com/office/drawing/2012/chart" uri="{02D57815-91ED-43cb-92C2-25804820EDAC}">
              <c15:datalabelsRange>
                <c15:f>Sheet1!$E$2:$E$10</c15:f>
                <c15:dlblRangeCache>
                  <c:ptCount val="9"/>
                  <c:pt idx="0">
                    <c:v>Cfgv</c:v>
                  </c:pt>
                  <c:pt idx="1">
                    <c:v>Mhc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3"/>
          <c:min val="2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42"/>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7499767-6AF9-4C49-BC49-AF88257F3AE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E58280F-516C-482A-AA7C-126EB70FC57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88CC05D-A7EC-44C6-83D1-EE6BA13B71E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64F883B7-E7B0-42DF-9B22-AFE0E76A833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17CBBE81-0089-4AB5-97EF-6215905C605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C36B17F1-A91F-4D1D-823E-83E4568316D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EEB94AD7-8E43-47A7-99B4-E35A206E8A9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237463F3-C88A-4F73-A436-CCAB6CD0BCF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31.1982</c:v>
                </c:pt>
                <c:pt idx="1">
                  <c:v>43.2714</c:v>
                </c:pt>
                <c:pt idx="2">
                  <c:v>38.2958</c:v>
                </c:pt>
              </c:numCache>
            </c:numRef>
          </c:xVal>
          <c:yVal>
            <c:numRef>
              <c:f>Sheet1!$B$2:$B$4</c:f>
              <c:numCache>
                <c:formatCode>General</c:formatCode>
                <c:ptCount val="3"/>
                <c:pt idx="0">
                  <c:v>0.93600000000000005</c:v>
                </c:pt>
                <c:pt idx="1">
                  <c:v>1.298</c:v>
                </c:pt>
                <c:pt idx="2">
                  <c:v>1.1539999999999999</c:v>
                </c:pt>
              </c:numCache>
            </c:numRef>
          </c:yVal>
          <c:bubbleSize>
            <c:numRef>
              <c:f>Sheet1!$C$2:$C$4</c:f>
              <c:numCache>
                <c:formatCode>General</c:formatCode>
                <c:ptCount val="3"/>
                <c:pt idx="0">
                  <c:v>1328637</c:v>
                </c:pt>
                <c:pt idx="1">
                  <c:v>380745</c:v>
                </c:pt>
                <c:pt idx="2">
                  <c:v>21752</c:v>
                </c:pt>
              </c:numCache>
            </c:numRef>
          </c:bubbleSize>
          <c:bubble3D val="0"/>
          <c:extLst>
            <c:ext xmlns:c15="http://schemas.microsoft.com/office/drawing/2012/chart" uri="{02D57815-91ED-43cb-92C2-25804820EDAC}">
              <c15:datalabelsRange>
                <c15:f>Sheet1!$E$2:$E$10</c15:f>
                <c15:dlblRangeCache>
                  <c:ptCount val="9"/>
                  <c:pt idx="0">
                    <c:v>Cfgv</c:v>
                  </c:pt>
                  <c:pt idx="1">
                    <c:v>Mhcs</c:v>
                  </c:pt>
                  <c:pt idx="2">
                    <c:v>C&amp;C Sas Franc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2"/>
          <c:min val="2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498"/>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24E1F9D-103E-4E96-B60B-13B7406F0F1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79CC1D0-2B60-4C62-80A9-18A4FE617AC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015632CE-88CC-4578-BDEA-CC505D3C71C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9FC2FB40-BEDA-44CD-8CC1-9B0CE8DE965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2EB742CB-C448-4238-BD93-ABC73FFE71E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C2F002F8-8102-464A-B883-9499001288D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1D836CD3-FA77-479F-8105-208E58286EA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58AE6159-772A-42F4-98D0-A9CA84835F3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31.259499999999999</c:v>
                </c:pt>
                <c:pt idx="1">
                  <c:v>43.661499999999997</c:v>
                </c:pt>
              </c:numCache>
            </c:numRef>
          </c:xVal>
          <c:yVal>
            <c:numRef>
              <c:f>Sheet1!$B$2:$B$3</c:f>
              <c:numCache>
                <c:formatCode>General</c:formatCode>
                <c:ptCount val="2"/>
                <c:pt idx="0">
                  <c:v>0.93300000000000005</c:v>
                </c:pt>
                <c:pt idx="1">
                  <c:v>1.304</c:v>
                </c:pt>
              </c:numCache>
            </c:numRef>
          </c:yVal>
          <c:bubbleSize>
            <c:numRef>
              <c:f>Sheet1!$C$2:$C$3</c:f>
              <c:numCache>
                <c:formatCode>General</c:formatCode>
                <c:ptCount val="2"/>
                <c:pt idx="0">
                  <c:v>132884</c:v>
                </c:pt>
                <c:pt idx="1">
                  <c:v>39732</c:v>
                </c:pt>
              </c:numCache>
            </c:numRef>
          </c:bubbleSize>
          <c:bubble3D val="0"/>
          <c:extLst>
            <c:ext xmlns:c15="http://schemas.microsoft.com/office/drawing/2012/chart" uri="{02D57815-91ED-43cb-92C2-25804820EDAC}">
              <c15:datalabelsRange>
                <c15:f>Sheet1!$E$2:$E$10</c15:f>
                <c15:dlblRangeCache>
                  <c:ptCount val="9"/>
                  <c:pt idx="0">
                    <c:v>Cfgv</c:v>
                  </c:pt>
                  <c:pt idx="1">
                    <c:v>Mhc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2"/>
          <c:min val="2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04"/>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39BC956-187B-42F6-B2C9-350FD193628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687D569-3CBF-4E92-B03B-F2AF3398B01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EC4D9B1-D32D-4BDB-823B-53598A4D460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C6803B53-3294-4D32-9D8A-9659243CE2E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B2DF4144-A6DB-485F-9E4A-A5CEBAC967F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E3214915-B108-4C67-AD5F-AE3B58089B2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CC43F9C4-03F4-48A7-8FE5-E773672AE09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60EFA7CB-F354-4E8D-8E8D-31D017D75FE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31.412800000000001</c:v>
                </c:pt>
                <c:pt idx="1">
                  <c:v>44.533299999999997</c:v>
                </c:pt>
                <c:pt idx="2">
                  <c:v>40.75</c:v>
                </c:pt>
              </c:numCache>
            </c:numRef>
          </c:xVal>
          <c:yVal>
            <c:numRef>
              <c:f>Sheet1!$B$2:$B$4</c:f>
              <c:numCache>
                <c:formatCode>General</c:formatCode>
                <c:ptCount val="3"/>
                <c:pt idx="0">
                  <c:v>0.94399999999999995</c:v>
                </c:pt>
                <c:pt idx="1">
                  <c:v>1.333</c:v>
                </c:pt>
                <c:pt idx="2">
                  <c:v>1.022</c:v>
                </c:pt>
              </c:numCache>
            </c:numRef>
          </c:yVal>
          <c:bubbleSize>
            <c:numRef>
              <c:f>Sheet1!$C$2:$C$4</c:f>
              <c:numCache>
                <c:formatCode>General</c:formatCode>
                <c:ptCount val="3"/>
                <c:pt idx="0">
                  <c:v>83558</c:v>
                </c:pt>
                <c:pt idx="1">
                  <c:v>19372</c:v>
                </c:pt>
                <c:pt idx="2">
                  <c:v>1630</c:v>
                </c:pt>
              </c:numCache>
            </c:numRef>
          </c:bubbleSize>
          <c:bubble3D val="0"/>
          <c:extLst>
            <c:ext xmlns:c15="http://schemas.microsoft.com/office/drawing/2012/chart" uri="{02D57815-91ED-43cb-92C2-25804820EDAC}">
              <c15:datalabelsRange>
                <c15:f>Sheet1!$E$2:$E$10</c15:f>
                <c15:dlblRangeCache>
                  <c:ptCount val="9"/>
                  <c:pt idx="0">
                    <c:v>Cfgv</c:v>
                  </c:pt>
                  <c:pt idx="1">
                    <c:v>Mhcs</c:v>
                  </c:pt>
                  <c:pt idx="2">
                    <c:v>C&amp;C Sas Franc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3"/>
          <c:min val="2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32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E09A705-005D-47E5-94CD-9C7713AA3AB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FDFB0DD-732F-47D7-B349-8D33DC6C266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3D95E28-E26F-4DA3-82AD-F886FC49ADD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A48F4917-B046-4490-B853-FF6603518E6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DE6DDC15-EB8A-4259-9629-F25C77E5A57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9D8BEC0E-B9C4-4313-A5F7-ABAFE571BDB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FF43C0AE-EC5E-4FAC-8210-274E45E9F5F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0028E6D3-9C51-4CE1-A1D0-EB879AB957F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31.644300000000001</c:v>
                </c:pt>
                <c:pt idx="1">
                  <c:v>45.026499999999999</c:v>
                </c:pt>
                <c:pt idx="2">
                  <c:v>41.7</c:v>
                </c:pt>
              </c:numCache>
            </c:numRef>
          </c:xVal>
          <c:yVal>
            <c:numRef>
              <c:f>Sheet1!$B$2:$B$4</c:f>
              <c:numCache>
                <c:formatCode>General</c:formatCode>
                <c:ptCount val="3"/>
                <c:pt idx="0">
                  <c:v>0.96199999999999997</c:v>
                </c:pt>
                <c:pt idx="1">
                  <c:v>1.2869999999999999</c:v>
                </c:pt>
                <c:pt idx="2">
                  <c:v>1.1859999999999999</c:v>
                </c:pt>
              </c:numCache>
            </c:numRef>
          </c:yVal>
          <c:bubbleSize>
            <c:numRef>
              <c:f>Sheet1!$C$2:$C$4</c:f>
              <c:numCache>
                <c:formatCode>General</c:formatCode>
                <c:ptCount val="3"/>
                <c:pt idx="0">
                  <c:v>32562</c:v>
                </c:pt>
                <c:pt idx="1">
                  <c:v>5088</c:v>
                </c:pt>
                <c:pt idx="2">
                  <c:v>417</c:v>
                </c:pt>
              </c:numCache>
            </c:numRef>
          </c:bubbleSize>
          <c:bubble3D val="0"/>
          <c:extLst>
            <c:ext xmlns:c15="http://schemas.microsoft.com/office/drawing/2012/chart" uri="{02D57815-91ED-43cb-92C2-25804820EDAC}">
              <c15:datalabelsRange>
                <c15:f>Sheet1!$E$2:$E$10</c15:f>
                <c15:dlblRangeCache>
                  <c:ptCount val="9"/>
                  <c:pt idx="0">
                    <c:v>Cfgv</c:v>
                  </c:pt>
                  <c:pt idx="1">
                    <c:v>Mhcs</c:v>
                  </c:pt>
                  <c:pt idx="2">
                    <c:v>C&amp;C Sas Franc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4"/>
          <c:min val="2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486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32A1DAD-76A4-416E-B069-94585220029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DD63F3C-94BC-4319-8405-E6ADDCD939F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A63150E-2B22-476D-8031-6800C929808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5636495-FE4F-45E9-84BD-8304F24E7A1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DCCA55ED-C47D-41F1-8360-C267961078D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2768D499-FECE-4298-96FC-ABFCC8E174B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7DC36B67-72AD-4FB2-8B0A-37E4D6CB360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3C912C21-A6AE-4AEA-A11D-9ECE79A8BE8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31.212</c:v>
                </c:pt>
                <c:pt idx="1">
                  <c:v>43.988500000000002</c:v>
                </c:pt>
                <c:pt idx="2">
                  <c:v>39.526299999999999</c:v>
                </c:pt>
                <c:pt idx="3">
                  <c:v>40.066699999999997</c:v>
                </c:pt>
              </c:numCache>
            </c:numRef>
          </c:xVal>
          <c:yVal>
            <c:numRef>
              <c:f>Sheet1!$B$2:$B$5</c:f>
              <c:numCache>
                <c:formatCode>General</c:formatCode>
                <c:ptCount val="4"/>
                <c:pt idx="0">
                  <c:v>0.94599999999999995</c:v>
                </c:pt>
                <c:pt idx="1">
                  <c:v>1.335</c:v>
                </c:pt>
                <c:pt idx="2">
                  <c:v>0.98099999999999998</c:v>
                </c:pt>
                <c:pt idx="3">
                  <c:v>1.145</c:v>
                </c:pt>
              </c:numCache>
            </c:numRef>
          </c:yVal>
          <c:bubbleSize>
            <c:numRef>
              <c:f>Sheet1!$C$2:$C$5</c:f>
              <c:numCache>
                <c:formatCode>General</c:formatCode>
                <c:ptCount val="4"/>
                <c:pt idx="0">
                  <c:v>34739</c:v>
                </c:pt>
                <c:pt idx="1">
                  <c:v>7654</c:v>
                </c:pt>
                <c:pt idx="2">
                  <c:v>1502</c:v>
                </c:pt>
                <c:pt idx="3">
                  <c:v>601</c:v>
                </c:pt>
              </c:numCache>
            </c:numRef>
          </c:bubbleSize>
          <c:bubble3D val="0"/>
          <c:extLst>
            <c:ext xmlns:c15="http://schemas.microsoft.com/office/drawing/2012/chart" uri="{02D57815-91ED-43cb-92C2-25804820EDAC}">
              <c15:datalabelsRange>
                <c15:f>Sheet1!$E$2:$E$10</c15:f>
                <c15:dlblRangeCache>
                  <c:ptCount val="9"/>
                  <c:pt idx="0">
                    <c:v>Cfgv</c:v>
                  </c:pt>
                  <c:pt idx="1">
                    <c:v>Mhcs</c:v>
                  </c:pt>
                  <c:pt idx="2">
                    <c:v>C&amp;C Sas France</c:v>
                  </c:pt>
                  <c:pt idx="3">
                    <c:v>Epi</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3"/>
          <c:min val="2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34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B00BC3A-86D7-4930-9922-19708ACB9B4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9416B57-A10D-4CCF-B02B-C582304B705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4199DB3-C438-4CEA-94B5-093907465F2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8406B918-4539-4E5D-8911-6148FC08115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35A39388-6E21-4083-8423-4547CC762A0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35B7925B-C55C-4CAE-BA27-30DFB0282D3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0A58B70F-30B2-45B3-B895-78E626F77A9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4FB958A4-20C7-4527-B1B4-FC8389C3A46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31.217700000000001</c:v>
                </c:pt>
                <c:pt idx="1">
                  <c:v>43.048900000000003</c:v>
                </c:pt>
                <c:pt idx="2">
                  <c:v>38.2864</c:v>
                </c:pt>
              </c:numCache>
            </c:numRef>
          </c:xVal>
          <c:yVal>
            <c:numRef>
              <c:f>Sheet1!$B$2:$B$4</c:f>
              <c:numCache>
                <c:formatCode>General</c:formatCode>
                <c:ptCount val="3"/>
                <c:pt idx="0">
                  <c:v>0.93100000000000005</c:v>
                </c:pt>
                <c:pt idx="1">
                  <c:v>1.2849999999999999</c:v>
                </c:pt>
                <c:pt idx="2">
                  <c:v>1.149</c:v>
                </c:pt>
              </c:numCache>
            </c:numRef>
          </c:yVal>
          <c:bubbleSize>
            <c:numRef>
              <c:f>Sheet1!$C$2:$C$4</c:f>
              <c:numCache>
                <c:formatCode>General</c:formatCode>
                <c:ptCount val="3"/>
                <c:pt idx="0">
                  <c:v>484873</c:v>
                </c:pt>
                <c:pt idx="1">
                  <c:v>156612</c:v>
                </c:pt>
                <c:pt idx="2">
                  <c:v>8423</c:v>
                </c:pt>
              </c:numCache>
            </c:numRef>
          </c:bubbleSize>
          <c:bubble3D val="0"/>
          <c:extLst>
            <c:ext xmlns:c15="http://schemas.microsoft.com/office/drawing/2012/chart" uri="{02D57815-91ED-43cb-92C2-25804820EDAC}">
              <c15:datalabelsRange>
                <c15:f>Sheet1!$E$2:$E$10</c15:f>
                <c15:dlblRangeCache>
                  <c:ptCount val="9"/>
                  <c:pt idx="0">
                    <c:v>Cfgv</c:v>
                  </c:pt>
                  <c:pt idx="1">
                    <c:v>Mhcs</c:v>
                  </c:pt>
                  <c:pt idx="2">
                    <c:v>C&amp;C Sas Franc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2"/>
          <c:min val="2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484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D2F3042-676B-472B-8AF7-292782721C2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24B7A04-16C1-4BCA-A7EF-E7EABFA28CB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BF6D07C6-EF00-4910-8627-EE568CDBA0B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0B7348E6-D28B-4B6A-B7F9-989D5EA9965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E10A60E7-B578-4421-A65B-8183D1B7C7D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6AAADDC4-8D56-4800-96F5-B6849CC5682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70A5DD88-4E9E-4417-B23C-682B3BAB635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6685C556-E450-4E7D-90CF-53E592A76E1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31.130199999999999</c:v>
                </c:pt>
                <c:pt idx="1">
                  <c:v>43.843800000000002</c:v>
                </c:pt>
              </c:numCache>
            </c:numRef>
          </c:xVal>
          <c:yVal>
            <c:numRef>
              <c:f>Sheet1!$B$2:$B$3</c:f>
              <c:numCache>
                <c:formatCode>General</c:formatCode>
                <c:ptCount val="2"/>
                <c:pt idx="0">
                  <c:v>0.92900000000000005</c:v>
                </c:pt>
                <c:pt idx="1">
                  <c:v>1.3089999999999999</c:v>
                </c:pt>
              </c:numCache>
            </c:numRef>
          </c:yVal>
          <c:bubbleSize>
            <c:numRef>
              <c:f>Sheet1!$C$2:$C$3</c:f>
              <c:numCache>
                <c:formatCode>General</c:formatCode>
                <c:ptCount val="2"/>
                <c:pt idx="0">
                  <c:v>254707</c:v>
                </c:pt>
                <c:pt idx="1">
                  <c:v>81944</c:v>
                </c:pt>
              </c:numCache>
            </c:numRef>
          </c:bubbleSize>
          <c:bubble3D val="0"/>
          <c:extLst>
            <c:ext xmlns:c15="http://schemas.microsoft.com/office/drawing/2012/chart" uri="{02D57815-91ED-43cb-92C2-25804820EDAC}">
              <c15:datalabelsRange>
                <c15:f>Sheet1!$E$2:$E$10</c15:f>
                <c15:dlblRangeCache>
                  <c:ptCount val="9"/>
                  <c:pt idx="0">
                    <c:v>Cfgv</c:v>
                  </c:pt>
                  <c:pt idx="1">
                    <c:v>Mhc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3"/>
          <c:min val="2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08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366E2D5-F689-4C11-B616-7D58F4E55BB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B661612-AD9C-4EB7-95B4-688553CA6E6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DBA6E09-0C3E-43D8-9EED-0B035BEF51D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685E2BB5-B371-46E7-8AC1-69A14A42BBB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630D06B4-05EC-4F11-8547-B514EFE9A00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ECF5D249-1329-4CCD-9CF4-F401527FEFF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99787584-D3C6-4F70-9337-84222C031B6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59256ABC-8E7E-49A8-9DF6-2188178693A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31.094999999999999</c:v>
                </c:pt>
                <c:pt idx="1">
                  <c:v>43.808300000000003</c:v>
                </c:pt>
                <c:pt idx="2">
                  <c:v>38.920200000000001</c:v>
                </c:pt>
              </c:numCache>
            </c:numRef>
          </c:xVal>
          <c:yVal>
            <c:numRef>
              <c:f>Sheet1!$B$2:$B$4</c:f>
              <c:numCache>
                <c:formatCode>General</c:formatCode>
                <c:ptCount val="3"/>
                <c:pt idx="0">
                  <c:v>0.94099999999999995</c:v>
                </c:pt>
                <c:pt idx="1">
                  <c:v>1.325</c:v>
                </c:pt>
                <c:pt idx="2">
                  <c:v>1.161</c:v>
                </c:pt>
              </c:numCache>
            </c:numRef>
          </c:yVal>
          <c:bubbleSize>
            <c:numRef>
              <c:f>Sheet1!$C$2:$C$4</c:f>
              <c:numCache>
                <c:formatCode>General</c:formatCode>
                <c:ptCount val="3"/>
                <c:pt idx="0">
                  <c:v>410703</c:v>
                </c:pt>
                <c:pt idx="1">
                  <c:v>99620</c:v>
                </c:pt>
                <c:pt idx="2">
                  <c:v>7317</c:v>
                </c:pt>
              </c:numCache>
            </c:numRef>
          </c:bubbleSize>
          <c:bubble3D val="0"/>
          <c:extLst>
            <c:ext xmlns:c15="http://schemas.microsoft.com/office/drawing/2012/chart" uri="{02D57815-91ED-43cb-92C2-25804820EDAC}">
              <c15:datalabelsRange>
                <c15:f>Sheet1!$E$2:$E$10</c15:f>
                <c15:dlblRangeCache>
                  <c:ptCount val="9"/>
                  <c:pt idx="0">
                    <c:v>Cfgv</c:v>
                  </c:pt>
                  <c:pt idx="1">
                    <c:v>Mhcs</c:v>
                  </c:pt>
                  <c:pt idx="2">
                    <c:v>C&amp;C Sas Franc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3"/>
          <c:min val="2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24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9B4D4170-1F91-4E4B-A867-34B89CA2834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2EA766D6-741F-400E-AB8F-1834F3CD63B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ECE72120-CD10-476B-97EC-D65DEA9CA7C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74AE8F7D-C8B1-44C5-9F9D-3E41069BD55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3B3CED15-EBD5-4D83-A4D2-C6C9BF7FC40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F145669D-2B6D-43A9-B51D-C6DDEEFAB9D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84E72D6F-AA09-401B-8053-1F6395AE5B4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EA36ED73-D30A-4BB3-AAFC-EA71FE0A120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11.3996</c:v>
                </c:pt>
                <c:pt idx="1">
                  <c:v>12.751099999999999</c:v>
                </c:pt>
                <c:pt idx="2">
                  <c:v>17.6111</c:v>
                </c:pt>
                <c:pt idx="3">
                  <c:v>9.1219000000000001</c:v>
                </c:pt>
                <c:pt idx="4">
                  <c:v>11.9292</c:v>
                </c:pt>
                <c:pt idx="5">
                  <c:v>11.430300000000001</c:v>
                </c:pt>
                <c:pt idx="6">
                  <c:v>13.4643</c:v>
                </c:pt>
                <c:pt idx="7">
                  <c:v>11.543699999999999</c:v>
                </c:pt>
              </c:numCache>
            </c:numRef>
          </c:xVal>
          <c:yVal>
            <c:numRef>
              <c:f>Sheet1!$B$2:$B$9</c:f>
              <c:numCache>
                <c:formatCode>General</c:formatCode>
                <c:ptCount val="8"/>
                <c:pt idx="0">
                  <c:v>1.06</c:v>
                </c:pt>
                <c:pt idx="1">
                  <c:v>1.1859999999999999</c:v>
                </c:pt>
                <c:pt idx="2">
                  <c:v>1.6619999999999999</c:v>
                </c:pt>
                <c:pt idx="3">
                  <c:v>0.84899999999999998</c:v>
                </c:pt>
                <c:pt idx="4">
                  <c:v>1.0469999999999999</c:v>
                </c:pt>
                <c:pt idx="5">
                  <c:v>1.0620000000000001</c:v>
                </c:pt>
                <c:pt idx="6">
                  <c:v>1.25</c:v>
                </c:pt>
                <c:pt idx="7">
                  <c:v>0.89800000000000002</c:v>
                </c:pt>
              </c:numCache>
            </c:numRef>
          </c:yVal>
          <c:bubbleSize>
            <c:numRef>
              <c:f>Sheet1!$C$2:$C$9</c:f>
              <c:numCache>
                <c:formatCode>General</c:formatCode>
                <c:ptCount val="8"/>
                <c:pt idx="0">
                  <c:v>101593</c:v>
                </c:pt>
                <c:pt idx="1">
                  <c:v>99140</c:v>
                </c:pt>
                <c:pt idx="2">
                  <c:v>82244</c:v>
                </c:pt>
                <c:pt idx="3">
                  <c:v>56501</c:v>
                </c:pt>
                <c:pt idx="4">
                  <c:v>55399</c:v>
                </c:pt>
                <c:pt idx="5">
                  <c:v>53231</c:v>
                </c:pt>
                <c:pt idx="6">
                  <c:v>27871</c:v>
                </c:pt>
                <c:pt idx="7">
                  <c:v>17154</c:v>
                </c:pt>
              </c:numCache>
            </c:numRef>
          </c:bubbleSize>
          <c:bubble3D val="0"/>
          <c:extLst>
            <c:ext xmlns:c15="http://schemas.microsoft.com/office/drawing/2012/chart" uri="{02D57815-91ED-43cb-92C2-25804820EDAC}">
              <c15:datalabelsRange>
                <c15:f>Sheet1!$E$2:$E$10</c15:f>
                <c15:dlblRangeCache>
                  <c:ptCount val="9"/>
                  <c:pt idx="0">
                    <c:v>Bottega</c:v>
                  </c:pt>
                  <c:pt idx="1">
                    <c:v>Patriarche</c:v>
                  </c:pt>
                  <c:pt idx="2">
                    <c:v>Mure</c:v>
                  </c:pt>
                  <c:pt idx="3">
                    <c:v>Savian</c:v>
                  </c:pt>
                  <c:pt idx="4">
                    <c:v>Bouvet-Ladubay</c:v>
                  </c:pt>
                  <c:pt idx="5">
                    <c:v>Chateau Moncontour</c:v>
                  </c:pt>
                  <c:pt idx="6">
                    <c:v>De Chanceny</c:v>
                  </c:pt>
                  <c:pt idx="7">
                    <c:v>Contarini</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
          <c:min val="7"/>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CBCF534-89B4-4E0E-AD45-24684CF7751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C3A6AAA-8A22-48A8-B3EA-4A44346A75C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C71EEE4-2B45-4E09-B827-4DB81B35AE3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50145315-5E5D-47B4-BA95-E4012601362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7CFBDD9A-8172-4922-BF7D-F7D43F535F1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1EFB591A-1846-46F3-9C28-2B4A22CC4B6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7B1EBAF8-759C-4D6B-AAA4-FB782E2993B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C116E7BD-7966-4F3A-B8AF-C57DAF20676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31.053699999999999</c:v>
                </c:pt>
                <c:pt idx="1">
                  <c:v>43.280700000000003</c:v>
                </c:pt>
                <c:pt idx="2">
                  <c:v>39.226999999999997</c:v>
                </c:pt>
              </c:numCache>
            </c:numRef>
          </c:xVal>
          <c:yVal>
            <c:numRef>
              <c:f>Sheet1!$B$2:$B$4</c:f>
              <c:numCache>
                <c:formatCode>General</c:formatCode>
                <c:ptCount val="3"/>
                <c:pt idx="0">
                  <c:v>0.94099999999999995</c:v>
                </c:pt>
                <c:pt idx="1">
                  <c:v>1.3109999999999999</c:v>
                </c:pt>
                <c:pt idx="2">
                  <c:v>1.153</c:v>
                </c:pt>
              </c:numCache>
            </c:numRef>
          </c:yVal>
          <c:bubbleSize>
            <c:numRef>
              <c:f>Sheet1!$C$2:$C$4</c:f>
              <c:numCache>
                <c:formatCode>General</c:formatCode>
                <c:ptCount val="3"/>
                <c:pt idx="0">
                  <c:v>343050</c:v>
                </c:pt>
                <c:pt idx="1">
                  <c:v>84657</c:v>
                </c:pt>
                <c:pt idx="2">
                  <c:v>7257</c:v>
                </c:pt>
              </c:numCache>
            </c:numRef>
          </c:bubbleSize>
          <c:bubble3D val="0"/>
          <c:extLst>
            <c:ext xmlns:c15="http://schemas.microsoft.com/office/drawing/2012/chart" uri="{02D57815-91ED-43cb-92C2-25804820EDAC}">
              <c15:datalabelsRange>
                <c15:f>Sheet1!$E$2:$E$10</c15:f>
                <c15:dlblRangeCache>
                  <c:ptCount val="9"/>
                  <c:pt idx="0">
                    <c:v>Cfgv</c:v>
                  </c:pt>
                  <c:pt idx="1">
                    <c:v>Mhcs</c:v>
                  </c:pt>
                  <c:pt idx="2">
                    <c:v>C&amp;C Sas Franc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2"/>
          <c:min val="2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10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7999467-65DA-403E-9CE7-7653FE12740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1624603-15B0-495C-BF21-88C9AB1433E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BB86EE5-8D61-462F-BEC6-2F7E7F56ACA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2AEF4D66-CEAA-474C-AD09-4C7108EE3D6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EE67DB1A-D51C-4ED5-B8C7-4505F1B80FF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C72054D6-EF01-4EF3-94A6-B218C3CFAE1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35730A96-2340-4534-8DA2-98D40C94412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2EC8AA5A-DD58-4EBF-AA62-DFB425D226B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31.4998</c:v>
                </c:pt>
                <c:pt idx="1">
                  <c:v>43.330100000000002</c:v>
                </c:pt>
                <c:pt idx="2">
                  <c:v>39.1479</c:v>
                </c:pt>
              </c:numCache>
            </c:numRef>
          </c:xVal>
          <c:yVal>
            <c:numRef>
              <c:f>Sheet1!$B$2:$B$4</c:f>
              <c:numCache>
                <c:formatCode>General</c:formatCode>
                <c:ptCount val="3"/>
                <c:pt idx="0">
                  <c:v>0.94699999999999995</c:v>
                </c:pt>
                <c:pt idx="1">
                  <c:v>1.302</c:v>
                </c:pt>
                <c:pt idx="2">
                  <c:v>1.1080000000000001</c:v>
                </c:pt>
              </c:numCache>
            </c:numRef>
          </c:yVal>
          <c:bubbleSize>
            <c:numRef>
              <c:f>Sheet1!$C$2:$C$4</c:f>
              <c:numCache>
                <c:formatCode>General</c:formatCode>
                <c:ptCount val="3"/>
                <c:pt idx="0">
                  <c:v>274206</c:v>
                </c:pt>
                <c:pt idx="1">
                  <c:v>61962</c:v>
                </c:pt>
                <c:pt idx="2">
                  <c:v>5559</c:v>
                </c:pt>
              </c:numCache>
            </c:numRef>
          </c:bubbleSize>
          <c:bubble3D val="0"/>
          <c:extLst>
            <c:ext xmlns:c15="http://schemas.microsoft.com/office/drawing/2012/chart" uri="{02D57815-91ED-43cb-92C2-25804820EDAC}">
              <c15:datalabelsRange>
                <c15:f>Sheet1!$E$2:$E$10</c15:f>
                <c15:dlblRangeCache>
                  <c:ptCount val="9"/>
                  <c:pt idx="0">
                    <c:v>Cfgv</c:v>
                  </c:pt>
                  <c:pt idx="1">
                    <c:v>Mhcs</c:v>
                  </c:pt>
                  <c:pt idx="2">
                    <c:v>C&amp;C Sas Franc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2"/>
          <c:min val="2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02"/>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11F78C7-135E-4503-8F4C-A5D7F418718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9CD41CF-444E-47A3-B39F-58B1597BFAC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06ECF52-3FC2-444D-ABF8-DE57B54AC8E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F3B6A99-906C-48BA-B611-1221B57E021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23E5258-1301-4114-A8D8-6F29B7FB0E0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2DAFF22-C647-4A9A-951E-4E397F1998C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19BCEB2C-531D-4E20-B497-AA134F0185E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9431D94E-AA74-45DF-88AE-820CEC71E95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184.69210000000001</c:v>
                </c:pt>
                <c:pt idx="1">
                  <c:v>167.14019999999999</c:v>
                </c:pt>
                <c:pt idx="2">
                  <c:v>37.241900000000001</c:v>
                </c:pt>
                <c:pt idx="3">
                  <c:v>65.030100000000004</c:v>
                </c:pt>
                <c:pt idx="4">
                  <c:v>232.976</c:v>
                </c:pt>
                <c:pt idx="5">
                  <c:v>264.97140000000002</c:v>
                </c:pt>
                <c:pt idx="6">
                  <c:v>257.2319</c:v>
                </c:pt>
                <c:pt idx="7">
                  <c:v>246.36920000000001</c:v>
                </c:pt>
              </c:numCache>
            </c:numRef>
          </c:xVal>
          <c:yVal>
            <c:numRef>
              <c:f>Sheet1!$B$2:$B$9</c:f>
              <c:numCache>
                <c:formatCode>General</c:formatCode>
                <c:ptCount val="8"/>
                <c:pt idx="0">
                  <c:v>1.387</c:v>
                </c:pt>
                <c:pt idx="1">
                  <c:v>1.228</c:v>
                </c:pt>
                <c:pt idx="2">
                  <c:v>0.28100000000000003</c:v>
                </c:pt>
                <c:pt idx="3">
                  <c:v>0.46800000000000003</c:v>
                </c:pt>
                <c:pt idx="4">
                  <c:v>1.7110000000000001</c:v>
                </c:pt>
                <c:pt idx="5">
                  <c:v>1.7989999999999999</c:v>
                </c:pt>
                <c:pt idx="6">
                  <c:v>1.6919999999999999</c:v>
                </c:pt>
                <c:pt idx="7">
                  <c:v>1.5269999999999999</c:v>
                </c:pt>
              </c:numCache>
            </c:numRef>
          </c:yVal>
          <c:bubbleSize>
            <c:numRef>
              <c:f>Sheet1!$C$2:$C$9</c:f>
              <c:numCache>
                <c:formatCode>General</c:formatCode>
                <c:ptCount val="8"/>
                <c:pt idx="0">
                  <c:v>1443738</c:v>
                </c:pt>
                <c:pt idx="1">
                  <c:v>644827</c:v>
                </c:pt>
                <c:pt idx="2">
                  <c:v>189077</c:v>
                </c:pt>
                <c:pt idx="3">
                  <c:v>101707</c:v>
                </c:pt>
                <c:pt idx="4">
                  <c:v>77814</c:v>
                </c:pt>
                <c:pt idx="5">
                  <c:v>37096</c:v>
                </c:pt>
                <c:pt idx="6">
                  <c:v>35498</c:v>
                </c:pt>
                <c:pt idx="7">
                  <c:v>32028</c:v>
                </c:pt>
              </c:numCache>
            </c:numRef>
          </c:bubbleSize>
          <c:bubble3D val="0"/>
          <c:extLst>
            <c:ext xmlns:c15="http://schemas.microsoft.com/office/drawing/2012/chart" uri="{02D57815-91ED-43cb-92C2-25804820EDAC}">
              <c15:datalabelsRange>
                <c15:f>Sheet1!$E$2:$E$10</c15:f>
                <c15:dlblRangeCache>
                  <c:ptCount val="9"/>
                  <c:pt idx="0">
                    <c:v>Mhcs</c:v>
                  </c:pt>
                  <c:pt idx="1">
                    <c:v>Roederer</c:v>
                  </c:pt>
                  <c:pt idx="2">
                    <c:v>Malard</c:v>
                  </c:pt>
                  <c:pt idx="3">
                    <c:v>Laurent Perrier</c:v>
                  </c:pt>
                  <c:pt idx="4">
                    <c:v>Bollinger</c:v>
                  </c:pt>
                  <c:pt idx="5">
                    <c:v>Epi</c:v>
                  </c:pt>
                  <c:pt idx="6">
                    <c:v>Pernod Ricard</c:v>
                  </c:pt>
                  <c:pt idx="7">
                    <c:v>Vranken Pommer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18"/>
          <c:min val="3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998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6C3A187-EB91-4391-87B3-17A04ACF487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B3DD003-DE45-4F28-B55E-2C294C3D185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1BAD7DB-A90F-4D52-94F4-E505A43B5D0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817015F-BB64-4012-836C-3113B511F8D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D45E12F-6A7C-44B3-88A4-3FBD1DB9D61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C9824407-0C31-4604-B916-3CAB2486BA6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7E66162-F132-461B-8075-48BEC39728B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33ABAE0F-8A85-4254-A359-A78212EBCF9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199.99359999999999</c:v>
                </c:pt>
                <c:pt idx="1">
                  <c:v>172.6182</c:v>
                </c:pt>
                <c:pt idx="2">
                  <c:v>37.6342</c:v>
                </c:pt>
                <c:pt idx="3">
                  <c:v>243.43379999999999</c:v>
                </c:pt>
                <c:pt idx="4">
                  <c:v>64.109499999999997</c:v>
                </c:pt>
                <c:pt idx="5">
                  <c:v>270.57780000000002</c:v>
                </c:pt>
                <c:pt idx="6">
                  <c:v>271.20159999999998</c:v>
                </c:pt>
                <c:pt idx="7">
                  <c:v>258.30650000000003</c:v>
                </c:pt>
              </c:numCache>
            </c:numRef>
          </c:xVal>
          <c:yVal>
            <c:numRef>
              <c:f>Sheet1!$B$2:$B$9</c:f>
              <c:numCache>
                <c:formatCode>General</c:formatCode>
                <c:ptCount val="8"/>
                <c:pt idx="0">
                  <c:v>1.421</c:v>
                </c:pt>
                <c:pt idx="1">
                  <c:v>1.1830000000000001</c:v>
                </c:pt>
                <c:pt idx="2">
                  <c:v>0.27600000000000002</c:v>
                </c:pt>
                <c:pt idx="3">
                  <c:v>1.5860000000000001</c:v>
                </c:pt>
                <c:pt idx="4">
                  <c:v>0.45400000000000001</c:v>
                </c:pt>
                <c:pt idx="5">
                  <c:v>1.663</c:v>
                </c:pt>
                <c:pt idx="6">
                  <c:v>1.593</c:v>
                </c:pt>
                <c:pt idx="7">
                  <c:v>1.4830000000000001</c:v>
                </c:pt>
              </c:numCache>
            </c:numRef>
          </c:yVal>
          <c:bubbleSize>
            <c:numRef>
              <c:f>Sheet1!$C$2:$C$9</c:f>
              <c:numCache>
                <c:formatCode>General</c:formatCode>
                <c:ptCount val="8"/>
                <c:pt idx="0">
                  <c:v>1410755</c:v>
                </c:pt>
                <c:pt idx="1">
                  <c:v>632128</c:v>
                </c:pt>
                <c:pt idx="2">
                  <c:v>189300</c:v>
                </c:pt>
                <c:pt idx="3">
                  <c:v>79116</c:v>
                </c:pt>
                <c:pt idx="4">
                  <c:v>72572</c:v>
                </c:pt>
                <c:pt idx="5">
                  <c:v>36528</c:v>
                </c:pt>
                <c:pt idx="6">
                  <c:v>34985</c:v>
                </c:pt>
                <c:pt idx="7">
                  <c:v>32030</c:v>
                </c:pt>
              </c:numCache>
            </c:numRef>
          </c:bubbleSize>
          <c:bubble3D val="0"/>
          <c:extLst>
            <c:ext xmlns:c15="http://schemas.microsoft.com/office/drawing/2012/chart" uri="{02D57815-91ED-43cb-92C2-25804820EDAC}">
              <c15:datalabelsRange>
                <c15:f>Sheet1!$E$2:$E$10</c15:f>
                <c15:dlblRangeCache>
                  <c:ptCount val="9"/>
                  <c:pt idx="0">
                    <c:v>Mhcs</c:v>
                  </c:pt>
                  <c:pt idx="1">
                    <c:v>Roederer</c:v>
                  </c:pt>
                  <c:pt idx="2">
                    <c:v>Malard</c:v>
                  </c:pt>
                  <c:pt idx="3">
                    <c:v>Bollinger</c:v>
                  </c:pt>
                  <c:pt idx="4">
                    <c:v>Laurent Perrier</c:v>
                  </c:pt>
                  <c:pt idx="5">
                    <c:v>Epi</c:v>
                  </c:pt>
                  <c:pt idx="6">
                    <c:v>Pernod Ricard</c:v>
                  </c:pt>
                  <c:pt idx="7">
                    <c:v>Vranken Pommer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25"/>
          <c:min val="3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863"/>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92B45A1-102B-4046-BED0-DB4D847D66A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B2BFBCC-1A75-45F7-A4B6-ED2C22F98D5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87DE039-88DD-420F-AE9F-078FCE5F741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1FAA7306-65A6-4DB3-9258-5E5BC8E79CE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5E8DBEFD-2D23-4B4A-A8E8-D7F8777E16F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A29EC94F-3D5F-4D4E-ACB1-577B0977CF0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9C6CDD27-730B-442C-A6CB-5481F29D60B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6C0B15BE-BDF7-4C90-A9B8-D67B01C5A90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63.635399999999997</c:v>
                </c:pt>
                <c:pt idx="1">
                  <c:v>72</c:v>
                </c:pt>
                <c:pt idx="2">
                  <c:v>173.15629999999999</c:v>
                </c:pt>
              </c:numCache>
            </c:numRef>
          </c:xVal>
          <c:yVal>
            <c:numRef>
              <c:f>Sheet1!$B$2:$B$4</c:f>
              <c:numCache>
                <c:formatCode>General</c:formatCode>
                <c:ptCount val="3"/>
                <c:pt idx="0">
                  <c:v>0.92100000000000004</c:v>
                </c:pt>
                <c:pt idx="1">
                  <c:v>0.874</c:v>
                </c:pt>
                <c:pt idx="2">
                  <c:v>1.8620000000000001</c:v>
                </c:pt>
              </c:numCache>
            </c:numRef>
          </c:yVal>
          <c:bubbleSize>
            <c:numRef>
              <c:f>Sheet1!$C$2:$C$4</c:f>
              <c:numCache>
                <c:formatCode>General</c:formatCode>
                <c:ptCount val="3"/>
                <c:pt idx="0">
                  <c:v>40663</c:v>
                </c:pt>
                <c:pt idx="1">
                  <c:v>29160</c:v>
                </c:pt>
                <c:pt idx="2">
                  <c:v>16623</c:v>
                </c:pt>
              </c:numCache>
            </c:numRef>
          </c:bubbleSize>
          <c:bubble3D val="0"/>
          <c:extLst>
            <c:ext xmlns:c15="http://schemas.microsoft.com/office/drawing/2012/chart" uri="{02D57815-91ED-43cb-92C2-25804820EDAC}">
              <c15:datalabelsRange>
                <c15:f>Sheet1!$E$2:$E$10</c15:f>
                <c15:dlblRangeCache>
                  <c:ptCount val="9"/>
                  <c:pt idx="0">
                    <c:v>Mhcs</c:v>
                  </c:pt>
                  <c:pt idx="1">
                    <c:v>Laurent Perrier</c:v>
                  </c:pt>
                  <c:pt idx="2">
                    <c:v>Roederer</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08"/>
          <c:min val="5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0620000000000003"/>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314A849-5FD4-47F9-AA06-6F859B31CF5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AE51B12-38F1-4E77-B250-E3E2E28274A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4411DFB-BAFC-4F04-B7AA-4BAC9CCB07B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9DB0D5B-4C35-437F-B14F-56BE8E555DB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A113C81-A625-4B7D-9E35-DC5C0E5CD13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DBB64B9-3957-4AAE-ADA2-D16D8A58C78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5FCAB2F4-C5A4-4082-882E-09911986823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0B184984-6232-4BA2-AC97-1191F4CCB1F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194.40350000000001</c:v>
                </c:pt>
                <c:pt idx="1">
                  <c:v>155.4597</c:v>
                </c:pt>
                <c:pt idx="2">
                  <c:v>37.252499999999998</c:v>
                </c:pt>
                <c:pt idx="3">
                  <c:v>62.747599999999998</c:v>
                </c:pt>
                <c:pt idx="4">
                  <c:v>254.06059999999999</c:v>
                </c:pt>
                <c:pt idx="5">
                  <c:v>268.13209999999998</c:v>
                </c:pt>
                <c:pt idx="6">
                  <c:v>226.28569999999999</c:v>
                </c:pt>
              </c:numCache>
            </c:numRef>
          </c:xVal>
          <c:yVal>
            <c:numRef>
              <c:f>Sheet1!$B$2:$B$8</c:f>
              <c:numCache>
                <c:formatCode>General</c:formatCode>
                <c:ptCount val="7"/>
                <c:pt idx="0">
                  <c:v>1.573</c:v>
                </c:pt>
                <c:pt idx="1">
                  <c:v>1.24</c:v>
                </c:pt>
                <c:pt idx="2">
                  <c:v>0.30299999999999999</c:v>
                </c:pt>
                <c:pt idx="3">
                  <c:v>0.50800000000000001</c:v>
                </c:pt>
                <c:pt idx="4">
                  <c:v>1.905</c:v>
                </c:pt>
                <c:pt idx="5">
                  <c:v>1.855</c:v>
                </c:pt>
                <c:pt idx="6">
                  <c:v>1.5820000000000001</c:v>
                </c:pt>
              </c:numCache>
            </c:numRef>
          </c:yVal>
          <c:bubbleSize>
            <c:numRef>
              <c:f>Sheet1!$C$2:$C$8</c:f>
              <c:numCache>
                <c:formatCode>General</c:formatCode>
                <c:ptCount val="7"/>
                <c:pt idx="0">
                  <c:v>454321</c:v>
                </c:pt>
                <c:pt idx="1">
                  <c:v>256353</c:v>
                </c:pt>
                <c:pt idx="2">
                  <c:v>92796</c:v>
                </c:pt>
                <c:pt idx="3">
                  <c:v>32315</c:v>
                </c:pt>
                <c:pt idx="4">
                  <c:v>25152</c:v>
                </c:pt>
                <c:pt idx="5">
                  <c:v>14211</c:v>
                </c:pt>
                <c:pt idx="6">
                  <c:v>11088</c:v>
                </c:pt>
              </c:numCache>
            </c:numRef>
          </c:bubbleSize>
          <c:bubble3D val="0"/>
          <c:extLst>
            <c:ext xmlns:c15="http://schemas.microsoft.com/office/drawing/2012/chart" uri="{02D57815-91ED-43cb-92C2-25804820EDAC}">
              <c15:datalabelsRange>
                <c15:f>Sheet1!$E$2:$E$10</c15:f>
                <c15:dlblRangeCache>
                  <c:ptCount val="9"/>
                  <c:pt idx="0">
                    <c:v>Mhcs</c:v>
                  </c:pt>
                  <c:pt idx="1">
                    <c:v>Roederer</c:v>
                  </c:pt>
                  <c:pt idx="2">
                    <c:v>Malard</c:v>
                  </c:pt>
                  <c:pt idx="3">
                    <c:v>Laurent Perrier</c:v>
                  </c:pt>
                  <c:pt idx="4">
                    <c:v>Bollinger</c:v>
                  </c:pt>
                  <c:pt idx="5">
                    <c:v>Epi</c:v>
                  </c:pt>
                  <c:pt idx="6">
                    <c:v>Vranken Pommer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22"/>
          <c:min val="3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105"/>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E352EFC-71DF-4882-BD57-15F3BDE6655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4458728-AFEA-4611-BA69-D58887E791C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45828BC-2ED5-4779-A6D8-6CA3B09519C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8326D13-63C7-40C7-8044-FEDD39AB108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2BEE89C-15E6-4D1E-9F21-97941D049CF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A7BBB46-BCC4-4171-A409-9372B4243E4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9FB1B75-9F0D-4A72-881E-954569EBF70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8AE62DE4-84AC-4E75-8885-F70A75BCDBF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174.84289999999999</c:v>
                </c:pt>
                <c:pt idx="1">
                  <c:v>162.61619999999999</c:v>
                </c:pt>
                <c:pt idx="2">
                  <c:v>37.590299999999999</c:v>
                </c:pt>
                <c:pt idx="3">
                  <c:v>219.04169999999999</c:v>
                </c:pt>
                <c:pt idx="4">
                  <c:v>64.075400000000002</c:v>
                </c:pt>
                <c:pt idx="5">
                  <c:v>270.6207</c:v>
                </c:pt>
                <c:pt idx="6">
                  <c:v>258.72730000000001</c:v>
                </c:pt>
                <c:pt idx="7">
                  <c:v>223.125</c:v>
                </c:pt>
              </c:numCache>
            </c:numRef>
          </c:xVal>
          <c:yVal>
            <c:numRef>
              <c:f>Sheet1!$B$2:$B$9</c:f>
              <c:numCache>
                <c:formatCode>General</c:formatCode>
                <c:ptCount val="8"/>
                <c:pt idx="0">
                  <c:v>1.3740000000000001</c:v>
                </c:pt>
                <c:pt idx="1">
                  <c:v>1.21</c:v>
                </c:pt>
                <c:pt idx="2">
                  <c:v>0.30299999999999999</c:v>
                </c:pt>
                <c:pt idx="3">
                  <c:v>1.633</c:v>
                </c:pt>
                <c:pt idx="4">
                  <c:v>0.49199999999999999</c:v>
                </c:pt>
                <c:pt idx="5">
                  <c:v>1.901</c:v>
                </c:pt>
                <c:pt idx="6">
                  <c:v>1.5669999999999999</c:v>
                </c:pt>
                <c:pt idx="7">
                  <c:v>1.544</c:v>
                </c:pt>
              </c:numCache>
            </c:numRef>
          </c:yVal>
          <c:bubbleSize>
            <c:numRef>
              <c:f>Sheet1!$C$2:$C$9</c:f>
              <c:numCache>
                <c:formatCode>General</c:formatCode>
                <c:ptCount val="8"/>
                <c:pt idx="0">
                  <c:v>251599</c:v>
                </c:pt>
                <c:pt idx="1">
                  <c:v>94480</c:v>
                </c:pt>
                <c:pt idx="2">
                  <c:v>37064</c:v>
                </c:pt>
                <c:pt idx="3">
                  <c:v>21028</c:v>
                </c:pt>
                <c:pt idx="4">
                  <c:v>12751</c:v>
                </c:pt>
                <c:pt idx="5">
                  <c:v>7848</c:v>
                </c:pt>
                <c:pt idx="6">
                  <c:v>5692</c:v>
                </c:pt>
                <c:pt idx="7">
                  <c:v>5355</c:v>
                </c:pt>
              </c:numCache>
            </c:numRef>
          </c:bubbleSize>
          <c:bubble3D val="0"/>
          <c:extLst>
            <c:ext xmlns:c15="http://schemas.microsoft.com/office/drawing/2012/chart" uri="{02D57815-91ED-43cb-92C2-25804820EDAC}">
              <c15:datalabelsRange>
                <c15:f>Sheet1!$E$2:$E$10</c15:f>
                <c15:dlblRangeCache>
                  <c:ptCount val="9"/>
                  <c:pt idx="0">
                    <c:v>Mhcs</c:v>
                  </c:pt>
                  <c:pt idx="1">
                    <c:v>Roederer</c:v>
                  </c:pt>
                  <c:pt idx="2">
                    <c:v>Malard</c:v>
                  </c:pt>
                  <c:pt idx="3">
                    <c:v>Bollinger</c:v>
                  </c:pt>
                  <c:pt idx="4">
                    <c:v>Laurent Perrier</c:v>
                  </c:pt>
                  <c:pt idx="5">
                    <c:v>Epi</c:v>
                  </c:pt>
                  <c:pt idx="6">
                    <c:v>Pernod Ricard</c:v>
                  </c:pt>
                  <c:pt idx="7">
                    <c:v>Vranken Pommer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25"/>
          <c:min val="3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101"/>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08CC766-EBFF-49D0-98B3-23034754588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8833663-42A3-4B53-9FA7-C499D201CF6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D4B0A3B-16CD-4F8B-8937-5FE0EC30575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FAA4332-3A69-419D-8344-6D1491CBC0A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5CE610D-7D30-4E04-87EB-178859124B1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BAEA63B-3161-4F0A-9D88-03BBD9D3093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A9869C7-ED6C-404E-8697-2947939C2D1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7EC4176D-5076-4041-BCCF-0C24DB0F8C8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13.04509999999999</c:v>
                </c:pt>
                <c:pt idx="1">
                  <c:v>198.09710000000001</c:v>
                </c:pt>
                <c:pt idx="2">
                  <c:v>37.631700000000002</c:v>
                </c:pt>
                <c:pt idx="3">
                  <c:v>242.32650000000001</c:v>
                </c:pt>
                <c:pt idx="4">
                  <c:v>269.16219999999998</c:v>
                </c:pt>
                <c:pt idx="5">
                  <c:v>65.087000000000003</c:v>
                </c:pt>
                <c:pt idx="6">
                  <c:v>423.70589999999999</c:v>
                </c:pt>
                <c:pt idx="7">
                  <c:v>180.94290000000001</c:v>
                </c:pt>
              </c:numCache>
            </c:numRef>
          </c:xVal>
          <c:yVal>
            <c:numRef>
              <c:f>Sheet1!$B$2:$B$9</c:f>
              <c:numCache>
                <c:formatCode>General</c:formatCode>
                <c:ptCount val="8"/>
                <c:pt idx="0">
                  <c:v>1.3360000000000001</c:v>
                </c:pt>
                <c:pt idx="1">
                  <c:v>1.206</c:v>
                </c:pt>
                <c:pt idx="2">
                  <c:v>0.25</c:v>
                </c:pt>
                <c:pt idx="3">
                  <c:v>1.381</c:v>
                </c:pt>
                <c:pt idx="4">
                  <c:v>1.51</c:v>
                </c:pt>
                <c:pt idx="5">
                  <c:v>0.40699999999999997</c:v>
                </c:pt>
                <c:pt idx="6">
                  <c:v>1.5009999999999999</c:v>
                </c:pt>
                <c:pt idx="7">
                  <c:v>1.022</c:v>
                </c:pt>
              </c:numCache>
            </c:numRef>
          </c:yVal>
          <c:bubbleSize>
            <c:numRef>
              <c:f>Sheet1!$C$2:$C$9</c:f>
              <c:numCache>
                <c:formatCode>General</c:formatCode>
                <c:ptCount val="8"/>
                <c:pt idx="0">
                  <c:v>207719</c:v>
                </c:pt>
                <c:pt idx="1">
                  <c:v>114302</c:v>
                </c:pt>
                <c:pt idx="2">
                  <c:v>23294</c:v>
                </c:pt>
                <c:pt idx="3">
                  <c:v>11874</c:v>
                </c:pt>
                <c:pt idx="4">
                  <c:v>9959</c:v>
                </c:pt>
                <c:pt idx="5">
                  <c:v>7485</c:v>
                </c:pt>
                <c:pt idx="6">
                  <c:v>7203</c:v>
                </c:pt>
                <c:pt idx="7">
                  <c:v>6333</c:v>
                </c:pt>
              </c:numCache>
            </c:numRef>
          </c:bubbleSize>
          <c:bubble3D val="0"/>
          <c:extLst>
            <c:ext xmlns:c15="http://schemas.microsoft.com/office/drawing/2012/chart" uri="{02D57815-91ED-43cb-92C2-25804820EDAC}">
              <c15:datalabelsRange>
                <c15:f>Sheet1!$E$2:$E$10</c15:f>
                <c15:dlblRangeCache>
                  <c:ptCount val="9"/>
                  <c:pt idx="0">
                    <c:v>Mhcs</c:v>
                  </c:pt>
                  <c:pt idx="1">
                    <c:v>Roederer</c:v>
                  </c:pt>
                  <c:pt idx="2">
                    <c:v>Malard</c:v>
                  </c:pt>
                  <c:pt idx="3">
                    <c:v>Bollinger</c:v>
                  </c:pt>
                  <c:pt idx="4">
                    <c:v>Pernod Ricard</c:v>
                  </c:pt>
                  <c:pt idx="5">
                    <c:v>Laurent Perrier</c:v>
                  </c:pt>
                  <c:pt idx="6">
                    <c:v>Vranken Pommery</c:v>
                  </c:pt>
                  <c:pt idx="7">
                    <c:v>Lanson-Bcc</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08"/>
          <c:min val="3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71"/>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E782F10-9FC9-4766-A0F2-62A06719959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58906C3-EF1F-4E27-A3E3-DCD336AE3CC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6E710A7-C184-43F1-A153-F4EF9C711BA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AED671C-0838-4177-A1C1-F84185CCD80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7245CA6-43FB-47A6-A86A-D24D63CA231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235A58D-3E0B-41F6-AB44-66020A166DF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87A2A1DC-6652-4819-9851-C957C52509B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0F9A0478-3EBE-406E-B41E-F9963990667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218.63069999999999</c:v>
                </c:pt>
                <c:pt idx="1">
                  <c:v>196.52090000000001</c:v>
                </c:pt>
                <c:pt idx="2">
                  <c:v>37.771700000000003</c:v>
                </c:pt>
                <c:pt idx="3">
                  <c:v>285.23329999999999</c:v>
                </c:pt>
                <c:pt idx="4">
                  <c:v>66.152000000000001</c:v>
                </c:pt>
                <c:pt idx="5">
                  <c:v>259.58330000000001</c:v>
                </c:pt>
                <c:pt idx="6">
                  <c:v>231.84620000000001</c:v>
                </c:pt>
              </c:numCache>
            </c:numRef>
          </c:xVal>
          <c:yVal>
            <c:numRef>
              <c:f>Sheet1!$B$2:$B$8</c:f>
              <c:numCache>
                <c:formatCode>General</c:formatCode>
                <c:ptCount val="7"/>
                <c:pt idx="0">
                  <c:v>1.296</c:v>
                </c:pt>
                <c:pt idx="1">
                  <c:v>1.05</c:v>
                </c:pt>
                <c:pt idx="2">
                  <c:v>0.23100000000000001</c:v>
                </c:pt>
                <c:pt idx="3">
                  <c:v>1.47</c:v>
                </c:pt>
                <c:pt idx="4">
                  <c:v>0.38400000000000001</c:v>
                </c:pt>
                <c:pt idx="5">
                  <c:v>1.3140000000000001</c:v>
                </c:pt>
                <c:pt idx="6">
                  <c:v>1.165</c:v>
                </c:pt>
              </c:numCache>
            </c:numRef>
          </c:yVal>
          <c:bubbleSize>
            <c:numRef>
              <c:f>Sheet1!$C$2:$C$8</c:f>
              <c:numCache>
                <c:formatCode>General</c:formatCode>
                <c:ptCount val="7"/>
                <c:pt idx="0">
                  <c:v>198298</c:v>
                </c:pt>
                <c:pt idx="1">
                  <c:v>61118</c:v>
                </c:pt>
                <c:pt idx="2">
                  <c:v>11747</c:v>
                </c:pt>
                <c:pt idx="3">
                  <c:v>8557</c:v>
                </c:pt>
                <c:pt idx="4">
                  <c:v>8269</c:v>
                </c:pt>
                <c:pt idx="5">
                  <c:v>3115</c:v>
                </c:pt>
                <c:pt idx="6">
                  <c:v>3014</c:v>
                </c:pt>
              </c:numCache>
            </c:numRef>
          </c:bubbleSize>
          <c:bubble3D val="0"/>
          <c:extLst>
            <c:ext xmlns:c15="http://schemas.microsoft.com/office/drawing/2012/chart" uri="{02D57815-91ED-43cb-92C2-25804820EDAC}">
              <c15:datalabelsRange>
                <c15:f>Sheet1!$E$2:$E$10</c15:f>
                <c15:dlblRangeCache>
                  <c:ptCount val="9"/>
                  <c:pt idx="0">
                    <c:v>Mhcs</c:v>
                  </c:pt>
                  <c:pt idx="1">
                    <c:v>Roederer</c:v>
                  </c:pt>
                  <c:pt idx="2">
                    <c:v>Malard</c:v>
                  </c:pt>
                  <c:pt idx="3">
                    <c:v>Bollinger</c:v>
                  </c:pt>
                  <c:pt idx="4">
                    <c:v>Laurent Perrier</c:v>
                  </c:pt>
                  <c:pt idx="5">
                    <c:v>Pernod Ricard</c:v>
                  </c:pt>
                  <c:pt idx="6">
                    <c:v>Vranken Pommer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42"/>
          <c:min val="3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67"/>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224C39B-8EB7-4DF6-B8CF-8C3A5260571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A0DCB64-FBFD-432E-BC95-90B76B8674F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6AD706C-226C-4F87-8D9A-7EF4A7A0958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840A6C8-B21B-491E-B209-68FF338497B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E77B438-B918-48E7-827A-A48E6706F6F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F9E93CC4-551C-419D-A7D9-DDBAB3703CA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395DB29B-4028-4AFE-8185-E11D7504D63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AD2DFB7D-6E1F-4A80-A8C3-E1A16333F15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195.96610000000001</c:v>
                </c:pt>
                <c:pt idx="1">
                  <c:v>157.21260000000001</c:v>
                </c:pt>
                <c:pt idx="2">
                  <c:v>39.217599999999997</c:v>
                </c:pt>
                <c:pt idx="3">
                  <c:v>241.33330000000001</c:v>
                </c:pt>
                <c:pt idx="4">
                  <c:v>65.263900000000007</c:v>
                </c:pt>
                <c:pt idx="5">
                  <c:v>300.57139999999998</c:v>
                </c:pt>
                <c:pt idx="6">
                  <c:v>253.21430000000001</c:v>
                </c:pt>
                <c:pt idx="7">
                  <c:v>223.27269999999999</c:v>
                </c:pt>
              </c:numCache>
            </c:numRef>
          </c:xVal>
          <c:yVal>
            <c:numRef>
              <c:f>Sheet1!$B$2:$B$9</c:f>
              <c:numCache>
                <c:formatCode>General</c:formatCode>
                <c:ptCount val="8"/>
                <c:pt idx="0">
                  <c:v>1.319</c:v>
                </c:pt>
                <c:pt idx="1">
                  <c:v>0.93799999999999994</c:v>
                </c:pt>
                <c:pt idx="2">
                  <c:v>0.26800000000000002</c:v>
                </c:pt>
                <c:pt idx="3">
                  <c:v>1.3640000000000001</c:v>
                </c:pt>
                <c:pt idx="4">
                  <c:v>0.432</c:v>
                </c:pt>
                <c:pt idx="5">
                  <c:v>1.754</c:v>
                </c:pt>
                <c:pt idx="6">
                  <c:v>1.4770000000000001</c:v>
                </c:pt>
                <c:pt idx="7">
                  <c:v>1.21</c:v>
                </c:pt>
              </c:numCache>
            </c:numRef>
          </c:yVal>
          <c:bubbleSize>
            <c:numRef>
              <c:f>Sheet1!$C$2:$C$9</c:f>
              <c:numCache>
                <c:formatCode>General</c:formatCode>
                <c:ptCount val="8"/>
                <c:pt idx="0">
                  <c:v>98375</c:v>
                </c:pt>
                <c:pt idx="1">
                  <c:v>27355</c:v>
                </c:pt>
                <c:pt idx="2">
                  <c:v>7569</c:v>
                </c:pt>
                <c:pt idx="3">
                  <c:v>5792</c:v>
                </c:pt>
                <c:pt idx="4">
                  <c:v>4699</c:v>
                </c:pt>
                <c:pt idx="5">
                  <c:v>4208</c:v>
                </c:pt>
                <c:pt idx="6">
                  <c:v>3545</c:v>
                </c:pt>
                <c:pt idx="7">
                  <c:v>2456</c:v>
                </c:pt>
              </c:numCache>
            </c:numRef>
          </c:bubbleSize>
          <c:bubble3D val="0"/>
          <c:extLst>
            <c:ext xmlns:c15="http://schemas.microsoft.com/office/drawing/2012/chart" uri="{02D57815-91ED-43cb-92C2-25804820EDAC}">
              <c15:datalabelsRange>
                <c15:f>Sheet1!$E$2:$E$10</c15:f>
                <c15:dlblRangeCache>
                  <c:ptCount val="9"/>
                  <c:pt idx="0">
                    <c:v>Mhcs</c:v>
                  </c:pt>
                  <c:pt idx="1">
                    <c:v>Roederer</c:v>
                  </c:pt>
                  <c:pt idx="2">
                    <c:v>Malard</c:v>
                  </c:pt>
                  <c:pt idx="3">
                    <c:v>Bollinger</c:v>
                  </c:pt>
                  <c:pt idx="4">
                    <c:v>Laurent Perrier</c:v>
                  </c:pt>
                  <c:pt idx="5">
                    <c:v>Epi</c:v>
                  </c:pt>
                  <c:pt idx="6">
                    <c:v>Vranken Pommery</c:v>
                  </c:pt>
                  <c:pt idx="7">
                    <c:v>Lanson-Bcc</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61"/>
          <c:min val="3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954"/>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C5CA5FCA-E03B-412E-992E-F60F6F6ACAF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29EBDCC5-8D7B-4194-9226-B49A3CA7DAF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D871-46D6-BBFE-7C00E0D51738}"/>
                </c:ext>
              </c:extLst>
            </c:dLbl>
            <c:dLbl>
              <c:idx val="3"/>
              <c:tx>
                <c:rich>
                  <a:bodyPr/>
                  <a:lstStyle/>
                  <a:p>
                    <a:fld id="{0E77155F-C3D1-4B82-9EBA-09C9FAA2EC1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D871-46D6-BBFE-7C00E0D51738}"/>
                </c:ext>
              </c:extLst>
            </c:dLbl>
            <c:dLbl>
              <c:idx val="4"/>
              <c:tx>
                <c:rich>
                  <a:bodyPr/>
                  <a:lstStyle/>
                  <a:p>
                    <a:fld id="{9F399818-2A78-4B63-B4A5-1CFA45A9A97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D871-46D6-BBFE-7C00E0D51738}"/>
                </c:ext>
              </c:extLst>
            </c:dLbl>
            <c:dLbl>
              <c:idx val="5"/>
              <c:tx>
                <c:rich>
                  <a:bodyPr/>
                  <a:lstStyle/>
                  <a:p>
                    <a:fld id="{90E4B57D-F941-4546-89ED-E1F12F6587B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71-46D6-BBFE-7C00E0D51738}"/>
                </c:ext>
              </c:extLst>
            </c:dLbl>
            <c:dLbl>
              <c:idx val="6"/>
              <c:tx>
                <c:rich>
                  <a:bodyPr/>
                  <a:lstStyle/>
                  <a:p>
                    <a:fld id="{FC1DC6B7-846B-4E3C-96DC-275F54963BB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71-46D6-BBFE-7C00E0D51738}"/>
                </c:ext>
              </c:extLst>
            </c:dLbl>
            <c:dLbl>
              <c:idx val="7"/>
              <c:tx>
                <c:rich>
                  <a:bodyPr/>
                  <a:lstStyle/>
                  <a:p>
                    <a:fld id="{9CCAFDFA-844D-4117-B94D-135429408E6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71-46D6-BBFE-7C00E0D51738}"/>
                </c:ext>
              </c:extLst>
            </c:dLbl>
            <c:dLbl>
              <c:idx val="8"/>
              <c:tx>
                <c:rich>
                  <a:bodyPr/>
                  <a:lstStyle/>
                  <a:p>
                    <a:fld id="{392AD4FE-E576-4474-B673-219694F6C90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29.099299999999999</c:v>
                </c:pt>
                <c:pt idx="1">
                  <c:v>11.4146</c:v>
                </c:pt>
              </c:numCache>
            </c:numRef>
          </c:xVal>
          <c:yVal>
            <c:numRef>
              <c:f>Sheet1!$B$2:$B$3</c:f>
              <c:numCache>
                <c:formatCode>General</c:formatCode>
                <c:ptCount val="2"/>
                <c:pt idx="0">
                  <c:v>1.766</c:v>
                </c:pt>
                <c:pt idx="1">
                  <c:v>0.69199999999999995</c:v>
                </c:pt>
              </c:numCache>
            </c:numRef>
          </c:yVal>
          <c:bubbleSize>
            <c:numRef>
              <c:f>Sheet1!$C$2:$C$3</c:f>
              <c:numCache>
                <c:formatCode>General</c:formatCode>
                <c:ptCount val="2"/>
                <c:pt idx="0">
                  <c:v>52466</c:v>
                </c:pt>
                <c:pt idx="1">
                  <c:v>43330</c:v>
                </c:pt>
              </c:numCache>
            </c:numRef>
          </c:bubbleSize>
          <c:bubble3D val="0"/>
          <c:extLst>
            <c:ext xmlns:c15="http://schemas.microsoft.com/office/drawing/2012/chart" uri="{02D57815-91ED-43cb-92C2-25804820EDAC}">
              <c15:datalabelsRange>
                <c15:f>Sheet1!$E$2:$E$10</c15:f>
                <c15:dlblRangeCache>
                  <c:ptCount val="9"/>
                  <c:pt idx="0">
                    <c:v>De Chanceny</c:v>
                  </c:pt>
                  <c:pt idx="1">
                    <c:v>Lyre's</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5"/>
          <c:min val="9"/>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F606A0F-C1B3-4CD1-88A8-C601C3DC750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267CF65-67E1-43C0-B33A-70DFC51C99D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B93A80F-0600-4404-B771-2CA65A05424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B72028E-B865-42F2-8D7B-8F335BCCAD2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C8AB8C4-1B1B-48B0-9B4A-554A6D67565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A811530-4D48-4FA1-9726-DC602C81DAC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A9BCFE2-0E31-4A4C-9B20-765AFF31E34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3FA9A099-15BC-4EA8-9018-FDD9E54CB39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195.55289999999999</c:v>
                </c:pt>
                <c:pt idx="1">
                  <c:v>167.41409999999999</c:v>
                </c:pt>
                <c:pt idx="2">
                  <c:v>37.205300000000001</c:v>
                </c:pt>
                <c:pt idx="3">
                  <c:v>236.89070000000001</c:v>
                </c:pt>
                <c:pt idx="4">
                  <c:v>62.492800000000003</c:v>
                </c:pt>
                <c:pt idx="5">
                  <c:v>262.91759999999999</c:v>
                </c:pt>
                <c:pt idx="6">
                  <c:v>267.70890000000003</c:v>
                </c:pt>
                <c:pt idx="7">
                  <c:v>267.21429999999998</c:v>
                </c:pt>
              </c:numCache>
            </c:numRef>
          </c:xVal>
          <c:yVal>
            <c:numRef>
              <c:f>Sheet1!$B$2:$B$9</c:f>
              <c:numCache>
                <c:formatCode>General</c:formatCode>
                <c:ptCount val="8"/>
                <c:pt idx="0">
                  <c:v>1.45</c:v>
                </c:pt>
                <c:pt idx="1">
                  <c:v>1.222</c:v>
                </c:pt>
                <c:pt idx="2">
                  <c:v>0.27700000000000002</c:v>
                </c:pt>
                <c:pt idx="3">
                  <c:v>1.69</c:v>
                </c:pt>
                <c:pt idx="4">
                  <c:v>0.46300000000000002</c:v>
                </c:pt>
                <c:pt idx="5">
                  <c:v>1.605</c:v>
                </c:pt>
                <c:pt idx="6">
                  <c:v>1.6919999999999999</c:v>
                </c:pt>
                <c:pt idx="7">
                  <c:v>1.637</c:v>
                </c:pt>
              </c:numCache>
            </c:numRef>
          </c:yVal>
          <c:bubbleSize>
            <c:numRef>
              <c:f>Sheet1!$C$2:$C$9</c:f>
              <c:numCache>
                <c:formatCode>General</c:formatCode>
                <c:ptCount val="8"/>
                <c:pt idx="0">
                  <c:v>917143</c:v>
                </c:pt>
                <c:pt idx="1">
                  <c:v>458045</c:v>
                </c:pt>
                <c:pt idx="2">
                  <c:v>138478</c:v>
                </c:pt>
                <c:pt idx="3">
                  <c:v>58512</c:v>
                </c:pt>
                <c:pt idx="4">
                  <c:v>51869</c:v>
                </c:pt>
                <c:pt idx="5">
                  <c:v>22348</c:v>
                </c:pt>
                <c:pt idx="6">
                  <c:v>21149</c:v>
                </c:pt>
                <c:pt idx="7">
                  <c:v>18705</c:v>
                </c:pt>
              </c:numCache>
            </c:numRef>
          </c:bubbleSize>
          <c:bubble3D val="0"/>
          <c:extLst>
            <c:ext xmlns:c15="http://schemas.microsoft.com/office/drawing/2012/chart" uri="{02D57815-91ED-43cb-92C2-25804820EDAC}">
              <c15:datalabelsRange>
                <c15:f>Sheet1!$E$2:$E$10</c15:f>
                <c15:dlblRangeCache>
                  <c:ptCount val="9"/>
                  <c:pt idx="0">
                    <c:v>Mhcs</c:v>
                  </c:pt>
                  <c:pt idx="1">
                    <c:v>Roederer</c:v>
                  </c:pt>
                  <c:pt idx="2">
                    <c:v>Malard</c:v>
                  </c:pt>
                  <c:pt idx="3">
                    <c:v>Bollinger</c:v>
                  </c:pt>
                  <c:pt idx="4">
                    <c:v>Laurent Perrier</c:v>
                  </c:pt>
                  <c:pt idx="5">
                    <c:v>Vranken Pommery</c:v>
                  </c:pt>
                  <c:pt idx="6">
                    <c:v>Epi</c:v>
                  </c:pt>
                  <c:pt idx="7">
                    <c:v>Pernod Ricard</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21"/>
          <c:min val="3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891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2402390-A635-4560-8EC8-53559BFAF1E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19982A6-95B1-49EC-8439-A1321B7F9E0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3B7A186-B245-4304-AD94-7AE13C37FFE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5CCAB1E-B25E-4D58-8BC0-38CD083FB7C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9303EE5-704C-478A-BAC3-FBF928A54A0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6A9ACC8-C14A-45A5-89A3-8C8DA65AD33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31F9402-09C3-487A-A174-CB0DF60CDD9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F69BA459-C44F-4ACE-92BE-243729DF702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218.9068</c:v>
                </c:pt>
                <c:pt idx="1">
                  <c:v>204.5564</c:v>
                </c:pt>
                <c:pt idx="2">
                  <c:v>37.682400000000001</c:v>
                </c:pt>
                <c:pt idx="3">
                  <c:v>264.74290000000002</c:v>
                </c:pt>
                <c:pt idx="4">
                  <c:v>245.7576</c:v>
                </c:pt>
                <c:pt idx="5">
                  <c:v>274.2593</c:v>
                </c:pt>
                <c:pt idx="6">
                  <c:v>65.481899999999996</c:v>
                </c:pt>
              </c:numCache>
            </c:numRef>
          </c:xVal>
          <c:yVal>
            <c:numRef>
              <c:f>Sheet1!$B$2:$B$8</c:f>
              <c:numCache>
                <c:formatCode>General</c:formatCode>
                <c:ptCount val="7"/>
                <c:pt idx="0">
                  <c:v>1.2310000000000001</c:v>
                </c:pt>
                <c:pt idx="1">
                  <c:v>1.1220000000000001</c:v>
                </c:pt>
                <c:pt idx="2">
                  <c:v>0.219</c:v>
                </c:pt>
                <c:pt idx="3">
                  <c:v>1.327</c:v>
                </c:pt>
                <c:pt idx="4">
                  <c:v>1.2</c:v>
                </c:pt>
                <c:pt idx="5">
                  <c:v>1.3149999999999999</c:v>
                </c:pt>
                <c:pt idx="6">
                  <c:v>0.35</c:v>
                </c:pt>
              </c:numCache>
            </c:numRef>
          </c:yVal>
          <c:bubbleSize>
            <c:numRef>
              <c:f>Sheet1!$C$2:$C$8</c:f>
              <c:numCache>
                <c:formatCode>General</c:formatCode>
                <c:ptCount val="7"/>
                <c:pt idx="0">
                  <c:v>206648</c:v>
                </c:pt>
                <c:pt idx="1">
                  <c:v>81618</c:v>
                </c:pt>
                <c:pt idx="2">
                  <c:v>11983</c:v>
                </c:pt>
                <c:pt idx="3">
                  <c:v>9266</c:v>
                </c:pt>
                <c:pt idx="4">
                  <c:v>8110</c:v>
                </c:pt>
                <c:pt idx="5">
                  <c:v>7405</c:v>
                </c:pt>
                <c:pt idx="6">
                  <c:v>5435</c:v>
                </c:pt>
              </c:numCache>
            </c:numRef>
          </c:bubbleSize>
          <c:bubble3D val="0"/>
          <c:extLst>
            <c:ext xmlns:c15="http://schemas.microsoft.com/office/drawing/2012/chart" uri="{02D57815-91ED-43cb-92C2-25804820EDAC}">
              <c15:datalabelsRange>
                <c15:f>Sheet1!$E$2:$E$10</c15:f>
                <c15:dlblRangeCache>
                  <c:ptCount val="9"/>
                  <c:pt idx="0">
                    <c:v>Mhcs</c:v>
                  </c:pt>
                  <c:pt idx="1">
                    <c:v>Roederer</c:v>
                  </c:pt>
                  <c:pt idx="2">
                    <c:v>Malard</c:v>
                  </c:pt>
                  <c:pt idx="3">
                    <c:v>Pernod Ricard</c:v>
                  </c:pt>
                  <c:pt idx="4">
                    <c:v>Bollinger</c:v>
                  </c:pt>
                  <c:pt idx="5">
                    <c:v>Epi</c:v>
                  </c:pt>
                  <c:pt idx="6">
                    <c:v>Laurent Perrier</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29"/>
          <c:min val="3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26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168F104-1A3E-4107-9040-34080CA0B28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9EB60DC-D85B-45C7-9493-5BDF1F43C75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A4731B6-0B4A-4400-AB3B-B164B2194A6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D8D4685-E461-4D51-BBA6-E699D406157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F1F3B88-3A2C-474B-832E-538E1904C67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B3DEEE39-9A3F-41B8-A176-AE1EB4E93A0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2E8762B7-24E0-4EC5-80D8-5ED91D57C3F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0495BAEE-8BBB-406C-BEF5-E7A2020B35A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05.798</c:v>
                </c:pt>
                <c:pt idx="1">
                  <c:v>161.57050000000001</c:v>
                </c:pt>
                <c:pt idx="2">
                  <c:v>38.633200000000002</c:v>
                </c:pt>
                <c:pt idx="3">
                  <c:v>65.814800000000005</c:v>
                </c:pt>
                <c:pt idx="4">
                  <c:v>307.44439999999997</c:v>
                </c:pt>
                <c:pt idx="5">
                  <c:v>272.39999999999998</c:v>
                </c:pt>
                <c:pt idx="6">
                  <c:v>235.4545</c:v>
                </c:pt>
                <c:pt idx="7">
                  <c:v>387.6</c:v>
                </c:pt>
              </c:numCache>
            </c:numRef>
          </c:xVal>
          <c:yVal>
            <c:numRef>
              <c:f>Sheet1!$B$2:$B$9</c:f>
              <c:numCache>
                <c:formatCode>General</c:formatCode>
                <c:ptCount val="8"/>
                <c:pt idx="0">
                  <c:v>1.375</c:v>
                </c:pt>
                <c:pt idx="1">
                  <c:v>0.99099999999999999</c:v>
                </c:pt>
                <c:pt idx="2">
                  <c:v>0.27</c:v>
                </c:pt>
                <c:pt idx="3">
                  <c:v>0.41899999999999998</c:v>
                </c:pt>
                <c:pt idx="4">
                  <c:v>1.849</c:v>
                </c:pt>
                <c:pt idx="5">
                  <c:v>1.456</c:v>
                </c:pt>
                <c:pt idx="6">
                  <c:v>1.3839999999999999</c:v>
                </c:pt>
                <c:pt idx="7">
                  <c:v>2.0720000000000001</c:v>
                </c:pt>
              </c:numCache>
            </c:numRef>
          </c:yVal>
          <c:bubbleSize>
            <c:numRef>
              <c:f>Sheet1!$C$2:$C$9</c:f>
              <c:numCache>
                <c:formatCode>General</c:formatCode>
                <c:ptCount val="8"/>
                <c:pt idx="0">
                  <c:v>100841</c:v>
                </c:pt>
                <c:pt idx="1">
                  <c:v>25205</c:v>
                </c:pt>
                <c:pt idx="2">
                  <c:v>8847</c:v>
                </c:pt>
                <c:pt idx="3">
                  <c:v>5331</c:v>
                </c:pt>
                <c:pt idx="4">
                  <c:v>2767</c:v>
                </c:pt>
                <c:pt idx="5">
                  <c:v>2724</c:v>
                </c:pt>
                <c:pt idx="6">
                  <c:v>2590</c:v>
                </c:pt>
                <c:pt idx="7">
                  <c:v>1938</c:v>
                </c:pt>
              </c:numCache>
            </c:numRef>
          </c:bubbleSize>
          <c:bubble3D val="0"/>
          <c:extLst>
            <c:ext xmlns:c15="http://schemas.microsoft.com/office/drawing/2012/chart" uri="{02D57815-91ED-43cb-92C2-25804820EDAC}">
              <c15:datalabelsRange>
                <c15:f>Sheet1!$E$2:$E$10</c15:f>
                <c15:dlblRangeCache>
                  <c:ptCount val="9"/>
                  <c:pt idx="0">
                    <c:v>Mhcs</c:v>
                  </c:pt>
                  <c:pt idx="1">
                    <c:v>Roederer</c:v>
                  </c:pt>
                  <c:pt idx="2">
                    <c:v>Malard</c:v>
                  </c:pt>
                  <c:pt idx="3">
                    <c:v>Laurent Perrier</c:v>
                  </c:pt>
                  <c:pt idx="4">
                    <c:v>Vranken Pommery</c:v>
                  </c:pt>
                  <c:pt idx="5">
                    <c:v>Epi</c:v>
                  </c:pt>
                  <c:pt idx="6">
                    <c:v>Bollinger</c:v>
                  </c:pt>
                  <c:pt idx="7">
                    <c:v>Pernod Ricard</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65"/>
          <c:min val="3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2720000000000002"/>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8C31FCC-65CE-48EC-BEB0-4B644188011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0841699-86D7-4E8A-B442-1E7D0E6D684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248E1AA-8030-49B1-BE41-663231DD4B6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43F73EF-6DC4-4153-AB6B-BFB786426A6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68438ED9-04D0-4F92-823A-BCE77462B4A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2F11CBD-236B-43B5-8BCE-C95FC27D0B5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10BB254-31C7-4906-8A56-5FBED74DF9B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60E4E1C4-BCF9-41DE-9395-D072DA86D11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14.90799999999999</c:v>
                </c:pt>
                <c:pt idx="1">
                  <c:v>208.47620000000001</c:v>
                </c:pt>
                <c:pt idx="2">
                  <c:v>39.538499999999999</c:v>
                </c:pt>
                <c:pt idx="3">
                  <c:v>68.75</c:v>
                </c:pt>
                <c:pt idx="4">
                  <c:v>236</c:v>
                </c:pt>
                <c:pt idx="5">
                  <c:v>198.57140000000001</c:v>
                </c:pt>
                <c:pt idx="6">
                  <c:v>246.25</c:v>
                </c:pt>
                <c:pt idx="7">
                  <c:v>246</c:v>
                </c:pt>
              </c:numCache>
            </c:numRef>
          </c:xVal>
          <c:yVal>
            <c:numRef>
              <c:f>Sheet1!$B$2:$B$9</c:f>
              <c:numCache>
                <c:formatCode>General</c:formatCode>
                <c:ptCount val="8"/>
                <c:pt idx="0">
                  <c:v>1.327</c:v>
                </c:pt>
                <c:pt idx="1">
                  <c:v>1.24</c:v>
                </c:pt>
                <c:pt idx="2">
                  <c:v>0.26100000000000001</c:v>
                </c:pt>
                <c:pt idx="3">
                  <c:v>0.443</c:v>
                </c:pt>
                <c:pt idx="4">
                  <c:v>1.248</c:v>
                </c:pt>
                <c:pt idx="5">
                  <c:v>1.2250000000000001</c:v>
                </c:pt>
                <c:pt idx="6">
                  <c:v>1.302</c:v>
                </c:pt>
                <c:pt idx="7">
                  <c:v>1.3009999999999999</c:v>
                </c:pt>
              </c:numCache>
            </c:numRef>
          </c:yVal>
          <c:bubbleSize>
            <c:numRef>
              <c:f>Sheet1!$C$2:$C$9</c:f>
              <c:numCache>
                <c:formatCode>General</c:formatCode>
                <c:ptCount val="8"/>
                <c:pt idx="0">
                  <c:v>37394</c:v>
                </c:pt>
                <c:pt idx="1">
                  <c:v>13134</c:v>
                </c:pt>
                <c:pt idx="2">
                  <c:v>3598</c:v>
                </c:pt>
                <c:pt idx="3">
                  <c:v>1925</c:v>
                </c:pt>
                <c:pt idx="4">
                  <c:v>1652</c:v>
                </c:pt>
                <c:pt idx="5">
                  <c:v>1390</c:v>
                </c:pt>
                <c:pt idx="6">
                  <c:v>985</c:v>
                </c:pt>
                <c:pt idx="7">
                  <c:v>738</c:v>
                </c:pt>
              </c:numCache>
            </c:numRef>
          </c:bubbleSize>
          <c:bubble3D val="0"/>
          <c:extLst>
            <c:ext xmlns:c15="http://schemas.microsoft.com/office/drawing/2012/chart" uri="{02D57815-91ED-43cb-92C2-25804820EDAC}">
              <c15:datalabelsRange>
                <c15:f>Sheet1!$E$2:$E$10</c15:f>
                <c15:dlblRangeCache>
                  <c:ptCount val="9"/>
                  <c:pt idx="0">
                    <c:v>Mhcs</c:v>
                  </c:pt>
                  <c:pt idx="1">
                    <c:v>Roederer</c:v>
                  </c:pt>
                  <c:pt idx="2">
                    <c:v>Malard</c:v>
                  </c:pt>
                  <c:pt idx="3">
                    <c:v>Laurent Perrier</c:v>
                  </c:pt>
                  <c:pt idx="4">
                    <c:v>Bollinger</c:v>
                  </c:pt>
                  <c:pt idx="5">
                    <c:v>Vranken Pommery</c:v>
                  </c:pt>
                  <c:pt idx="6">
                    <c:v>Epi</c:v>
                  </c:pt>
                  <c:pt idx="7">
                    <c:v>Pernod Ricard</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96"/>
          <c:min val="3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26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7DAC739-160B-48A3-8F1F-382E314B837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CF57E4D-DB2E-4CA1-8CC4-50A3E42B22B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BF1FD5C-CAA1-43E4-8BEA-158646F128D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319C50D-F15F-42BF-B995-83FF0EE3976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A2690D0-5972-46DB-9101-38C9A8C39E8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B243CEA-4CEF-4B0D-8A28-EF2E4D009E6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64874E7C-D6F1-484A-94C4-2C85D81F6EF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AEED0C8C-B953-427D-BC77-82B2F2D25D0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199.22970000000001</c:v>
                </c:pt>
                <c:pt idx="1">
                  <c:v>147.25739999999999</c:v>
                </c:pt>
                <c:pt idx="2">
                  <c:v>38.807899999999997</c:v>
                </c:pt>
                <c:pt idx="3">
                  <c:v>255.3158</c:v>
                </c:pt>
                <c:pt idx="4">
                  <c:v>67.7</c:v>
                </c:pt>
                <c:pt idx="5">
                  <c:v>218.27269999999999</c:v>
                </c:pt>
                <c:pt idx="6">
                  <c:v>341.1429</c:v>
                </c:pt>
                <c:pt idx="7">
                  <c:v>143.07140000000001</c:v>
                </c:pt>
              </c:numCache>
            </c:numRef>
          </c:xVal>
          <c:yVal>
            <c:numRef>
              <c:f>Sheet1!$B$2:$B$9</c:f>
              <c:numCache>
                <c:formatCode>General</c:formatCode>
                <c:ptCount val="8"/>
                <c:pt idx="0">
                  <c:v>1.571</c:v>
                </c:pt>
                <c:pt idx="1">
                  <c:v>1.107</c:v>
                </c:pt>
                <c:pt idx="2">
                  <c:v>0.34100000000000003</c:v>
                </c:pt>
                <c:pt idx="3">
                  <c:v>1.976</c:v>
                </c:pt>
                <c:pt idx="4">
                  <c:v>0.52100000000000002</c:v>
                </c:pt>
                <c:pt idx="5">
                  <c:v>1.5109999999999999</c:v>
                </c:pt>
                <c:pt idx="6">
                  <c:v>2.3620000000000001</c:v>
                </c:pt>
                <c:pt idx="7">
                  <c:v>0.99099999999999999</c:v>
                </c:pt>
              </c:numCache>
            </c:numRef>
          </c:yVal>
          <c:bubbleSize>
            <c:numRef>
              <c:f>Sheet1!$C$2:$C$9</c:f>
              <c:numCache>
                <c:formatCode>General</c:formatCode>
                <c:ptCount val="8"/>
                <c:pt idx="0">
                  <c:v>29486</c:v>
                </c:pt>
                <c:pt idx="1">
                  <c:v>14873</c:v>
                </c:pt>
                <c:pt idx="2">
                  <c:v>5860</c:v>
                </c:pt>
                <c:pt idx="3">
                  <c:v>4851</c:v>
                </c:pt>
                <c:pt idx="4">
                  <c:v>2708</c:v>
                </c:pt>
                <c:pt idx="5">
                  <c:v>2401</c:v>
                </c:pt>
                <c:pt idx="6">
                  <c:v>2388</c:v>
                </c:pt>
                <c:pt idx="7">
                  <c:v>2003</c:v>
                </c:pt>
              </c:numCache>
            </c:numRef>
          </c:bubbleSize>
          <c:bubble3D val="0"/>
          <c:extLst>
            <c:ext xmlns:c15="http://schemas.microsoft.com/office/drawing/2012/chart" uri="{02D57815-91ED-43cb-92C2-25804820EDAC}">
              <c15:datalabelsRange>
                <c15:f>Sheet1!$E$2:$E$10</c15:f>
                <c15:dlblRangeCache>
                  <c:ptCount val="9"/>
                  <c:pt idx="0">
                    <c:v>Mhcs</c:v>
                  </c:pt>
                  <c:pt idx="1">
                    <c:v>Roederer</c:v>
                  </c:pt>
                  <c:pt idx="2">
                    <c:v>Malard</c:v>
                  </c:pt>
                  <c:pt idx="3">
                    <c:v>Bollinger</c:v>
                  </c:pt>
                  <c:pt idx="4">
                    <c:v>Laurent Perrier</c:v>
                  </c:pt>
                  <c:pt idx="5">
                    <c:v>Pernod Ricard</c:v>
                  </c:pt>
                  <c:pt idx="6">
                    <c:v>Epi</c:v>
                  </c:pt>
                  <c:pt idx="7">
                    <c:v>Lanson-Bcc</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09"/>
          <c:min val="3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5620000000000003"/>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F3E4460-F913-4609-9640-60A3BA79E96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8BA1FCC-FE36-4AE8-B97C-F814FCE16B4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0287144-A56D-4F34-8341-91197191B18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607D17B-BA11-4626-8493-60A42BBFD0D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2BD7D74-96E6-4448-91A6-361465127B0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BB037FF-D2FB-4015-AB48-F182ED54667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2CA329EE-68E9-45C0-A30C-E7369910E8C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244024FF-460C-4B70-97AA-7A34AA94C54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212.60810000000001</c:v>
                </c:pt>
                <c:pt idx="1">
                  <c:v>184.46119999999999</c:v>
                </c:pt>
                <c:pt idx="2">
                  <c:v>37.124699999999997</c:v>
                </c:pt>
                <c:pt idx="3">
                  <c:v>62.449199999999998</c:v>
                </c:pt>
                <c:pt idx="4">
                  <c:v>240.72479999999999</c:v>
                </c:pt>
                <c:pt idx="5">
                  <c:v>255.81819999999999</c:v>
                </c:pt>
                <c:pt idx="6">
                  <c:v>322.5385</c:v>
                </c:pt>
              </c:numCache>
            </c:numRef>
          </c:xVal>
          <c:yVal>
            <c:numRef>
              <c:f>Sheet1!$B$2:$B$8</c:f>
              <c:numCache>
                <c:formatCode>General</c:formatCode>
                <c:ptCount val="7"/>
                <c:pt idx="0">
                  <c:v>1.3420000000000001</c:v>
                </c:pt>
                <c:pt idx="1">
                  <c:v>1.143</c:v>
                </c:pt>
                <c:pt idx="2">
                  <c:v>0.23799999999999999</c:v>
                </c:pt>
                <c:pt idx="3">
                  <c:v>0.4</c:v>
                </c:pt>
                <c:pt idx="4">
                  <c:v>1.355</c:v>
                </c:pt>
                <c:pt idx="5">
                  <c:v>1.371</c:v>
                </c:pt>
                <c:pt idx="6">
                  <c:v>1.3420000000000001</c:v>
                </c:pt>
              </c:numCache>
            </c:numRef>
          </c:yVal>
          <c:bubbleSize>
            <c:numRef>
              <c:f>Sheet1!$C$2:$C$8</c:f>
              <c:numCache>
                <c:formatCode>General</c:formatCode>
                <c:ptCount val="7"/>
                <c:pt idx="0">
                  <c:v>585310</c:v>
                </c:pt>
                <c:pt idx="1">
                  <c:v>273556</c:v>
                </c:pt>
                <c:pt idx="2">
                  <c:v>47037</c:v>
                </c:pt>
                <c:pt idx="3">
                  <c:v>29476</c:v>
                </c:pt>
                <c:pt idx="4">
                  <c:v>26239</c:v>
                </c:pt>
                <c:pt idx="5">
                  <c:v>19698</c:v>
                </c:pt>
                <c:pt idx="6">
                  <c:v>12579</c:v>
                </c:pt>
              </c:numCache>
            </c:numRef>
          </c:bubbleSize>
          <c:bubble3D val="0"/>
          <c:extLst>
            <c:ext xmlns:c15="http://schemas.microsoft.com/office/drawing/2012/chart" uri="{02D57815-91ED-43cb-92C2-25804820EDAC}">
              <c15:datalabelsRange>
                <c15:f>Sheet1!$E$2:$E$10</c15:f>
                <c15:dlblRangeCache>
                  <c:ptCount val="9"/>
                  <c:pt idx="0">
                    <c:v>Mhcs</c:v>
                  </c:pt>
                  <c:pt idx="1">
                    <c:v>Roederer</c:v>
                  </c:pt>
                  <c:pt idx="2">
                    <c:v>Malard</c:v>
                  </c:pt>
                  <c:pt idx="3">
                    <c:v>Laurent Perrier</c:v>
                  </c:pt>
                  <c:pt idx="4">
                    <c:v>Bollinger</c:v>
                  </c:pt>
                  <c:pt idx="5">
                    <c:v>Pernod Ricard</c:v>
                  </c:pt>
                  <c:pt idx="6">
                    <c:v>Vranken Pommer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87"/>
          <c:min val="3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71"/>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9849F60-E772-4937-96E2-C6E221AFA85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7014996-91CA-416D-808A-24AB1322B64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23F94F9-4143-48F2-B931-443E239BCF6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3E080A7-A079-457E-B386-D2034DEA29E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05F55CF-F8FE-48CB-9011-33FF40ADD27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EC56D7B-AFBC-4FCC-A698-10BD88D78E7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017B0B79-D718-4561-92E1-88AE639476E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FB69F7F4-664D-4E79-829A-763935B816D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200.9853</c:v>
                </c:pt>
                <c:pt idx="1">
                  <c:v>156.2414</c:v>
                </c:pt>
                <c:pt idx="2">
                  <c:v>37.572499999999998</c:v>
                </c:pt>
                <c:pt idx="3">
                  <c:v>64.150199999999998</c:v>
                </c:pt>
                <c:pt idx="4">
                  <c:v>278.46809999999999</c:v>
                </c:pt>
                <c:pt idx="5">
                  <c:v>286.47370000000001</c:v>
                </c:pt>
              </c:numCache>
            </c:numRef>
          </c:xVal>
          <c:yVal>
            <c:numRef>
              <c:f>Sheet1!$B$2:$B$7</c:f>
              <c:numCache>
                <c:formatCode>General</c:formatCode>
                <c:ptCount val="6"/>
                <c:pt idx="0">
                  <c:v>1.4990000000000001</c:v>
                </c:pt>
                <c:pt idx="1">
                  <c:v>1.111</c:v>
                </c:pt>
                <c:pt idx="2">
                  <c:v>0.29199999999999998</c:v>
                </c:pt>
                <c:pt idx="3">
                  <c:v>0.48899999999999999</c:v>
                </c:pt>
                <c:pt idx="4">
                  <c:v>1.802</c:v>
                </c:pt>
                <c:pt idx="5">
                  <c:v>1.9670000000000001</c:v>
                </c:pt>
              </c:numCache>
            </c:numRef>
          </c:yVal>
          <c:bubbleSize>
            <c:numRef>
              <c:f>Sheet1!$C$2:$C$7</c:f>
              <c:numCache>
                <c:formatCode>General</c:formatCode>
                <c:ptCount val="6"/>
                <c:pt idx="0">
                  <c:v>178073</c:v>
                </c:pt>
                <c:pt idx="1">
                  <c:v>77027</c:v>
                </c:pt>
                <c:pt idx="2">
                  <c:v>25662</c:v>
                </c:pt>
                <c:pt idx="3">
                  <c:v>16230</c:v>
                </c:pt>
                <c:pt idx="4">
                  <c:v>13088</c:v>
                </c:pt>
                <c:pt idx="5">
                  <c:v>5443</c:v>
                </c:pt>
              </c:numCache>
            </c:numRef>
          </c:bubbleSize>
          <c:bubble3D val="0"/>
          <c:extLst>
            <c:ext xmlns:c15="http://schemas.microsoft.com/office/drawing/2012/chart" uri="{02D57815-91ED-43cb-92C2-25804820EDAC}">
              <c15:datalabelsRange>
                <c15:f>Sheet1!$E$2:$E$10</c15:f>
                <c15:dlblRangeCache>
                  <c:ptCount val="9"/>
                  <c:pt idx="0">
                    <c:v>Mhcs</c:v>
                  </c:pt>
                  <c:pt idx="1">
                    <c:v>Roederer</c:v>
                  </c:pt>
                  <c:pt idx="2">
                    <c:v>Malard</c:v>
                  </c:pt>
                  <c:pt idx="3">
                    <c:v>Laurent Perrier</c:v>
                  </c:pt>
                  <c:pt idx="4">
                    <c:v>Bollinger</c:v>
                  </c:pt>
                  <c:pt idx="5">
                    <c:v>Epi</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44"/>
          <c:min val="3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1670000000000003"/>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1A9ED7C-D56D-4F98-8AB4-B54F7013C24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1E7F3FA-B021-42CB-B74C-5668383920B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B757765-B163-43BA-8BB6-E46FC3AED96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1668609-8925-4C99-AD60-73261732C36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EDD8BAD-EC32-4DA1-A3E6-AD5DBB449BB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C4A73586-3E6C-49B3-AD43-11ED6643319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CADA377E-B058-42C7-A76A-0138D375CAC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13DEF33B-8A66-44BF-8E30-464D42A9A80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189.60130000000001</c:v>
                </c:pt>
                <c:pt idx="1">
                  <c:v>165.7234</c:v>
                </c:pt>
                <c:pt idx="2">
                  <c:v>37.135100000000001</c:v>
                </c:pt>
                <c:pt idx="3">
                  <c:v>271.21949999999998</c:v>
                </c:pt>
                <c:pt idx="4">
                  <c:v>227.80430000000001</c:v>
                </c:pt>
                <c:pt idx="5">
                  <c:v>64.681399999999996</c:v>
                </c:pt>
                <c:pt idx="6">
                  <c:v>232.8065</c:v>
                </c:pt>
                <c:pt idx="7">
                  <c:v>309.1053</c:v>
                </c:pt>
              </c:numCache>
            </c:numRef>
          </c:xVal>
          <c:yVal>
            <c:numRef>
              <c:f>Sheet1!$B$2:$B$9</c:f>
              <c:numCache>
                <c:formatCode>General</c:formatCode>
                <c:ptCount val="8"/>
                <c:pt idx="0">
                  <c:v>1.37</c:v>
                </c:pt>
                <c:pt idx="1">
                  <c:v>1.163</c:v>
                </c:pt>
                <c:pt idx="2">
                  <c:v>0.27300000000000002</c:v>
                </c:pt>
                <c:pt idx="3">
                  <c:v>1.6559999999999999</c:v>
                </c:pt>
                <c:pt idx="4">
                  <c:v>1.375</c:v>
                </c:pt>
                <c:pt idx="5">
                  <c:v>0.46300000000000002</c:v>
                </c:pt>
                <c:pt idx="6">
                  <c:v>1.5289999999999999</c:v>
                </c:pt>
                <c:pt idx="7">
                  <c:v>1.7030000000000001</c:v>
                </c:pt>
              </c:numCache>
            </c:numRef>
          </c:yVal>
          <c:bubbleSize>
            <c:numRef>
              <c:f>Sheet1!$C$2:$C$9</c:f>
              <c:numCache>
                <c:formatCode>General</c:formatCode>
                <c:ptCount val="8"/>
                <c:pt idx="0">
                  <c:v>284402</c:v>
                </c:pt>
                <c:pt idx="1">
                  <c:v>129430</c:v>
                </c:pt>
                <c:pt idx="2">
                  <c:v>37655</c:v>
                </c:pt>
                <c:pt idx="3">
                  <c:v>11120</c:v>
                </c:pt>
                <c:pt idx="4">
                  <c:v>10479</c:v>
                </c:pt>
                <c:pt idx="5">
                  <c:v>7309</c:v>
                </c:pt>
                <c:pt idx="6">
                  <c:v>7217</c:v>
                </c:pt>
                <c:pt idx="7">
                  <c:v>5873</c:v>
                </c:pt>
              </c:numCache>
            </c:numRef>
          </c:bubbleSize>
          <c:bubble3D val="0"/>
          <c:extLst>
            <c:ext xmlns:c15="http://schemas.microsoft.com/office/drawing/2012/chart" uri="{02D57815-91ED-43cb-92C2-25804820EDAC}">
              <c15:datalabelsRange>
                <c15:f>Sheet1!$E$2:$E$10</c15:f>
                <c15:dlblRangeCache>
                  <c:ptCount val="9"/>
                  <c:pt idx="0">
                    <c:v>Mhcs</c:v>
                  </c:pt>
                  <c:pt idx="1">
                    <c:v>Roederer</c:v>
                  </c:pt>
                  <c:pt idx="2">
                    <c:v>Malard</c:v>
                  </c:pt>
                  <c:pt idx="3">
                    <c:v>Epi</c:v>
                  </c:pt>
                  <c:pt idx="4">
                    <c:v>Bollinger</c:v>
                  </c:pt>
                  <c:pt idx="5">
                    <c:v>Laurent Perrier</c:v>
                  </c:pt>
                  <c:pt idx="6">
                    <c:v>Vranken Pommery</c:v>
                  </c:pt>
                  <c:pt idx="7">
                    <c:v>Pernod Ricard</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71"/>
          <c:min val="3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903"/>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0DCEE06-E433-4E41-909F-4354F582BC0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400D155-21C7-4282-B732-221C1603949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3A4BD57-1D41-46F6-974A-B7E86924DFD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4152A64-E8CF-4E00-A907-A2684D9754E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27312B5-7EA6-4D33-B2B2-A11B14244B2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0288455-483C-4F91-B36F-6D093D8209A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1EA09A89-DBAF-4A8D-8036-E37870EAB10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42DAE711-B3D0-4D48-967B-0FD0116FB0B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187.29089999999999</c:v>
                </c:pt>
                <c:pt idx="1">
                  <c:v>168.5444</c:v>
                </c:pt>
                <c:pt idx="2">
                  <c:v>37.530099999999997</c:v>
                </c:pt>
                <c:pt idx="3">
                  <c:v>229.54740000000001</c:v>
                </c:pt>
                <c:pt idx="4">
                  <c:v>65.619699999999995</c:v>
                </c:pt>
                <c:pt idx="5">
                  <c:v>241.26089999999999</c:v>
                </c:pt>
                <c:pt idx="6">
                  <c:v>304</c:v>
                </c:pt>
                <c:pt idx="7">
                  <c:v>247.94739999999999</c:v>
                </c:pt>
              </c:numCache>
            </c:numRef>
          </c:xVal>
          <c:yVal>
            <c:numRef>
              <c:f>Sheet1!$B$2:$B$9</c:f>
              <c:numCache>
                <c:formatCode>General</c:formatCode>
                <c:ptCount val="8"/>
                <c:pt idx="0">
                  <c:v>1.4410000000000001</c:v>
                </c:pt>
                <c:pt idx="1">
                  <c:v>1.206</c:v>
                </c:pt>
                <c:pt idx="2">
                  <c:v>0.29499999999999998</c:v>
                </c:pt>
                <c:pt idx="3">
                  <c:v>1.6319999999999999</c:v>
                </c:pt>
                <c:pt idx="4">
                  <c:v>0.48799999999999999</c:v>
                </c:pt>
                <c:pt idx="5">
                  <c:v>1.492</c:v>
                </c:pt>
                <c:pt idx="6">
                  <c:v>1.798</c:v>
                </c:pt>
                <c:pt idx="7">
                  <c:v>1.466</c:v>
                </c:pt>
              </c:numCache>
            </c:numRef>
          </c:yVal>
          <c:bubbleSize>
            <c:numRef>
              <c:f>Sheet1!$C$2:$C$9</c:f>
              <c:numCache>
                <c:formatCode>General</c:formatCode>
                <c:ptCount val="8"/>
                <c:pt idx="0">
                  <c:v>195719</c:v>
                </c:pt>
                <c:pt idx="1">
                  <c:v>87306</c:v>
                </c:pt>
                <c:pt idx="2">
                  <c:v>33627</c:v>
                </c:pt>
                <c:pt idx="3">
                  <c:v>21807</c:v>
                </c:pt>
                <c:pt idx="4">
                  <c:v>9318</c:v>
                </c:pt>
                <c:pt idx="5">
                  <c:v>5549</c:v>
                </c:pt>
                <c:pt idx="6">
                  <c:v>5168</c:v>
                </c:pt>
                <c:pt idx="7">
                  <c:v>4711</c:v>
                </c:pt>
              </c:numCache>
            </c:numRef>
          </c:bubbleSize>
          <c:bubble3D val="0"/>
          <c:extLst>
            <c:ext xmlns:c15="http://schemas.microsoft.com/office/drawing/2012/chart" uri="{02D57815-91ED-43cb-92C2-25804820EDAC}">
              <c15:datalabelsRange>
                <c15:f>Sheet1!$E$2:$E$10</c15:f>
                <c15:dlblRangeCache>
                  <c:ptCount val="9"/>
                  <c:pt idx="0">
                    <c:v>Mhcs</c:v>
                  </c:pt>
                  <c:pt idx="1">
                    <c:v>Roederer</c:v>
                  </c:pt>
                  <c:pt idx="2">
                    <c:v>Malard</c:v>
                  </c:pt>
                  <c:pt idx="3">
                    <c:v>Bollinger</c:v>
                  </c:pt>
                  <c:pt idx="4">
                    <c:v>Laurent Perrier</c:v>
                  </c:pt>
                  <c:pt idx="5">
                    <c:v>Vranken Pommery</c:v>
                  </c:pt>
                  <c:pt idx="6">
                    <c:v>Epi</c:v>
                  </c:pt>
                  <c:pt idx="7">
                    <c:v>Pernod Ricard</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65"/>
          <c:min val="3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998"/>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A7BDF3E-0CC1-4899-B90D-8088144C0FF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A151F00-A7BA-46FE-A8A4-0D77015FAA2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B7C46B2-D6A5-4920-A8EA-77BC73AE20D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1EC4C53-F648-4963-9DE4-71D1A05E2C4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BD36BC9-AA48-464A-B4BF-54D3F7688D4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7AD7496-3D70-4C14-ACF7-FD93984909C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C61400A9-7374-450E-BBA7-6F320FB802D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47E9E1DD-16E5-41F2-83E2-2AF7BCE4FE4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180.28559999999999</c:v>
                </c:pt>
                <c:pt idx="1">
                  <c:v>155.84129999999999</c:v>
                </c:pt>
                <c:pt idx="2">
                  <c:v>37.944800000000001</c:v>
                </c:pt>
                <c:pt idx="3">
                  <c:v>66.116100000000003</c:v>
                </c:pt>
                <c:pt idx="4">
                  <c:v>242.03229999999999</c:v>
                </c:pt>
                <c:pt idx="5">
                  <c:v>241.36840000000001</c:v>
                </c:pt>
                <c:pt idx="6">
                  <c:v>257.4667</c:v>
                </c:pt>
              </c:numCache>
            </c:numRef>
          </c:xVal>
          <c:yVal>
            <c:numRef>
              <c:f>Sheet1!$B$2:$B$8</c:f>
              <c:numCache>
                <c:formatCode>General</c:formatCode>
                <c:ptCount val="7"/>
                <c:pt idx="0">
                  <c:v>1.621</c:v>
                </c:pt>
                <c:pt idx="1">
                  <c:v>1.286</c:v>
                </c:pt>
                <c:pt idx="2">
                  <c:v>0.35899999999999999</c:v>
                </c:pt>
                <c:pt idx="3">
                  <c:v>0.58199999999999996</c:v>
                </c:pt>
                <c:pt idx="4">
                  <c:v>1.9179999999999999</c:v>
                </c:pt>
                <c:pt idx="5">
                  <c:v>1.8240000000000001</c:v>
                </c:pt>
                <c:pt idx="6">
                  <c:v>1.843</c:v>
                </c:pt>
              </c:numCache>
            </c:numRef>
          </c:yVal>
          <c:bubbleSize>
            <c:numRef>
              <c:f>Sheet1!$C$2:$C$8</c:f>
              <c:numCache>
                <c:formatCode>General</c:formatCode>
                <c:ptCount val="7"/>
                <c:pt idx="0">
                  <c:v>167305</c:v>
                </c:pt>
                <c:pt idx="1">
                  <c:v>64830</c:v>
                </c:pt>
                <c:pt idx="2">
                  <c:v>45344</c:v>
                </c:pt>
                <c:pt idx="3">
                  <c:v>10248</c:v>
                </c:pt>
                <c:pt idx="4">
                  <c:v>7503</c:v>
                </c:pt>
                <c:pt idx="5">
                  <c:v>4586</c:v>
                </c:pt>
                <c:pt idx="6">
                  <c:v>3862</c:v>
                </c:pt>
              </c:numCache>
            </c:numRef>
          </c:bubbleSize>
          <c:bubble3D val="0"/>
          <c:extLst>
            <c:ext xmlns:c15="http://schemas.microsoft.com/office/drawing/2012/chart" uri="{02D57815-91ED-43cb-92C2-25804820EDAC}">
              <c15:datalabelsRange>
                <c15:f>Sheet1!$E$2:$E$10</c15:f>
                <c15:dlblRangeCache>
                  <c:ptCount val="9"/>
                  <c:pt idx="0">
                    <c:v>Mhcs</c:v>
                  </c:pt>
                  <c:pt idx="1">
                    <c:v>Roederer</c:v>
                  </c:pt>
                  <c:pt idx="2">
                    <c:v>Malard</c:v>
                  </c:pt>
                  <c:pt idx="3">
                    <c:v>Laurent Perrier</c:v>
                  </c:pt>
                  <c:pt idx="4">
                    <c:v>Bollinger</c:v>
                  </c:pt>
                  <c:pt idx="5">
                    <c:v>Epi</c:v>
                  </c:pt>
                  <c:pt idx="6">
                    <c:v>Vranken Pommer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09"/>
          <c:min val="3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117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1FFFEF5-75B5-4444-8626-DCE683561B2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6886770-B0FA-4CA9-9089-9168B7555D1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B54C8F8-BF5A-44B9-931A-93E979882A8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516C569-E0D1-4F6D-8A61-71E34254E03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674275C-3BEE-4B43-9F44-18E7AE46CF9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E8795BA-8640-4E79-B535-3CB4299A581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33842142-0180-4178-8E54-F2B6AC5ACE7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C27B4477-2FFE-42EB-9B33-1286DC0CDE7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74.606999999999999</c:v>
                </c:pt>
                <c:pt idx="1">
                  <c:v>50.238399999999999</c:v>
                </c:pt>
                <c:pt idx="2">
                  <c:v>52.996000000000002</c:v>
                </c:pt>
                <c:pt idx="3">
                  <c:v>23.661899999999999</c:v>
                </c:pt>
                <c:pt idx="4">
                  <c:v>95.832400000000007</c:v>
                </c:pt>
                <c:pt idx="5">
                  <c:v>31.808399999999999</c:v>
                </c:pt>
                <c:pt idx="6">
                  <c:v>32.778799999999997</c:v>
                </c:pt>
                <c:pt idx="7">
                  <c:v>287.9796</c:v>
                </c:pt>
              </c:numCache>
            </c:numRef>
          </c:xVal>
          <c:yVal>
            <c:numRef>
              <c:f>Sheet1!$B$2:$B$9</c:f>
              <c:numCache>
                <c:formatCode>General</c:formatCode>
                <c:ptCount val="8"/>
                <c:pt idx="0">
                  <c:v>1.7290000000000001</c:v>
                </c:pt>
                <c:pt idx="1">
                  <c:v>1.1479999999999999</c:v>
                </c:pt>
                <c:pt idx="2">
                  <c:v>1.1180000000000001</c:v>
                </c:pt>
                <c:pt idx="3">
                  <c:v>0.55800000000000005</c:v>
                </c:pt>
                <c:pt idx="4">
                  <c:v>2.2170000000000001</c:v>
                </c:pt>
                <c:pt idx="5">
                  <c:v>0.745</c:v>
                </c:pt>
                <c:pt idx="6">
                  <c:v>0.751</c:v>
                </c:pt>
                <c:pt idx="7">
                  <c:v>6.57</c:v>
                </c:pt>
              </c:numCache>
            </c:numRef>
          </c:yVal>
          <c:bubbleSize>
            <c:numRef>
              <c:f>Sheet1!$C$2:$C$9</c:f>
              <c:numCache>
                <c:formatCode>General</c:formatCode>
                <c:ptCount val="8"/>
                <c:pt idx="0">
                  <c:v>1590547</c:v>
                </c:pt>
                <c:pt idx="1">
                  <c:v>430995</c:v>
                </c:pt>
                <c:pt idx="2">
                  <c:v>366626</c:v>
                </c:pt>
                <c:pt idx="3">
                  <c:v>343168</c:v>
                </c:pt>
                <c:pt idx="4">
                  <c:v>228081</c:v>
                </c:pt>
                <c:pt idx="5">
                  <c:v>210031</c:v>
                </c:pt>
                <c:pt idx="6">
                  <c:v>199000</c:v>
                </c:pt>
                <c:pt idx="7">
                  <c:v>183155</c:v>
                </c:pt>
              </c:numCache>
            </c:numRef>
          </c:bubbleSize>
          <c:bubble3D val="0"/>
          <c:extLst>
            <c:ext xmlns:c15="http://schemas.microsoft.com/office/drawing/2012/chart" uri="{02D57815-91ED-43cb-92C2-25804820EDAC}">
              <c15:datalabelsRange>
                <c15:f>Sheet1!$E$2:$E$10</c15:f>
                <c15:dlblRangeCache>
                  <c:ptCount val="9"/>
                  <c:pt idx="0">
                    <c:v>Ruinart</c:v>
                  </c:pt>
                  <c:pt idx="1">
                    <c:v>Deutz</c:v>
                  </c:pt>
                  <c:pt idx="2">
                    <c:v>Laurent Perrier</c:v>
                  </c:pt>
                  <c:pt idx="3">
                    <c:v>Nicolas</c:v>
                  </c:pt>
                  <c:pt idx="4">
                    <c:v>Roederer</c:v>
                  </c:pt>
                  <c:pt idx="5">
                    <c:v>Malard</c:v>
                  </c:pt>
                  <c:pt idx="6">
                    <c:v>Nicolas Feuillatte</c:v>
                  </c:pt>
                  <c:pt idx="7">
                    <c:v>Dom Perigno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46"/>
          <c:min val="19"/>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4769F1E-5CF6-4356-A9ED-A25638A0263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23C2E63-BC0B-4DBE-AF6D-CE46B925F47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86F1AFE-2CFE-4CE0-8C56-51351B00D66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BC6E442-3038-4B56-9260-5229E36290D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61BDC97-F90E-4955-9D75-8FD01E8BEE0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FAA5E18-7F95-4DB7-981E-37E965A21B7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F0ECE9B-3923-4B13-B052-8EA05993739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23FCFF2E-6747-492E-A13A-B2AB7383708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68.593400000000003</c:v>
                </c:pt>
                <c:pt idx="1">
                  <c:v>23.808499999999999</c:v>
                </c:pt>
                <c:pt idx="2">
                  <c:v>50.115900000000003</c:v>
                </c:pt>
                <c:pt idx="3">
                  <c:v>31.6996</c:v>
                </c:pt>
                <c:pt idx="4">
                  <c:v>52.491900000000001</c:v>
                </c:pt>
                <c:pt idx="5">
                  <c:v>29.232500000000002</c:v>
                </c:pt>
                <c:pt idx="6">
                  <c:v>33.807899999999997</c:v>
                </c:pt>
                <c:pt idx="7">
                  <c:v>31.170300000000001</c:v>
                </c:pt>
              </c:numCache>
            </c:numRef>
          </c:xVal>
          <c:yVal>
            <c:numRef>
              <c:f>Sheet1!$B$2:$B$9</c:f>
              <c:numCache>
                <c:formatCode>General</c:formatCode>
                <c:ptCount val="8"/>
                <c:pt idx="0">
                  <c:v>1.6279999999999999</c:v>
                </c:pt>
                <c:pt idx="1">
                  <c:v>0.57399999999999995</c:v>
                </c:pt>
                <c:pt idx="2">
                  <c:v>1.1639999999999999</c:v>
                </c:pt>
                <c:pt idx="3">
                  <c:v>0.76200000000000001</c:v>
                </c:pt>
                <c:pt idx="4">
                  <c:v>1.1220000000000001</c:v>
                </c:pt>
                <c:pt idx="5">
                  <c:v>0.70299999999999996</c:v>
                </c:pt>
                <c:pt idx="6">
                  <c:v>0.78200000000000003</c:v>
                </c:pt>
                <c:pt idx="7">
                  <c:v>0.749</c:v>
                </c:pt>
              </c:numCache>
            </c:numRef>
          </c:yVal>
          <c:bubbleSize>
            <c:numRef>
              <c:f>Sheet1!$C$2:$C$9</c:f>
              <c:numCache>
                <c:formatCode>General</c:formatCode>
                <c:ptCount val="8"/>
                <c:pt idx="0">
                  <c:v>2452284</c:v>
                </c:pt>
                <c:pt idx="1">
                  <c:v>1052215</c:v>
                </c:pt>
                <c:pt idx="2">
                  <c:v>800953</c:v>
                </c:pt>
                <c:pt idx="3">
                  <c:v>584730</c:v>
                </c:pt>
                <c:pt idx="4">
                  <c:v>451798</c:v>
                </c:pt>
                <c:pt idx="5">
                  <c:v>367569</c:v>
                </c:pt>
                <c:pt idx="6">
                  <c:v>360663</c:v>
                </c:pt>
                <c:pt idx="7">
                  <c:v>351009</c:v>
                </c:pt>
              </c:numCache>
            </c:numRef>
          </c:bubbleSize>
          <c:bubble3D val="0"/>
          <c:extLst>
            <c:ext xmlns:c15="http://schemas.microsoft.com/office/drawing/2012/chart" uri="{02D57815-91ED-43cb-92C2-25804820EDAC}">
              <c15:datalabelsRange>
                <c15:f>Sheet1!$E$2:$E$10</c15:f>
                <c15:dlblRangeCache>
                  <c:ptCount val="9"/>
                  <c:pt idx="0">
                    <c:v>Ruinart</c:v>
                  </c:pt>
                  <c:pt idx="1">
                    <c:v>Nicolas</c:v>
                  </c:pt>
                  <c:pt idx="2">
                    <c:v>Deutz</c:v>
                  </c:pt>
                  <c:pt idx="3">
                    <c:v>Malard</c:v>
                  </c:pt>
                  <c:pt idx="4">
                    <c:v>Laurent Perrier</c:v>
                  </c:pt>
                  <c:pt idx="5">
                    <c:v>Heidsieck &amp; Co Monopole</c:v>
                  </c:pt>
                  <c:pt idx="6">
                    <c:v>Nicolas Feuillatte</c:v>
                  </c:pt>
                  <c:pt idx="7">
                    <c:v>De Blign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2"/>
          <c:min val="19"/>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509C6BA-E5EC-4C1E-B4A1-672C530B935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6A8D889-E608-4274-B8EB-0C00BEDD516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45E65E3-7092-460B-9291-54BB4D824DD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2968EDD-DA3A-4894-9CCD-8C21508B6C2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1DD63171-3AC0-448D-BB7C-49ABD2E60E9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417B766-CC8E-482B-84EC-F7F2FF0E0B3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C00E546-FB84-4A3B-B239-31FE305CBD2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4D7C17C6-D67C-42AE-90FD-C0408C074AE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6.727399999999999</c:v>
                </c:pt>
                <c:pt idx="1">
                  <c:v>32.021000000000001</c:v>
                </c:pt>
                <c:pt idx="2">
                  <c:v>62.957700000000003</c:v>
                </c:pt>
                <c:pt idx="3">
                  <c:v>32.944400000000002</c:v>
                </c:pt>
                <c:pt idx="4">
                  <c:v>28.646999999999998</c:v>
                </c:pt>
                <c:pt idx="5">
                  <c:v>36.854300000000002</c:v>
                </c:pt>
                <c:pt idx="6">
                  <c:v>26.394300000000001</c:v>
                </c:pt>
                <c:pt idx="7">
                  <c:v>31.0166</c:v>
                </c:pt>
              </c:numCache>
            </c:numRef>
          </c:xVal>
          <c:yVal>
            <c:numRef>
              <c:f>Sheet1!$B$2:$B$9</c:f>
              <c:numCache>
                <c:formatCode>General</c:formatCode>
                <c:ptCount val="8"/>
                <c:pt idx="0">
                  <c:v>0.94799999999999995</c:v>
                </c:pt>
                <c:pt idx="1">
                  <c:v>0.998</c:v>
                </c:pt>
                <c:pt idx="2">
                  <c:v>1.98</c:v>
                </c:pt>
                <c:pt idx="3">
                  <c:v>1.038</c:v>
                </c:pt>
                <c:pt idx="4">
                  <c:v>0.90800000000000003</c:v>
                </c:pt>
                <c:pt idx="5">
                  <c:v>1.169</c:v>
                </c:pt>
                <c:pt idx="6">
                  <c:v>0.83799999999999997</c:v>
                </c:pt>
                <c:pt idx="7">
                  <c:v>0.94599999999999995</c:v>
                </c:pt>
              </c:numCache>
            </c:numRef>
          </c:yVal>
          <c:bubbleSize>
            <c:numRef>
              <c:f>Sheet1!$C$2:$C$9</c:f>
              <c:numCache>
                <c:formatCode>General</c:formatCode>
                <c:ptCount val="8"/>
                <c:pt idx="0">
                  <c:v>11833795</c:v>
                </c:pt>
                <c:pt idx="1">
                  <c:v>5113789</c:v>
                </c:pt>
                <c:pt idx="2">
                  <c:v>4875253</c:v>
                </c:pt>
                <c:pt idx="3">
                  <c:v>4036279</c:v>
                </c:pt>
                <c:pt idx="4">
                  <c:v>3306117</c:v>
                </c:pt>
                <c:pt idx="5">
                  <c:v>2453762</c:v>
                </c:pt>
                <c:pt idx="6">
                  <c:v>1878563</c:v>
                </c:pt>
                <c:pt idx="7">
                  <c:v>1842294</c:v>
                </c:pt>
              </c:numCache>
            </c:numRef>
          </c:bubbleSize>
          <c:bubble3D val="0"/>
          <c:extLst>
            <c:ext xmlns:c15="http://schemas.microsoft.com/office/drawing/2012/chart" uri="{02D57815-91ED-43cb-92C2-25804820EDAC}">
              <c15:datalabelsRange>
                <c15:f>Sheet1!$E$2:$E$10</c15:f>
                <c15:dlblRangeCache>
                  <c:ptCount val="9"/>
                  <c:pt idx="0">
                    <c:v>Cfgv</c:v>
                  </c:pt>
                  <c:pt idx="1">
                    <c:v>Vranken Pommery</c:v>
                  </c:pt>
                  <c:pt idx="2">
                    <c:v>Mhcs</c:v>
                  </c:pt>
                  <c:pt idx="3">
                    <c:v>Lanson-Bcc</c:v>
                  </c:pt>
                  <c:pt idx="4">
                    <c:v>C&amp;C Sas France</c:v>
                  </c:pt>
                  <c:pt idx="5">
                    <c:v>Pernod Ricard</c:v>
                  </c:pt>
                  <c:pt idx="6">
                    <c:v>Maison Burtin</c:v>
                  </c:pt>
                  <c:pt idx="7">
                    <c:v>Laurent Perrier</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6"/>
          <c:min val="2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1800000000000002"/>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6A47142-DD42-4D2A-82E6-EFEB9F1DADB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0825153-7D2F-4F1E-B848-B0558DED180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0905BDF-8FE2-4C51-9C4F-07734F04DB0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69D2D06-B840-45D3-98B7-C7C4DF04F90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A4BE8C1-8035-4BFC-9FE1-2E308F4AD45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03B30AA-E57A-46A1-BF66-9C24C41DDAB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4BA5F74A-CE3E-435A-AAA3-093A2B845BD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66CAC378-3811-4006-A1D2-C4E95C7AB4A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99.631699999999995</c:v>
                </c:pt>
                <c:pt idx="1">
                  <c:v>60.246400000000001</c:v>
                </c:pt>
                <c:pt idx="2">
                  <c:v>40.531100000000002</c:v>
                </c:pt>
                <c:pt idx="3">
                  <c:v>26.826699999999999</c:v>
                </c:pt>
                <c:pt idx="4">
                  <c:v>81.242900000000006</c:v>
                </c:pt>
                <c:pt idx="5">
                  <c:v>37.790300000000002</c:v>
                </c:pt>
                <c:pt idx="6">
                  <c:v>41.337299999999999</c:v>
                </c:pt>
                <c:pt idx="7">
                  <c:v>36.3018</c:v>
                </c:pt>
              </c:numCache>
            </c:numRef>
          </c:xVal>
          <c:yVal>
            <c:numRef>
              <c:f>Sheet1!$B$2:$B$9</c:f>
              <c:numCache>
                <c:formatCode>General</c:formatCode>
                <c:ptCount val="8"/>
                <c:pt idx="0">
                  <c:v>1.78</c:v>
                </c:pt>
                <c:pt idx="1">
                  <c:v>1.196</c:v>
                </c:pt>
                <c:pt idx="2">
                  <c:v>0.71099999999999997</c:v>
                </c:pt>
                <c:pt idx="3">
                  <c:v>0.504</c:v>
                </c:pt>
                <c:pt idx="4">
                  <c:v>1.421</c:v>
                </c:pt>
                <c:pt idx="5">
                  <c:v>0.66200000000000003</c:v>
                </c:pt>
                <c:pt idx="6">
                  <c:v>0.86299999999999999</c:v>
                </c:pt>
                <c:pt idx="7">
                  <c:v>0.63500000000000001</c:v>
                </c:pt>
              </c:numCache>
            </c:numRef>
          </c:yVal>
          <c:bubbleSize>
            <c:numRef>
              <c:f>Sheet1!$C$2:$C$9</c:f>
              <c:numCache>
                <c:formatCode>General</c:formatCode>
                <c:ptCount val="8"/>
                <c:pt idx="0">
                  <c:v>1413674</c:v>
                </c:pt>
                <c:pt idx="1">
                  <c:v>690605</c:v>
                </c:pt>
                <c:pt idx="2">
                  <c:v>591024</c:v>
                </c:pt>
                <c:pt idx="3">
                  <c:v>415089</c:v>
                </c:pt>
                <c:pt idx="4">
                  <c:v>398659</c:v>
                </c:pt>
                <c:pt idx="5">
                  <c:v>237021</c:v>
                </c:pt>
                <c:pt idx="6">
                  <c:v>204661</c:v>
                </c:pt>
                <c:pt idx="7">
                  <c:v>181255</c:v>
                </c:pt>
              </c:numCache>
            </c:numRef>
          </c:bubbleSize>
          <c:bubble3D val="0"/>
          <c:extLst>
            <c:ext xmlns:c15="http://schemas.microsoft.com/office/drawing/2012/chart" uri="{02D57815-91ED-43cb-92C2-25804820EDAC}">
              <c15:datalabelsRange>
                <c15:f>Sheet1!$E$2:$E$10</c15:f>
                <c15:dlblRangeCache>
                  <c:ptCount val="9"/>
                  <c:pt idx="0">
                    <c:v>Mhcs</c:v>
                  </c:pt>
                  <c:pt idx="1">
                    <c:v>Roederer</c:v>
                  </c:pt>
                  <c:pt idx="2">
                    <c:v>Vranken Pommery</c:v>
                  </c:pt>
                  <c:pt idx="3">
                    <c:v>Malard Nicolas</c:v>
                  </c:pt>
                  <c:pt idx="4">
                    <c:v>Laurent Perrier</c:v>
                  </c:pt>
                  <c:pt idx="5">
                    <c:v>Cfgv</c:v>
                  </c:pt>
                  <c:pt idx="6">
                    <c:v>Lanson-Bcc</c:v>
                  </c:pt>
                  <c:pt idx="7">
                    <c:v>Malard</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20"/>
          <c:min val="2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98"/>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020CEDF-B215-42C0-B011-43A1EF756CF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1DB8BDF-7055-452B-989F-D2CA4515A1A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968CD0A-895D-4AA1-B4B2-BA09919EB05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CED8FAF-2D46-4DF6-9221-6BDACFE3FF7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0D27C05-BC00-4BCF-9475-BFE03B44146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0457899-8FEA-4D62-A915-91DA4C3158F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F0CD54C-306B-46E6-A94B-1AEC631A412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1C00461-E988-4FA9-AB9E-F976B6444C9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6.5717</c:v>
                </c:pt>
                <c:pt idx="1">
                  <c:v>31.207100000000001</c:v>
                </c:pt>
                <c:pt idx="2">
                  <c:v>32.614100000000001</c:v>
                </c:pt>
                <c:pt idx="3">
                  <c:v>54.9084</c:v>
                </c:pt>
                <c:pt idx="4">
                  <c:v>28.646999999999998</c:v>
                </c:pt>
                <c:pt idx="5">
                  <c:v>36.527700000000003</c:v>
                </c:pt>
                <c:pt idx="6">
                  <c:v>26.394300000000001</c:v>
                </c:pt>
                <c:pt idx="7">
                  <c:v>26.513500000000001</c:v>
                </c:pt>
              </c:numCache>
            </c:numRef>
          </c:xVal>
          <c:yVal>
            <c:numRef>
              <c:f>Sheet1!$B$2:$B$9</c:f>
              <c:numCache>
                <c:formatCode>General</c:formatCode>
                <c:ptCount val="8"/>
                <c:pt idx="0">
                  <c:v>0.99</c:v>
                </c:pt>
                <c:pt idx="1">
                  <c:v>1.0169999999999999</c:v>
                </c:pt>
                <c:pt idx="2">
                  <c:v>1.069</c:v>
                </c:pt>
                <c:pt idx="3">
                  <c:v>1.7969999999999999</c:v>
                </c:pt>
                <c:pt idx="4">
                  <c:v>0.95099999999999996</c:v>
                </c:pt>
                <c:pt idx="5">
                  <c:v>1.214</c:v>
                </c:pt>
                <c:pt idx="6">
                  <c:v>0.878</c:v>
                </c:pt>
                <c:pt idx="7">
                  <c:v>0.84399999999999997</c:v>
                </c:pt>
              </c:numCache>
            </c:numRef>
          </c:yVal>
          <c:bubbleSize>
            <c:numRef>
              <c:f>Sheet1!$C$2:$C$9</c:f>
              <c:numCache>
                <c:formatCode>General</c:formatCode>
                <c:ptCount val="8"/>
                <c:pt idx="0">
                  <c:v>11598081</c:v>
                </c:pt>
                <c:pt idx="1">
                  <c:v>4529900</c:v>
                </c:pt>
                <c:pt idx="2">
                  <c:v>3832321</c:v>
                </c:pt>
                <c:pt idx="3">
                  <c:v>3468179</c:v>
                </c:pt>
                <c:pt idx="4">
                  <c:v>3306117</c:v>
                </c:pt>
                <c:pt idx="5">
                  <c:v>2420106</c:v>
                </c:pt>
                <c:pt idx="6">
                  <c:v>1878563</c:v>
                </c:pt>
                <c:pt idx="7">
                  <c:v>1443739</c:v>
                </c:pt>
              </c:numCache>
            </c:numRef>
          </c:bubbleSize>
          <c:bubble3D val="0"/>
          <c:extLst>
            <c:ext xmlns:c15="http://schemas.microsoft.com/office/drawing/2012/chart" uri="{02D57815-91ED-43cb-92C2-25804820EDAC}">
              <c15:datalabelsRange>
                <c15:f>Sheet1!$E$2:$E$10</c15:f>
                <c15:dlblRangeCache>
                  <c:ptCount val="9"/>
                  <c:pt idx="0">
                    <c:v>Cfgv</c:v>
                  </c:pt>
                  <c:pt idx="1">
                    <c:v>Vranken Pommery</c:v>
                  </c:pt>
                  <c:pt idx="2">
                    <c:v>Lanson-Bcc</c:v>
                  </c:pt>
                  <c:pt idx="3">
                    <c:v>Mhcs</c:v>
                  </c:pt>
                  <c:pt idx="4">
                    <c:v>C&amp;C Sas France</c:v>
                  </c:pt>
                  <c:pt idx="5">
                    <c:v>Pernod Ricard</c:v>
                  </c:pt>
                  <c:pt idx="6">
                    <c:v>Maison Burtin</c:v>
                  </c:pt>
                  <c:pt idx="7">
                    <c:v>Laurent Perrier</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6"/>
          <c:min val="2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996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5BFDCC7-A203-4E09-ACC9-50912B84863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F97C41C-DB1D-47E3-80FB-286AA527B0A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2AB3BCB-263E-4906-BB6B-84E3961E3C9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3544574-0350-4E38-9184-0ACE684B79D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3D2864C-201F-4B8E-808A-4D7A9F42EC0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0C2B2E4-E1A7-471B-A602-384C6D6B936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746A9AF6-8EDE-4BAB-A288-FAF7BE4FA84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80244D52-C94C-4E34-87FB-18A40160DD8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102.878</c:v>
                </c:pt>
                <c:pt idx="1">
                  <c:v>58.924999999999997</c:v>
                </c:pt>
                <c:pt idx="2">
                  <c:v>40.274000000000001</c:v>
                </c:pt>
                <c:pt idx="3">
                  <c:v>26.687899999999999</c:v>
                </c:pt>
                <c:pt idx="4">
                  <c:v>80.448099999999997</c:v>
                </c:pt>
                <c:pt idx="5">
                  <c:v>37.557499999999997</c:v>
                </c:pt>
                <c:pt idx="6">
                  <c:v>40.275100000000002</c:v>
                </c:pt>
                <c:pt idx="7">
                  <c:v>35.996699999999997</c:v>
                </c:pt>
              </c:numCache>
            </c:numRef>
          </c:xVal>
          <c:yVal>
            <c:numRef>
              <c:f>Sheet1!$B$2:$B$9</c:f>
              <c:numCache>
                <c:formatCode>General</c:formatCode>
                <c:ptCount val="8"/>
                <c:pt idx="0">
                  <c:v>1.881</c:v>
                </c:pt>
                <c:pt idx="1">
                  <c:v>1.2010000000000001</c:v>
                </c:pt>
                <c:pt idx="2">
                  <c:v>0.71699999999999997</c:v>
                </c:pt>
                <c:pt idx="3">
                  <c:v>0.51300000000000001</c:v>
                </c:pt>
                <c:pt idx="4">
                  <c:v>1.43</c:v>
                </c:pt>
                <c:pt idx="5">
                  <c:v>0.66800000000000004</c:v>
                </c:pt>
                <c:pt idx="6">
                  <c:v>0.86699999999999999</c:v>
                </c:pt>
                <c:pt idx="7">
                  <c:v>0.64</c:v>
                </c:pt>
              </c:numCache>
            </c:numRef>
          </c:yVal>
          <c:bubbleSize>
            <c:numRef>
              <c:f>Sheet1!$C$2:$C$9</c:f>
              <c:numCache>
                <c:formatCode>General</c:formatCode>
                <c:ptCount val="8"/>
                <c:pt idx="0">
                  <c:v>572516</c:v>
                </c:pt>
                <c:pt idx="1">
                  <c:v>288261</c:v>
                </c:pt>
                <c:pt idx="2">
                  <c:v>258398</c:v>
                </c:pt>
                <c:pt idx="3">
                  <c:v>180357</c:v>
                </c:pt>
                <c:pt idx="4">
                  <c:v>149553</c:v>
                </c:pt>
                <c:pt idx="5">
                  <c:v>103471</c:v>
                </c:pt>
                <c:pt idx="6">
                  <c:v>96338</c:v>
                </c:pt>
                <c:pt idx="7">
                  <c:v>86320</c:v>
                </c:pt>
              </c:numCache>
            </c:numRef>
          </c:bubbleSize>
          <c:bubble3D val="0"/>
          <c:extLst>
            <c:ext xmlns:c15="http://schemas.microsoft.com/office/drawing/2012/chart" uri="{02D57815-91ED-43cb-92C2-25804820EDAC}">
              <c15:datalabelsRange>
                <c15:f>Sheet1!$E$2:$E$10</c15:f>
                <c15:dlblRangeCache>
                  <c:ptCount val="9"/>
                  <c:pt idx="0">
                    <c:v>Mhcs</c:v>
                  </c:pt>
                  <c:pt idx="1">
                    <c:v>Roederer</c:v>
                  </c:pt>
                  <c:pt idx="2">
                    <c:v>Vranken Pommery</c:v>
                  </c:pt>
                  <c:pt idx="3">
                    <c:v>Malard Nicolas</c:v>
                  </c:pt>
                  <c:pt idx="4">
                    <c:v>Laurent Perrier</c:v>
                  </c:pt>
                  <c:pt idx="5">
                    <c:v>Cfgv</c:v>
                  </c:pt>
                  <c:pt idx="6">
                    <c:v>Lanson-Bcc</c:v>
                  </c:pt>
                  <c:pt idx="7">
                    <c:v>Malard</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23"/>
          <c:min val="2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081"/>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014AE44-AF6C-45F0-98BE-B2C1C718350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35F7ACC-0EF4-4BFC-8CFC-6BF4E65B216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2B1A247-F732-41C5-BE92-2E9512C275F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660AF5C-7B37-4103-AF95-3CC71633B1C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F17FBD4-AB31-46EB-8DF3-DA5ABF9364C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0F405B0-A229-4752-BED6-474C06FDBBF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FDCFD68-63E4-40F9-A6C4-0ED7ABE17AE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36D73D81-1755-44B0-9817-B4C7FEC0114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92.3446</c:v>
                </c:pt>
                <c:pt idx="1">
                  <c:v>39.909100000000002</c:v>
                </c:pt>
                <c:pt idx="2">
                  <c:v>53.0456</c:v>
                </c:pt>
                <c:pt idx="3">
                  <c:v>26.510400000000001</c:v>
                </c:pt>
                <c:pt idx="4">
                  <c:v>81.043800000000005</c:v>
                </c:pt>
                <c:pt idx="5">
                  <c:v>37.565300000000001</c:v>
                </c:pt>
                <c:pt idx="6">
                  <c:v>41.231999999999999</c:v>
                </c:pt>
                <c:pt idx="7">
                  <c:v>36.067500000000003</c:v>
                </c:pt>
              </c:numCache>
            </c:numRef>
          </c:xVal>
          <c:yVal>
            <c:numRef>
              <c:f>Sheet1!$B$2:$B$9</c:f>
              <c:numCache>
                <c:formatCode>General</c:formatCode>
                <c:ptCount val="8"/>
                <c:pt idx="0">
                  <c:v>1.788</c:v>
                </c:pt>
                <c:pt idx="1">
                  <c:v>0.76400000000000001</c:v>
                </c:pt>
                <c:pt idx="2">
                  <c:v>1.1359999999999999</c:v>
                </c:pt>
                <c:pt idx="3">
                  <c:v>0.54100000000000004</c:v>
                </c:pt>
                <c:pt idx="4">
                  <c:v>1.5469999999999999</c:v>
                </c:pt>
                <c:pt idx="5">
                  <c:v>0.72099999999999997</c:v>
                </c:pt>
                <c:pt idx="6">
                  <c:v>0.93400000000000005</c:v>
                </c:pt>
                <c:pt idx="7">
                  <c:v>0.69499999999999995</c:v>
                </c:pt>
              </c:numCache>
            </c:numRef>
          </c:yVal>
          <c:bubbleSize>
            <c:numRef>
              <c:f>Sheet1!$C$2:$C$9</c:f>
              <c:numCache>
                <c:formatCode>General</c:formatCode>
                <c:ptCount val="8"/>
                <c:pt idx="0">
                  <c:v>267707</c:v>
                </c:pt>
                <c:pt idx="1">
                  <c:v>145828</c:v>
                </c:pt>
                <c:pt idx="2">
                  <c:v>125665</c:v>
                </c:pt>
                <c:pt idx="3">
                  <c:v>95729</c:v>
                </c:pt>
                <c:pt idx="4">
                  <c:v>68401</c:v>
                </c:pt>
                <c:pt idx="5">
                  <c:v>42261</c:v>
                </c:pt>
                <c:pt idx="6">
                  <c:v>40696</c:v>
                </c:pt>
                <c:pt idx="7">
                  <c:v>37943</c:v>
                </c:pt>
              </c:numCache>
            </c:numRef>
          </c:bubbleSize>
          <c:bubble3D val="0"/>
          <c:extLst>
            <c:ext xmlns:c15="http://schemas.microsoft.com/office/drawing/2012/chart" uri="{02D57815-91ED-43cb-92C2-25804820EDAC}">
              <c15:datalabelsRange>
                <c15:f>Sheet1!$E$2:$E$10</c15:f>
                <c15:dlblRangeCache>
                  <c:ptCount val="9"/>
                  <c:pt idx="0">
                    <c:v>Mhcs</c:v>
                  </c:pt>
                  <c:pt idx="1">
                    <c:v>Vranken Pommery</c:v>
                  </c:pt>
                  <c:pt idx="2">
                    <c:v>Roederer</c:v>
                  </c:pt>
                  <c:pt idx="3">
                    <c:v>Malard Nicolas</c:v>
                  </c:pt>
                  <c:pt idx="4">
                    <c:v>Laurent Perrier</c:v>
                  </c:pt>
                  <c:pt idx="5">
                    <c:v>Cfgv</c:v>
                  </c:pt>
                  <c:pt idx="6">
                    <c:v>Lanson-Bcc</c:v>
                  </c:pt>
                  <c:pt idx="7">
                    <c:v>Malard</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11"/>
          <c:min val="2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988"/>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CAF8FCB-7206-4D33-B79B-F259EEC437E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BAC9298-13DA-4238-BB16-74BD19655FB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9EBD783-5F04-4D84-9FA5-B7F2A62D255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38F675C-9497-435A-B90C-41F0E722C2F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900241D-9660-46AC-9A4C-3B915A4389B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60D5C45-F3EA-473B-BECC-3D6E77BCC89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7DF3594B-02EC-43B7-99B3-4B3DA31984C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03862770-21B8-41A8-953C-C96BE4FEBDF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96.129900000000006</c:v>
                </c:pt>
                <c:pt idx="1">
                  <c:v>52.991900000000001</c:v>
                </c:pt>
                <c:pt idx="2">
                  <c:v>81.850300000000004</c:v>
                </c:pt>
                <c:pt idx="3">
                  <c:v>41.756999999999998</c:v>
                </c:pt>
                <c:pt idx="4">
                  <c:v>26.938700000000001</c:v>
                </c:pt>
                <c:pt idx="5">
                  <c:v>37.7181</c:v>
                </c:pt>
                <c:pt idx="6">
                  <c:v>41.338900000000002</c:v>
                </c:pt>
                <c:pt idx="7">
                  <c:v>36.402099999999997</c:v>
                </c:pt>
              </c:numCache>
            </c:numRef>
          </c:xVal>
          <c:yVal>
            <c:numRef>
              <c:f>Sheet1!$B$2:$B$9</c:f>
              <c:numCache>
                <c:formatCode>General</c:formatCode>
                <c:ptCount val="8"/>
                <c:pt idx="0">
                  <c:v>1.69</c:v>
                </c:pt>
                <c:pt idx="1">
                  <c:v>1.0509999999999999</c:v>
                </c:pt>
                <c:pt idx="2">
                  <c:v>1.4019999999999999</c:v>
                </c:pt>
                <c:pt idx="3">
                  <c:v>0.71699999999999997</c:v>
                </c:pt>
                <c:pt idx="4">
                  <c:v>0.50600000000000001</c:v>
                </c:pt>
                <c:pt idx="5">
                  <c:v>0.64400000000000002</c:v>
                </c:pt>
                <c:pt idx="6">
                  <c:v>0.85399999999999998</c:v>
                </c:pt>
                <c:pt idx="7">
                  <c:v>0.623</c:v>
                </c:pt>
              </c:numCache>
            </c:numRef>
          </c:yVal>
          <c:bubbleSize>
            <c:numRef>
              <c:f>Sheet1!$C$2:$C$9</c:f>
              <c:numCache>
                <c:formatCode>General</c:formatCode>
                <c:ptCount val="8"/>
                <c:pt idx="0">
                  <c:v>151020</c:v>
                </c:pt>
                <c:pt idx="1">
                  <c:v>72387</c:v>
                </c:pt>
                <c:pt idx="2">
                  <c:v>68345</c:v>
                </c:pt>
                <c:pt idx="3">
                  <c:v>50860</c:v>
                </c:pt>
                <c:pt idx="4">
                  <c:v>42644</c:v>
                </c:pt>
                <c:pt idx="5">
                  <c:v>33720</c:v>
                </c:pt>
                <c:pt idx="6">
                  <c:v>19884</c:v>
                </c:pt>
                <c:pt idx="7">
                  <c:v>17655</c:v>
                </c:pt>
              </c:numCache>
            </c:numRef>
          </c:bubbleSize>
          <c:bubble3D val="0"/>
          <c:extLst>
            <c:ext xmlns:c15="http://schemas.microsoft.com/office/drawing/2012/chart" uri="{02D57815-91ED-43cb-92C2-25804820EDAC}">
              <c15:datalabelsRange>
                <c15:f>Sheet1!$E$2:$E$10</c15:f>
                <c15:dlblRangeCache>
                  <c:ptCount val="9"/>
                  <c:pt idx="0">
                    <c:v>Mhcs</c:v>
                  </c:pt>
                  <c:pt idx="1">
                    <c:v>Roederer</c:v>
                  </c:pt>
                  <c:pt idx="2">
                    <c:v>Laurent Perrier</c:v>
                  </c:pt>
                  <c:pt idx="3">
                    <c:v>Vranken Pommery</c:v>
                  </c:pt>
                  <c:pt idx="4">
                    <c:v>Malard Nicolas</c:v>
                  </c:pt>
                  <c:pt idx="5">
                    <c:v>Cfgv</c:v>
                  </c:pt>
                  <c:pt idx="6">
                    <c:v>Lanson-Bcc</c:v>
                  </c:pt>
                  <c:pt idx="7">
                    <c:v>Malard</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15"/>
          <c:min val="2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8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164B82B-798B-4959-8368-79B770D9D43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5E39858-3B7B-4499-9ADA-897260D919A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EC11A33-854C-486F-976F-D88E207327C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CAB51AF-9061-4DDD-A046-99F21FBD05F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7DEF315-1CF5-4C52-9D25-64F83BBD28F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0E96E51-FF9E-422E-AB0E-2F5BD3147C9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ED723BE6-940D-4A1F-A4A5-20855E06725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DDA92236-E57C-4876-B462-32212EA62B2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107.247</c:v>
                </c:pt>
                <c:pt idx="1">
                  <c:v>104.3814</c:v>
                </c:pt>
                <c:pt idx="2">
                  <c:v>80.4315</c:v>
                </c:pt>
                <c:pt idx="3">
                  <c:v>41.240400000000001</c:v>
                </c:pt>
                <c:pt idx="4">
                  <c:v>27.0364</c:v>
                </c:pt>
                <c:pt idx="5">
                  <c:v>37.879600000000003</c:v>
                </c:pt>
                <c:pt idx="6">
                  <c:v>78.916200000000003</c:v>
                </c:pt>
                <c:pt idx="7">
                  <c:v>42.6937</c:v>
                </c:pt>
              </c:numCache>
            </c:numRef>
          </c:xVal>
          <c:yVal>
            <c:numRef>
              <c:f>Sheet1!$B$2:$B$9</c:f>
              <c:numCache>
                <c:formatCode>General</c:formatCode>
                <c:ptCount val="8"/>
                <c:pt idx="0">
                  <c:v>1.585</c:v>
                </c:pt>
                <c:pt idx="1">
                  <c:v>1.65</c:v>
                </c:pt>
                <c:pt idx="2">
                  <c:v>1.1399999999999999</c:v>
                </c:pt>
                <c:pt idx="3">
                  <c:v>0.57999999999999996</c:v>
                </c:pt>
                <c:pt idx="4">
                  <c:v>0.40899999999999997</c:v>
                </c:pt>
                <c:pt idx="5">
                  <c:v>0.53500000000000003</c:v>
                </c:pt>
                <c:pt idx="6">
                  <c:v>1.157</c:v>
                </c:pt>
                <c:pt idx="7">
                  <c:v>0.70199999999999996</c:v>
                </c:pt>
              </c:numCache>
            </c:numRef>
          </c:yVal>
          <c:bubbleSize>
            <c:numRef>
              <c:f>Sheet1!$C$2:$C$9</c:f>
              <c:numCache>
                <c:formatCode>General</c:formatCode>
                <c:ptCount val="8"/>
                <c:pt idx="0">
                  <c:v>142424</c:v>
                </c:pt>
                <c:pt idx="1">
                  <c:v>94152</c:v>
                </c:pt>
                <c:pt idx="2">
                  <c:v>38768</c:v>
                </c:pt>
                <c:pt idx="3">
                  <c:v>34312</c:v>
                </c:pt>
                <c:pt idx="4">
                  <c:v>26712</c:v>
                </c:pt>
                <c:pt idx="5">
                  <c:v>19508</c:v>
                </c:pt>
                <c:pt idx="6">
                  <c:v>15073</c:v>
                </c:pt>
                <c:pt idx="7">
                  <c:v>14217</c:v>
                </c:pt>
              </c:numCache>
            </c:numRef>
          </c:bubbleSize>
          <c:bubble3D val="0"/>
          <c:extLst>
            <c:ext xmlns:c15="http://schemas.microsoft.com/office/drawing/2012/chart" uri="{02D57815-91ED-43cb-92C2-25804820EDAC}">
              <c15:datalabelsRange>
                <c15:f>Sheet1!$E$2:$E$10</c15:f>
                <c15:dlblRangeCache>
                  <c:ptCount val="9"/>
                  <c:pt idx="0">
                    <c:v>Mhcs</c:v>
                  </c:pt>
                  <c:pt idx="1">
                    <c:v>Roederer</c:v>
                  </c:pt>
                  <c:pt idx="2">
                    <c:v>Laurent Perrier</c:v>
                  </c:pt>
                  <c:pt idx="3">
                    <c:v>Vranken Pommery</c:v>
                  </c:pt>
                  <c:pt idx="4">
                    <c:v>Malard Nicolas</c:v>
                  </c:pt>
                  <c:pt idx="5">
                    <c:v>Cfgv</c:v>
                  </c:pt>
                  <c:pt idx="6">
                    <c:v>Bollinger</c:v>
                  </c:pt>
                  <c:pt idx="7">
                    <c:v>Lanson-Bcc</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29"/>
          <c:min val="2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849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4F9F489-EF31-4731-A7B2-C33A6B24548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93CF9FF-3108-4A17-9451-3A2DF60FEE2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4ADE8C0-A5DC-4100-9187-8A24DCADF28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A4CDC8B-D674-493D-A973-3260F2EE3DA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034149B-49DA-4F24-8439-12812A8BC10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E57AEB4-529A-47E7-AC59-D5DA4954DEC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2CDDA1D-4706-4EC6-91AE-032EE046923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B7466D91-6AFF-4681-99D8-9CF5E855AF8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97.498400000000004</c:v>
                </c:pt>
                <c:pt idx="1">
                  <c:v>56.683900000000001</c:v>
                </c:pt>
                <c:pt idx="2">
                  <c:v>40.023699999999998</c:v>
                </c:pt>
                <c:pt idx="3">
                  <c:v>27.365200000000002</c:v>
                </c:pt>
                <c:pt idx="4">
                  <c:v>82.421099999999996</c:v>
                </c:pt>
                <c:pt idx="5">
                  <c:v>38.498600000000003</c:v>
                </c:pt>
                <c:pt idx="6">
                  <c:v>42.989699999999999</c:v>
                </c:pt>
                <c:pt idx="7">
                  <c:v>37.436</c:v>
                </c:pt>
              </c:numCache>
            </c:numRef>
          </c:xVal>
          <c:yVal>
            <c:numRef>
              <c:f>Sheet1!$B$2:$B$9</c:f>
              <c:numCache>
                <c:formatCode>General</c:formatCode>
                <c:ptCount val="8"/>
                <c:pt idx="0">
                  <c:v>1.6779999999999999</c:v>
                </c:pt>
                <c:pt idx="1">
                  <c:v>1.077</c:v>
                </c:pt>
                <c:pt idx="2">
                  <c:v>0.68500000000000005</c:v>
                </c:pt>
                <c:pt idx="3">
                  <c:v>0.49299999999999999</c:v>
                </c:pt>
                <c:pt idx="4">
                  <c:v>1.3740000000000001</c:v>
                </c:pt>
                <c:pt idx="5">
                  <c:v>0.66900000000000004</c:v>
                </c:pt>
                <c:pt idx="6">
                  <c:v>0.85</c:v>
                </c:pt>
                <c:pt idx="7">
                  <c:v>0.63500000000000001</c:v>
                </c:pt>
              </c:numCache>
            </c:numRef>
          </c:yVal>
          <c:bubbleSize>
            <c:numRef>
              <c:f>Sheet1!$C$2:$C$9</c:f>
              <c:numCache>
                <c:formatCode>General</c:formatCode>
                <c:ptCount val="8"/>
                <c:pt idx="0">
                  <c:v>93501</c:v>
                </c:pt>
                <c:pt idx="1">
                  <c:v>39452</c:v>
                </c:pt>
                <c:pt idx="2">
                  <c:v>35501</c:v>
                </c:pt>
                <c:pt idx="3">
                  <c:v>19484</c:v>
                </c:pt>
                <c:pt idx="4">
                  <c:v>18792</c:v>
                </c:pt>
                <c:pt idx="5">
                  <c:v>13744</c:v>
                </c:pt>
                <c:pt idx="6">
                  <c:v>8340</c:v>
                </c:pt>
                <c:pt idx="7">
                  <c:v>7899</c:v>
                </c:pt>
              </c:numCache>
            </c:numRef>
          </c:bubbleSize>
          <c:bubble3D val="0"/>
          <c:extLst>
            <c:ext xmlns:c15="http://schemas.microsoft.com/office/drawing/2012/chart" uri="{02D57815-91ED-43cb-92C2-25804820EDAC}">
              <c15:datalabelsRange>
                <c15:f>Sheet1!$E$2:$E$10</c15:f>
                <c15:dlblRangeCache>
                  <c:ptCount val="9"/>
                  <c:pt idx="0">
                    <c:v>Mhcs</c:v>
                  </c:pt>
                  <c:pt idx="1">
                    <c:v>Roederer</c:v>
                  </c:pt>
                  <c:pt idx="2">
                    <c:v>Vranken Pommery</c:v>
                  </c:pt>
                  <c:pt idx="3">
                    <c:v>Malard Nicolas</c:v>
                  </c:pt>
                  <c:pt idx="4">
                    <c:v>Laurent Perrier</c:v>
                  </c:pt>
                  <c:pt idx="5">
                    <c:v>Cfgv</c:v>
                  </c:pt>
                  <c:pt idx="6">
                    <c:v>Lanson-Bcc</c:v>
                  </c:pt>
                  <c:pt idx="7">
                    <c:v>Malard</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17"/>
          <c:min val="2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877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C933EE0-1D83-4D0C-8228-2A1325B1E18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6F738F4-1863-4E39-AA32-01FA467277B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5006A30-0E70-47A6-9AE6-9575F181E68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0630A60-8E30-4EAB-AD75-A5DFF30BAC7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2F299D6-D9DD-4DDB-87E7-D6BF9556C6B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FF3BBDCB-B1D1-4361-9938-682CE18A18E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45876DB1-AA03-40C1-BD1A-C00FE35790E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B8F20B94-7CDD-47FC-95FD-B32019C6CBB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100.8122</c:v>
                </c:pt>
                <c:pt idx="1">
                  <c:v>62.756799999999998</c:v>
                </c:pt>
                <c:pt idx="2">
                  <c:v>40.201700000000002</c:v>
                </c:pt>
                <c:pt idx="3">
                  <c:v>26.686</c:v>
                </c:pt>
                <c:pt idx="4">
                  <c:v>80.477099999999993</c:v>
                </c:pt>
                <c:pt idx="5">
                  <c:v>37.464500000000001</c:v>
                </c:pt>
                <c:pt idx="6">
                  <c:v>40.721600000000002</c:v>
                </c:pt>
                <c:pt idx="7">
                  <c:v>36.009099999999997</c:v>
                </c:pt>
              </c:numCache>
            </c:numRef>
          </c:xVal>
          <c:yVal>
            <c:numRef>
              <c:f>Sheet1!$B$2:$B$9</c:f>
              <c:numCache>
                <c:formatCode>General</c:formatCode>
                <c:ptCount val="8"/>
                <c:pt idx="0">
                  <c:v>1.7869999999999999</c:v>
                </c:pt>
                <c:pt idx="1">
                  <c:v>1.2250000000000001</c:v>
                </c:pt>
                <c:pt idx="2">
                  <c:v>0.69699999999999995</c:v>
                </c:pt>
                <c:pt idx="3">
                  <c:v>0.499</c:v>
                </c:pt>
                <c:pt idx="4">
                  <c:v>1.393</c:v>
                </c:pt>
                <c:pt idx="5">
                  <c:v>0.64900000000000002</c:v>
                </c:pt>
                <c:pt idx="6">
                  <c:v>0.83699999999999997</c:v>
                </c:pt>
                <c:pt idx="7">
                  <c:v>0.624</c:v>
                </c:pt>
              </c:numCache>
            </c:numRef>
          </c:yVal>
          <c:bubbleSize>
            <c:numRef>
              <c:f>Sheet1!$C$2:$C$9</c:f>
              <c:numCache>
                <c:formatCode>General</c:formatCode>
                <c:ptCount val="8"/>
                <c:pt idx="0">
                  <c:v>981810</c:v>
                </c:pt>
                <c:pt idx="1">
                  <c:v>500862</c:v>
                </c:pt>
                <c:pt idx="2">
                  <c:v>402580</c:v>
                </c:pt>
                <c:pt idx="3">
                  <c:v>268461</c:v>
                </c:pt>
                <c:pt idx="4">
                  <c:v>258734</c:v>
                </c:pt>
                <c:pt idx="5">
                  <c:v>163645</c:v>
                </c:pt>
                <c:pt idx="6">
                  <c:v>140408</c:v>
                </c:pt>
                <c:pt idx="7">
                  <c:v>130497</c:v>
                </c:pt>
              </c:numCache>
            </c:numRef>
          </c:bubbleSize>
          <c:bubble3D val="0"/>
          <c:extLst>
            <c:ext xmlns:c15="http://schemas.microsoft.com/office/drawing/2012/chart" uri="{02D57815-91ED-43cb-92C2-25804820EDAC}">
              <c15:datalabelsRange>
                <c15:f>Sheet1!$E$2:$E$10</c15:f>
                <c15:dlblRangeCache>
                  <c:ptCount val="9"/>
                  <c:pt idx="0">
                    <c:v>Mhcs</c:v>
                  </c:pt>
                  <c:pt idx="1">
                    <c:v>Roederer</c:v>
                  </c:pt>
                  <c:pt idx="2">
                    <c:v>Vranken Pommery</c:v>
                  </c:pt>
                  <c:pt idx="3">
                    <c:v>Malard Nicolas</c:v>
                  </c:pt>
                  <c:pt idx="4">
                    <c:v>Laurent Perrier</c:v>
                  </c:pt>
                  <c:pt idx="5">
                    <c:v>Cfgv</c:v>
                  </c:pt>
                  <c:pt idx="6">
                    <c:v>Lanson-Bcc</c:v>
                  </c:pt>
                  <c:pt idx="7">
                    <c:v>Malard</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21"/>
          <c:min val="2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986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8A637E3-8D4A-4B20-A90D-621143EE360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9F2377A-65D0-4EFC-88F2-5653952EA2C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5E63F91-1BBE-4DF5-90EB-F7FC3565C72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21A8F4A-5B4C-4B97-8F61-35CAA47015C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FE3BBC2-238A-4737-9A89-F66F824D523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F2AC0153-509F-4D24-B119-36387610B2E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25700E4-5E28-4FB6-9D8B-AC99449292C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15CFECA1-3CC7-4C10-817E-FD669C90974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96.788799999999995</c:v>
                </c:pt>
                <c:pt idx="1">
                  <c:v>81.262900000000002</c:v>
                </c:pt>
                <c:pt idx="2">
                  <c:v>40.4572</c:v>
                </c:pt>
                <c:pt idx="3">
                  <c:v>53.822899999999997</c:v>
                </c:pt>
                <c:pt idx="4">
                  <c:v>27.181899999999999</c:v>
                </c:pt>
                <c:pt idx="5">
                  <c:v>37.9467</c:v>
                </c:pt>
                <c:pt idx="6">
                  <c:v>41.847900000000003</c:v>
                </c:pt>
                <c:pt idx="7">
                  <c:v>36.9758</c:v>
                </c:pt>
              </c:numCache>
            </c:numRef>
          </c:xVal>
          <c:yVal>
            <c:numRef>
              <c:f>Sheet1!$B$2:$B$9</c:f>
              <c:numCache>
                <c:formatCode>General</c:formatCode>
                <c:ptCount val="8"/>
                <c:pt idx="0">
                  <c:v>1.659</c:v>
                </c:pt>
                <c:pt idx="1">
                  <c:v>1.4039999999999999</c:v>
                </c:pt>
                <c:pt idx="2">
                  <c:v>0.68799999999999994</c:v>
                </c:pt>
                <c:pt idx="3">
                  <c:v>1.0329999999999999</c:v>
                </c:pt>
                <c:pt idx="4">
                  <c:v>0.48799999999999999</c:v>
                </c:pt>
                <c:pt idx="5">
                  <c:v>0.65400000000000003</c:v>
                </c:pt>
                <c:pt idx="6">
                  <c:v>0.83299999999999996</c:v>
                </c:pt>
                <c:pt idx="7">
                  <c:v>0.628</c:v>
                </c:pt>
              </c:numCache>
            </c:numRef>
          </c:yVal>
          <c:bubbleSize>
            <c:numRef>
              <c:f>Sheet1!$C$2:$C$9</c:f>
              <c:numCache>
                <c:formatCode>General</c:formatCode>
                <c:ptCount val="8"/>
                <c:pt idx="0">
                  <c:v>174607</c:v>
                </c:pt>
                <c:pt idx="1">
                  <c:v>63060</c:v>
                </c:pt>
                <c:pt idx="2">
                  <c:v>61940</c:v>
                </c:pt>
                <c:pt idx="3">
                  <c:v>59582</c:v>
                </c:pt>
                <c:pt idx="4">
                  <c:v>44823</c:v>
                </c:pt>
                <c:pt idx="5">
                  <c:v>23489</c:v>
                </c:pt>
                <c:pt idx="6">
                  <c:v>16237</c:v>
                </c:pt>
                <c:pt idx="7">
                  <c:v>12239</c:v>
                </c:pt>
              </c:numCache>
            </c:numRef>
          </c:bubbleSize>
          <c:bubble3D val="0"/>
          <c:extLst>
            <c:ext xmlns:c15="http://schemas.microsoft.com/office/drawing/2012/chart" uri="{02D57815-91ED-43cb-92C2-25804820EDAC}">
              <c15:datalabelsRange>
                <c15:f>Sheet1!$E$2:$E$10</c15:f>
                <c15:dlblRangeCache>
                  <c:ptCount val="9"/>
                  <c:pt idx="0">
                    <c:v>Mhcs</c:v>
                  </c:pt>
                  <c:pt idx="1">
                    <c:v>Laurent Perrier</c:v>
                  </c:pt>
                  <c:pt idx="2">
                    <c:v>Vranken Pommery</c:v>
                  </c:pt>
                  <c:pt idx="3">
                    <c:v>Roederer</c:v>
                  </c:pt>
                  <c:pt idx="4">
                    <c:v>Malard Nicolas</c:v>
                  </c:pt>
                  <c:pt idx="5">
                    <c:v>Cfgv</c:v>
                  </c:pt>
                  <c:pt idx="6">
                    <c:v>Lanson-Bcc</c:v>
                  </c:pt>
                  <c:pt idx="7">
                    <c:v>Malard</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16"/>
          <c:min val="2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85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1CF5B97E-225A-472A-A73B-E3D435AF792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082C8624-1B6C-4A77-9DF4-24D0042C1B2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095484BA-D27C-412F-9D90-5AFEDA9733C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02DFBB7D-DF7E-4E4E-A4F9-1DC15B241BB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5BFF0C02-BEC9-4A31-B651-9B9634D16B9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965C2422-BEDC-44D6-AD72-E03105F5386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256C2519-6EA3-488E-A039-42A04FEEA5B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B16CAF58-2B55-4573-950D-38917150708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12.7788</c:v>
                </c:pt>
                <c:pt idx="1">
                  <c:v>17.286000000000001</c:v>
                </c:pt>
                <c:pt idx="2">
                  <c:v>11.5068</c:v>
                </c:pt>
                <c:pt idx="3">
                  <c:v>11.856400000000001</c:v>
                </c:pt>
                <c:pt idx="4">
                  <c:v>11.451700000000001</c:v>
                </c:pt>
                <c:pt idx="5">
                  <c:v>9.1301000000000005</c:v>
                </c:pt>
                <c:pt idx="6">
                  <c:v>5.7043999999999997</c:v>
                </c:pt>
                <c:pt idx="7">
                  <c:v>13.463800000000001</c:v>
                </c:pt>
              </c:numCache>
            </c:numRef>
          </c:xVal>
          <c:yVal>
            <c:numRef>
              <c:f>Sheet1!$B$2:$B$9</c:f>
              <c:numCache>
                <c:formatCode>General</c:formatCode>
                <c:ptCount val="8"/>
                <c:pt idx="0">
                  <c:v>1.206</c:v>
                </c:pt>
                <c:pt idx="1">
                  <c:v>1.671</c:v>
                </c:pt>
                <c:pt idx="2">
                  <c:v>1.0860000000000001</c:v>
                </c:pt>
                <c:pt idx="3">
                  <c:v>1.0509999999999999</c:v>
                </c:pt>
                <c:pt idx="4">
                  <c:v>1.0820000000000001</c:v>
                </c:pt>
                <c:pt idx="5">
                  <c:v>0.86199999999999999</c:v>
                </c:pt>
                <c:pt idx="6">
                  <c:v>0.53800000000000003</c:v>
                </c:pt>
                <c:pt idx="7">
                  <c:v>1.2729999999999999</c:v>
                </c:pt>
              </c:numCache>
            </c:numRef>
          </c:yVal>
          <c:bubbleSize>
            <c:numRef>
              <c:f>Sheet1!$C$2:$C$9</c:f>
              <c:numCache>
                <c:formatCode>General</c:formatCode>
                <c:ptCount val="8"/>
                <c:pt idx="0">
                  <c:v>98192</c:v>
                </c:pt>
                <c:pt idx="1">
                  <c:v>81175</c:v>
                </c:pt>
                <c:pt idx="2">
                  <c:v>77326</c:v>
                </c:pt>
                <c:pt idx="3">
                  <c:v>60420</c:v>
                </c:pt>
                <c:pt idx="4">
                  <c:v>50548</c:v>
                </c:pt>
                <c:pt idx="5">
                  <c:v>44555</c:v>
                </c:pt>
                <c:pt idx="6">
                  <c:v>27997</c:v>
                </c:pt>
                <c:pt idx="7">
                  <c:v>27143</c:v>
                </c:pt>
              </c:numCache>
            </c:numRef>
          </c:bubbleSize>
          <c:bubble3D val="0"/>
          <c:extLst>
            <c:ext xmlns:c15="http://schemas.microsoft.com/office/drawing/2012/chart" uri="{02D57815-91ED-43cb-92C2-25804820EDAC}">
              <c15:datalabelsRange>
                <c15:f>Sheet1!$E$2:$E$10</c15:f>
                <c15:dlblRangeCache>
                  <c:ptCount val="9"/>
                  <c:pt idx="0">
                    <c:v>Patriarche</c:v>
                  </c:pt>
                  <c:pt idx="1">
                    <c:v>Mure</c:v>
                  </c:pt>
                  <c:pt idx="2">
                    <c:v>Bottega</c:v>
                  </c:pt>
                  <c:pt idx="3">
                    <c:v>Bouvet-Ladubay</c:v>
                  </c:pt>
                  <c:pt idx="4">
                    <c:v>Chateau Moncontour</c:v>
                  </c:pt>
                  <c:pt idx="5">
                    <c:v>Savian</c:v>
                  </c:pt>
                  <c:pt idx="6">
                    <c:v>Kriter</c:v>
                  </c:pt>
                  <c:pt idx="7">
                    <c:v>De Chanceny</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
          <c:min val="5"/>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1F61629-B2D4-4596-B471-C5BCC4B40B0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EB25E96-3147-4F88-8CCC-3B205759E60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F2F0F38-2D38-4156-9862-9EBF35B2605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333CC91-0113-4245-977B-CB75D05EE2A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584C01E6-C182-45D6-BD31-C3A009C46A6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BCB0A111-6980-44CA-9F9D-CA80AE6D007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DF1E0D5-C8F0-4DEB-9709-130A32118C8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A2DDADE0-F429-41FC-85FD-8121065577B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95.662300000000002</c:v>
                </c:pt>
                <c:pt idx="1">
                  <c:v>56.083399999999997</c:v>
                </c:pt>
                <c:pt idx="2">
                  <c:v>40.846499999999999</c:v>
                </c:pt>
                <c:pt idx="3">
                  <c:v>27.214600000000001</c:v>
                </c:pt>
                <c:pt idx="4">
                  <c:v>82.220100000000002</c:v>
                </c:pt>
                <c:pt idx="5">
                  <c:v>38.341000000000001</c:v>
                </c:pt>
                <c:pt idx="6">
                  <c:v>42.3598</c:v>
                </c:pt>
                <c:pt idx="7">
                  <c:v>37.163600000000002</c:v>
                </c:pt>
              </c:numCache>
            </c:numRef>
          </c:xVal>
          <c:yVal>
            <c:numRef>
              <c:f>Sheet1!$B$2:$B$9</c:f>
              <c:numCache>
                <c:formatCode>General</c:formatCode>
                <c:ptCount val="8"/>
                <c:pt idx="0">
                  <c:v>1.7330000000000001</c:v>
                </c:pt>
                <c:pt idx="1">
                  <c:v>1.141</c:v>
                </c:pt>
                <c:pt idx="2">
                  <c:v>0.73399999999999999</c:v>
                </c:pt>
                <c:pt idx="3">
                  <c:v>0.52200000000000002</c:v>
                </c:pt>
                <c:pt idx="4">
                  <c:v>1.4670000000000001</c:v>
                </c:pt>
                <c:pt idx="5">
                  <c:v>0.69199999999999995</c:v>
                </c:pt>
                <c:pt idx="6">
                  <c:v>0.92</c:v>
                </c:pt>
                <c:pt idx="7">
                  <c:v>0.66300000000000003</c:v>
                </c:pt>
              </c:numCache>
            </c:numRef>
          </c:yVal>
          <c:bubbleSize>
            <c:numRef>
              <c:f>Sheet1!$C$2:$C$9</c:f>
              <c:numCache>
                <c:formatCode>General</c:formatCode>
                <c:ptCount val="8"/>
                <c:pt idx="0">
                  <c:v>80165</c:v>
                </c:pt>
                <c:pt idx="1">
                  <c:v>40997</c:v>
                </c:pt>
                <c:pt idx="2">
                  <c:v>28470</c:v>
                </c:pt>
                <c:pt idx="3">
                  <c:v>26507</c:v>
                </c:pt>
                <c:pt idx="4">
                  <c:v>22035</c:v>
                </c:pt>
                <c:pt idx="5">
                  <c:v>16755</c:v>
                </c:pt>
                <c:pt idx="6">
                  <c:v>11183</c:v>
                </c:pt>
                <c:pt idx="7">
                  <c:v>7953</c:v>
                </c:pt>
              </c:numCache>
            </c:numRef>
          </c:bubbleSize>
          <c:bubble3D val="0"/>
          <c:extLst>
            <c:ext xmlns:c15="http://schemas.microsoft.com/office/drawing/2012/chart" uri="{02D57815-91ED-43cb-92C2-25804820EDAC}">
              <c15:datalabelsRange>
                <c15:f>Sheet1!$E$2:$E$10</c15:f>
                <c15:dlblRangeCache>
                  <c:ptCount val="9"/>
                  <c:pt idx="0">
                    <c:v>Mhcs</c:v>
                  </c:pt>
                  <c:pt idx="1">
                    <c:v>Roederer</c:v>
                  </c:pt>
                  <c:pt idx="2">
                    <c:v>Vranken Pommery</c:v>
                  </c:pt>
                  <c:pt idx="3">
                    <c:v>Malard Nicolas</c:v>
                  </c:pt>
                  <c:pt idx="4">
                    <c:v>Laurent Perrier</c:v>
                  </c:pt>
                  <c:pt idx="5">
                    <c:v>Cfgv</c:v>
                  </c:pt>
                  <c:pt idx="6">
                    <c:v>Lanson-Bcc</c:v>
                  </c:pt>
                  <c:pt idx="7">
                    <c:v>Malard</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15"/>
          <c:min val="2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9330000000000001"/>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5088C04-E995-4D45-A015-4F2CC5EF1F0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01F4EA2-33BE-489F-B9E1-88F461C704A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62AD22B-BD03-4376-A24A-7AF40720583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14445EC-2E1D-452D-ABC1-DE8BBA37AEF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14C5EE59-F5C8-4ECF-90E5-7579B3CDB21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84591C6-5D57-4162-AEAA-5B6BBB80509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F36DD8A-0275-42DE-8D1E-3DF037C006D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3A720383-D227-4805-9AE3-6DE354D8269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91.431899999999999</c:v>
                </c:pt>
                <c:pt idx="1">
                  <c:v>53.874099999999999</c:v>
                </c:pt>
                <c:pt idx="2">
                  <c:v>42.295499999999997</c:v>
                </c:pt>
                <c:pt idx="3">
                  <c:v>26.968</c:v>
                </c:pt>
                <c:pt idx="4">
                  <c:v>83.289900000000003</c:v>
                </c:pt>
                <c:pt idx="5">
                  <c:v>46.578899999999997</c:v>
                </c:pt>
                <c:pt idx="6">
                  <c:v>37.1111</c:v>
                </c:pt>
                <c:pt idx="7">
                  <c:v>38.6218</c:v>
                </c:pt>
              </c:numCache>
            </c:numRef>
          </c:xVal>
          <c:yVal>
            <c:numRef>
              <c:f>Sheet1!$B$2:$B$9</c:f>
              <c:numCache>
                <c:formatCode>General</c:formatCode>
                <c:ptCount val="8"/>
                <c:pt idx="0">
                  <c:v>1.77</c:v>
                </c:pt>
                <c:pt idx="1">
                  <c:v>1.131</c:v>
                </c:pt>
                <c:pt idx="2">
                  <c:v>0.78800000000000003</c:v>
                </c:pt>
                <c:pt idx="3">
                  <c:v>0.53300000000000003</c:v>
                </c:pt>
                <c:pt idx="4">
                  <c:v>1.552</c:v>
                </c:pt>
                <c:pt idx="5">
                  <c:v>0.93400000000000005</c:v>
                </c:pt>
                <c:pt idx="6">
                  <c:v>0.70199999999999996</c:v>
                </c:pt>
                <c:pt idx="7">
                  <c:v>0.70699999999999996</c:v>
                </c:pt>
              </c:numCache>
            </c:numRef>
          </c:yVal>
          <c:bubbleSize>
            <c:numRef>
              <c:f>Sheet1!$C$2:$C$9</c:f>
              <c:numCache>
                <c:formatCode>General</c:formatCode>
                <c:ptCount val="8"/>
                <c:pt idx="0">
                  <c:v>39590</c:v>
                </c:pt>
                <c:pt idx="1">
                  <c:v>22681</c:v>
                </c:pt>
                <c:pt idx="2">
                  <c:v>18610</c:v>
                </c:pt>
                <c:pt idx="3">
                  <c:v>15156</c:v>
                </c:pt>
                <c:pt idx="4">
                  <c:v>11494</c:v>
                </c:pt>
                <c:pt idx="5">
                  <c:v>7965</c:v>
                </c:pt>
                <c:pt idx="6">
                  <c:v>7014</c:v>
                </c:pt>
                <c:pt idx="7">
                  <c:v>6025</c:v>
                </c:pt>
              </c:numCache>
            </c:numRef>
          </c:bubbleSize>
          <c:bubble3D val="0"/>
          <c:extLst>
            <c:ext xmlns:c15="http://schemas.microsoft.com/office/drawing/2012/chart" uri="{02D57815-91ED-43cb-92C2-25804820EDAC}">
              <c15:datalabelsRange>
                <c15:f>Sheet1!$E$2:$E$10</c15:f>
                <c15:dlblRangeCache>
                  <c:ptCount val="9"/>
                  <c:pt idx="0">
                    <c:v>Mhcs</c:v>
                  </c:pt>
                  <c:pt idx="1">
                    <c:v>Roederer</c:v>
                  </c:pt>
                  <c:pt idx="2">
                    <c:v>Vranken Pommery</c:v>
                  </c:pt>
                  <c:pt idx="3">
                    <c:v>Malard Nicolas</c:v>
                  </c:pt>
                  <c:pt idx="4">
                    <c:v>Laurent Perrier</c:v>
                  </c:pt>
                  <c:pt idx="5">
                    <c:v>Lanson-Bcc</c:v>
                  </c:pt>
                  <c:pt idx="6">
                    <c:v>Malard</c:v>
                  </c:pt>
                  <c:pt idx="7">
                    <c:v>Cfgv</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10"/>
          <c:min val="2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97"/>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24762C1-7CEE-45CB-A027-09BE1BEA0FE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6187748-12AB-477D-AB1A-87ED346E8B9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83CCF3F-CF2A-4AF5-9568-B6F8DE7D55C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927F6F2-E285-4F86-AC7C-4E0D081A866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59B3AF04-AAC6-4F2A-A889-0D86DFF8698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C9A17738-2E6E-48A4-932B-CBABB108FBF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16139275-D92D-42E8-A592-C40482758C8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9D98A02-D8CF-490B-8131-BDD6D484F49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94.599299999999999</c:v>
                </c:pt>
                <c:pt idx="1">
                  <c:v>58.336399999999998</c:v>
                </c:pt>
                <c:pt idx="2">
                  <c:v>25.557099999999998</c:v>
                </c:pt>
                <c:pt idx="3">
                  <c:v>41.257100000000001</c:v>
                </c:pt>
                <c:pt idx="4">
                  <c:v>84.796300000000002</c:v>
                </c:pt>
                <c:pt idx="5">
                  <c:v>35.964500000000001</c:v>
                </c:pt>
                <c:pt idx="6">
                  <c:v>37.8874</c:v>
                </c:pt>
                <c:pt idx="7">
                  <c:v>39.849200000000003</c:v>
                </c:pt>
              </c:numCache>
            </c:numRef>
          </c:xVal>
          <c:yVal>
            <c:numRef>
              <c:f>Sheet1!$B$2:$B$9</c:f>
              <c:numCache>
                <c:formatCode>General</c:formatCode>
                <c:ptCount val="8"/>
                <c:pt idx="0">
                  <c:v>1.92</c:v>
                </c:pt>
                <c:pt idx="1">
                  <c:v>1.36</c:v>
                </c:pt>
                <c:pt idx="2">
                  <c:v>0.55500000000000005</c:v>
                </c:pt>
                <c:pt idx="3">
                  <c:v>0.85199999999999998</c:v>
                </c:pt>
                <c:pt idx="4">
                  <c:v>1.655</c:v>
                </c:pt>
                <c:pt idx="5">
                  <c:v>0.749</c:v>
                </c:pt>
                <c:pt idx="6">
                  <c:v>0.72899999999999998</c:v>
                </c:pt>
                <c:pt idx="7">
                  <c:v>1.0409999999999999</c:v>
                </c:pt>
              </c:numCache>
            </c:numRef>
          </c:yVal>
          <c:bubbleSize>
            <c:numRef>
              <c:f>Sheet1!$C$2:$C$9</c:f>
              <c:numCache>
                <c:formatCode>General</c:formatCode>
                <c:ptCount val="8"/>
                <c:pt idx="0">
                  <c:v>26677</c:v>
                </c:pt>
                <c:pt idx="1">
                  <c:v>19076</c:v>
                </c:pt>
                <c:pt idx="2">
                  <c:v>18810</c:v>
                </c:pt>
                <c:pt idx="3">
                  <c:v>17328</c:v>
                </c:pt>
                <c:pt idx="4">
                  <c:v>9158</c:v>
                </c:pt>
                <c:pt idx="5">
                  <c:v>7085</c:v>
                </c:pt>
                <c:pt idx="6">
                  <c:v>5721</c:v>
                </c:pt>
                <c:pt idx="7">
                  <c:v>5021</c:v>
                </c:pt>
              </c:numCache>
            </c:numRef>
          </c:bubbleSize>
          <c:bubble3D val="0"/>
          <c:extLst>
            <c:ext xmlns:c15="http://schemas.microsoft.com/office/drawing/2012/chart" uri="{02D57815-91ED-43cb-92C2-25804820EDAC}">
              <c15:datalabelsRange>
                <c15:f>Sheet1!$E$2:$E$10</c15:f>
                <c15:dlblRangeCache>
                  <c:ptCount val="9"/>
                  <c:pt idx="0">
                    <c:v>Mhcs</c:v>
                  </c:pt>
                  <c:pt idx="1">
                    <c:v>Roederer</c:v>
                  </c:pt>
                  <c:pt idx="2">
                    <c:v>Malard Nicolas</c:v>
                  </c:pt>
                  <c:pt idx="3">
                    <c:v>Vranken Pommery</c:v>
                  </c:pt>
                  <c:pt idx="4">
                    <c:v>Laurent Perrier</c:v>
                  </c:pt>
                  <c:pt idx="5">
                    <c:v>Malard</c:v>
                  </c:pt>
                  <c:pt idx="6">
                    <c:v>Cfgv</c:v>
                  </c:pt>
                  <c:pt idx="7">
                    <c:v>Lanson-Bcc</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14"/>
          <c:min val="2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12"/>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34F30FE-BA4F-4A4F-9D0B-924613FAB06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C3251AC-B581-4B7B-9854-6F6D3B2E8AA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F7481EB-EF21-4D20-A73E-F59050EF2C4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47E2BCC-FD94-4A04-A6D0-E148B242662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EB97536-90D6-4A22-9C72-E8906AB12C9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9194FE0-C521-4360-AED4-4F395E72D58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B830C83-2791-4E47-A154-3A295CA3024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7A462FA9-0016-4D10-BC87-595F01D06EA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114.6647</c:v>
                </c:pt>
                <c:pt idx="1">
                  <c:v>74.685100000000006</c:v>
                </c:pt>
                <c:pt idx="2">
                  <c:v>40.249000000000002</c:v>
                </c:pt>
                <c:pt idx="3">
                  <c:v>80.259200000000007</c:v>
                </c:pt>
                <c:pt idx="4">
                  <c:v>26.4526</c:v>
                </c:pt>
                <c:pt idx="5">
                  <c:v>37.585900000000002</c:v>
                </c:pt>
                <c:pt idx="6">
                  <c:v>41.074300000000001</c:v>
                </c:pt>
                <c:pt idx="7">
                  <c:v>36</c:v>
                </c:pt>
              </c:numCache>
            </c:numRef>
          </c:xVal>
          <c:yVal>
            <c:numRef>
              <c:f>Sheet1!$B$2:$B$9</c:f>
              <c:numCache>
                <c:formatCode>General</c:formatCode>
                <c:ptCount val="8"/>
                <c:pt idx="0">
                  <c:v>1.7989999999999999</c:v>
                </c:pt>
                <c:pt idx="1">
                  <c:v>1.2969999999999999</c:v>
                </c:pt>
                <c:pt idx="2">
                  <c:v>0.62</c:v>
                </c:pt>
                <c:pt idx="3">
                  <c:v>1.2370000000000001</c:v>
                </c:pt>
                <c:pt idx="4">
                  <c:v>0.438</c:v>
                </c:pt>
                <c:pt idx="5">
                  <c:v>0.57999999999999996</c:v>
                </c:pt>
                <c:pt idx="6">
                  <c:v>0.74399999999999999</c:v>
                </c:pt>
                <c:pt idx="7">
                  <c:v>0.55400000000000005</c:v>
                </c:pt>
              </c:numCache>
            </c:numRef>
          </c:yVal>
          <c:bubbleSize>
            <c:numRef>
              <c:f>Sheet1!$C$2:$C$9</c:f>
              <c:numCache>
                <c:formatCode>General</c:formatCode>
                <c:ptCount val="8"/>
                <c:pt idx="0">
                  <c:v>524247</c:v>
                </c:pt>
                <c:pt idx="1">
                  <c:v>285820</c:v>
                </c:pt>
                <c:pt idx="2">
                  <c:v>167154</c:v>
                </c:pt>
                <c:pt idx="3">
                  <c:v>146473</c:v>
                </c:pt>
                <c:pt idx="4">
                  <c:v>108588</c:v>
                </c:pt>
                <c:pt idx="5">
                  <c:v>75435</c:v>
                </c:pt>
                <c:pt idx="6">
                  <c:v>60790</c:v>
                </c:pt>
                <c:pt idx="7">
                  <c:v>45828</c:v>
                </c:pt>
              </c:numCache>
            </c:numRef>
          </c:bubbleSize>
          <c:bubble3D val="0"/>
          <c:extLst>
            <c:ext xmlns:c15="http://schemas.microsoft.com/office/drawing/2012/chart" uri="{02D57815-91ED-43cb-92C2-25804820EDAC}">
              <c15:datalabelsRange>
                <c15:f>Sheet1!$E$2:$E$10</c15:f>
                <c15:dlblRangeCache>
                  <c:ptCount val="9"/>
                  <c:pt idx="0">
                    <c:v>Mhcs</c:v>
                  </c:pt>
                  <c:pt idx="1">
                    <c:v>Roederer</c:v>
                  </c:pt>
                  <c:pt idx="2">
                    <c:v>Vranken Pommery</c:v>
                  </c:pt>
                  <c:pt idx="3">
                    <c:v>Laurent Perrier</c:v>
                  </c:pt>
                  <c:pt idx="4">
                    <c:v>Malard Nicolas</c:v>
                  </c:pt>
                  <c:pt idx="5">
                    <c:v>Cfgv</c:v>
                  </c:pt>
                  <c:pt idx="6">
                    <c:v>Lanson-Bcc</c:v>
                  </c:pt>
                  <c:pt idx="7">
                    <c:v>Malard</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38"/>
          <c:min val="2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998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E235462-104E-4025-ABB8-0A8ABBE4BBA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EB2E1B6-A525-49C9-A8AA-C672AE1873F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4611A4E-0FDA-4F5B-AF99-F70D3EB4630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E63D907-C284-44D5-815D-406A71BDFED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EEDDEE0-7D70-4A45-B67E-61F7E5381BB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F73FB25C-3264-41A0-8C92-56304AA2ECA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33972CE0-957D-4419-8F80-B2EB5998D3D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926BAE40-E3A5-4315-9480-79D6D3F80A0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91.712999999999994</c:v>
                </c:pt>
                <c:pt idx="1">
                  <c:v>52.918300000000002</c:v>
                </c:pt>
                <c:pt idx="2">
                  <c:v>40.189500000000002</c:v>
                </c:pt>
                <c:pt idx="3">
                  <c:v>80.916899999999998</c:v>
                </c:pt>
                <c:pt idx="4">
                  <c:v>26.9497</c:v>
                </c:pt>
                <c:pt idx="5">
                  <c:v>37.5413</c:v>
                </c:pt>
                <c:pt idx="6">
                  <c:v>41.015999999999998</c:v>
                </c:pt>
                <c:pt idx="7">
                  <c:v>36.271999999999998</c:v>
                </c:pt>
              </c:numCache>
            </c:numRef>
          </c:xVal>
          <c:yVal>
            <c:numRef>
              <c:f>Sheet1!$B$2:$B$9</c:f>
              <c:numCache>
                <c:formatCode>General</c:formatCode>
                <c:ptCount val="8"/>
                <c:pt idx="0">
                  <c:v>1.746</c:v>
                </c:pt>
                <c:pt idx="1">
                  <c:v>1.145</c:v>
                </c:pt>
                <c:pt idx="2">
                  <c:v>0.749</c:v>
                </c:pt>
                <c:pt idx="3">
                  <c:v>1.5149999999999999</c:v>
                </c:pt>
                <c:pt idx="4">
                  <c:v>0.53900000000000003</c:v>
                </c:pt>
                <c:pt idx="5">
                  <c:v>0.70699999999999996</c:v>
                </c:pt>
                <c:pt idx="6">
                  <c:v>0.91500000000000004</c:v>
                </c:pt>
                <c:pt idx="7">
                  <c:v>0.67700000000000005</c:v>
                </c:pt>
              </c:numCache>
            </c:numRef>
          </c:yVal>
          <c:bubbleSize>
            <c:numRef>
              <c:f>Sheet1!$C$2:$C$9</c:f>
              <c:numCache>
                <c:formatCode>General</c:formatCode>
                <c:ptCount val="8"/>
                <c:pt idx="0">
                  <c:v>168385</c:v>
                </c:pt>
                <c:pt idx="1">
                  <c:v>86098</c:v>
                </c:pt>
                <c:pt idx="2">
                  <c:v>82268</c:v>
                </c:pt>
                <c:pt idx="3">
                  <c:v>60364</c:v>
                </c:pt>
                <c:pt idx="4">
                  <c:v>57807</c:v>
                </c:pt>
                <c:pt idx="5">
                  <c:v>33637</c:v>
                </c:pt>
                <c:pt idx="6">
                  <c:v>30721</c:v>
                </c:pt>
                <c:pt idx="7">
                  <c:v>27603</c:v>
                </c:pt>
              </c:numCache>
            </c:numRef>
          </c:bubbleSize>
          <c:bubble3D val="0"/>
          <c:extLst>
            <c:ext xmlns:c15="http://schemas.microsoft.com/office/drawing/2012/chart" uri="{02D57815-91ED-43cb-92C2-25804820EDAC}">
              <c15:datalabelsRange>
                <c15:f>Sheet1!$E$2:$E$10</c15:f>
                <c15:dlblRangeCache>
                  <c:ptCount val="9"/>
                  <c:pt idx="0">
                    <c:v>Mhcs</c:v>
                  </c:pt>
                  <c:pt idx="1">
                    <c:v>Roederer</c:v>
                  </c:pt>
                  <c:pt idx="2">
                    <c:v>Vranken Pommery</c:v>
                  </c:pt>
                  <c:pt idx="3">
                    <c:v>Laurent Perrier</c:v>
                  </c:pt>
                  <c:pt idx="4">
                    <c:v>Malard Nicolas</c:v>
                  </c:pt>
                  <c:pt idx="5">
                    <c:v>Cfgv</c:v>
                  </c:pt>
                  <c:pt idx="6">
                    <c:v>Lanson-Bcc</c:v>
                  </c:pt>
                  <c:pt idx="7">
                    <c:v>Malard</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10"/>
          <c:min val="2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946"/>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27A815A-6928-413C-8DBB-990C225E0A2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3B1B66B-C5C8-418F-9C95-858BBD1FD8F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2C00074-4941-4FDA-BB68-F03F32669E9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41E7A2B-7CB2-4708-8447-1EFCFDDA1BC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1888B5E5-9856-4E45-B862-803ECF07228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EF9D1E1-D405-40D5-96BC-EC368B94972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1B3FB92-537D-4A61-A286-EB6ACBF07F4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A4241871-044E-4223-B215-0C8DE146C97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93.116500000000002</c:v>
                </c:pt>
                <c:pt idx="1">
                  <c:v>39.9831</c:v>
                </c:pt>
                <c:pt idx="2">
                  <c:v>52.751899999999999</c:v>
                </c:pt>
                <c:pt idx="3">
                  <c:v>27.058199999999999</c:v>
                </c:pt>
                <c:pt idx="4">
                  <c:v>81.447900000000004</c:v>
                </c:pt>
                <c:pt idx="5">
                  <c:v>37.611499999999999</c:v>
                </c:pt>
                <c:pt idx="6">
                  <c:v>41.043500000000002</c:v>
                </c:pt>
                <c:pt idx="7">
                  <c:v>36.133699999999997</c:v>
                </c:pt>
              </c:numCache>
            </c:numRef>
          </c:xVal>
          <c:yVal>
            <c:numRef>
              <c:f>Sheet1!$B$2:$B$9</c:f>
              <c:numCache>
                <c:formatCode>General</c:formatCode>
                <c:ptCount val="8"/>
                <c:pt idx="0">
                  <c:v>1.7789999999999999</c:v>
                </c:pt>
                <c:pt idx="1">
                  <c:v>0.745</c:v>
                </c:pt>
                <c:pt idx="2">
                  <c:v>1.0980000000000001</c:v>
                </c:pt>
                <c:pt idx="3">
                  <c:v>0.54200000000000004</c:v>
                </c:pt>
                <c:pt idx="4">
                  <c:v>1.5089999999999999</c:v>
                </c:pt>
                <c:pt idx="5">
                  <c:v>0.70199999999999996</c:v>
                </c:pt>
                <c:pt idx="6">
                  <c:v>0.91600000000000004</c:v>
                </c:pt>
                <c:pt idx="7">
                  <c:v>0.67400000000000004</c:v>
                </c:pt>
              </c:numCache>
            </c:numRef>
          </c:yVal>
          <c:bubbleSize>
            <c:numRef>
              <c:f>Sheet1!$C$2:$C$9</c:f>
              <c:numCache>
                <c:formatCode>General</c:formatCode>
                <c:ptCount val="8"/>
                <c:pt idx="0">
                  <c:v>286147</c:v>
                </c:pt>
                <c:pt idx="1">
                  <c:v>146418</c:v>
                </c:pt>
                <c:pt idx="2">
                  <c:v>140742</c:v>
                </c:pt>
                <c:pt idx="3">
                  <c:v>93973</c:v>
                </c:pt>
                <c:pt idx="4">
                  <c:v>83647</c:v>
                </c:pt>
                <c:pt idx="5">
                  <c:v>53145</c:v>
                </c:pt>
                <c:pt idx="6">
                  <c:v>45271</c:v>
                </c:pt>
                <c:pt idx="7">
                  <c:v>41337</c:v>
                </c:pt>
              </c:numCache>
            </c:numRef>
          </c:bubbleSize>
          <c:bubble3D val="0"/>
          <c:extLst>
            <c:ext xmlns:c15="http://schemas.microsoft.com/office/drawing/2012/chart" uri="{02D57815-91ED-43cb-92C2-25804820EDAC}">
              <c15:datalabelsRange>
                <c15:f>Sheet1!$E$2:$E$10</c15:f>
                <c15:dlblRangeCache>
                  <c:ptCount val="9"/>
                  <c:pt idx="0">
                    <c:v>Mhcs</c:v>
                  </c:pt>
                  <c:pt idx="1">
                    <c:v>Vranken Pommery</c:v>
                  </c:pt>
                  <c:pt idx="2">
                    <c:v>Roederer</c:v>
                  </c:pt>
                  <c:pt idx="3">
                    <c:v>Malard Nicolas</c:v>
                  </c:pt>
                  <c:pt idx="4">
                    <c:v>Laurent Perrier</c:v>
                  </c:pt>
                  <c:pt idx="5">
                    <c:v>Cfgv</c:v>
                  </c:pt>
                  <c:pt idx="6">
                    <c:v>Lanson-Bcc</c:v>
                  </c:pt>
                  <c:pt idx="7">
                    <c:v>Malard</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12"/>
          <c:min val="2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978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9CBDDB0-8EDD-4A37-876B-B8217ECF13C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489A7BE-909E-4E52-8186-C85371049C2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9C6C247-711B-4623-A90F-A837765C976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49C38E4-2D08-4DEC-93DF-ACB335D75C8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B2D9157-E1FE-4ECE-A769-3ED9E9C9DB8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B5ADE01-F4D4-40E5-A44C-F8F45285D14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8FDFEE55-77E5-4A9A-8A28-1D96230098B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0BB06B45-A0BE-4E2E-99FF-643BE17069F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90.870699999999999</c:v>
                </c:pt>
                <c:pt idx="1">
                  <c:v>40.894300000000001</c:v>
                </c:pt>
                <c:pt idx="2">
                  <c:v>52.199399999999997</c:v>
                </c:pt>
                <c:pt idx="3">
                  <c:v>27.031600000000001</c:v>
                </c:pt>
                <c:pt idx="4">
                  <c:v>81.073999999999998</c:v>
                </c:pt>
                <c:pt idx="5">
                  <c:v>37.692500000000003</c:v>
                </c:pt>
                <c:pt idx="6">
                  <c:v>40.939300000000003</c:v>
                </c:pt>
                <c:pt idx="7">
                  <c:v>36.332299999999996</c:v>
                </c:pt>
              </c:numCache>
            </c:numRef>
          </c:xVal>
          <c:yVal>
            <c:numRef>
              <c:f>Sheet1!$B$2:$B$9</c:f>
              <c:numCache>
                <c:formatCode>General</c:formatCode>
                <c:ptCount val="8"/>
                <c:pt idx="0">
                  <c:v>1.744</c:v>
                </c:pt>
                <c:pt idx="1">
                  <c:v>0.77200000000000002</c:v>
                </c:pt>
                <c:pt idx="2">
                  <c:v>1.115</c:v>
                </c:pt>
                <c:pt idx="3">
                  <c:v>0.53900000000000003</c:v>
                </c:pt>
                <c:pt idx="4">
                  <c:v>1.5169999999999999</c:v>
                </c:pt>
                <c:pt idx="5">
                  <c:v>0.71</c:v>
                </c:pt>
                <c:pt idx="6">
                  <c:v>0.92700000000000005</c:v>
                </c:pt>
                <c:pt idx="7">
                  <c:v>0.68500000000000005</c:v>
                </c:pt>
              </c:numCache>
            </c:numRef>
          </c:yVal>
          <c:bubbleSize>
            <c:numRef>
              <c:f>Sheet1!$C$2:$C$9</c:f>
              <c:numCache>
                <c:formatCode>General</c:formatCode>
                <c:ptCount val="8"/>
                <c:pt idx="0">
                  <c:v>228449</c:v>
                </c:pt>
                <c:pt idx="1">
                  <c:v>96347</c:v>
                </c:pt>
                <c:pt idx="2">
                  <c:v>89783</c:v>
                </c:pt>
                <c:pt idx="3">
                  <c:v>79662</c:v>
                </c:pt>
                <c:pt idx="4">
                  <c:v>54806</c:v>
                </c:pt>
                <c:pt idx="5">
                  <c:v>37881</c:v>
                </c:pt>
                <c:pt idx="6">
                  <c:v>36436</c:v>
                </c:pt>
                <c:pt idx="7">
                  <c:v>33571</c:v>
                </c:pt>
              </c:numCache>
            </c:numRef>
          </c:bubbleSize>
          <c:bubble3D val="0"/>
          <c:extLst>
            <c:ext xmlns:c15="http://schemas.microsoft.com/office/drawing/2012/chart" uri="{02D57815-91ED-43cb-92C2-25804820EDAC}">
              <c15:datalabelsRange>
                <c15:f>Sheet1!$E$2:$E$10</c15:f>
                <c15:dlblRangeCache>
                  <c:ptCount val="9"/>
                  <c:pt idx="0">
                    <c:v>Mhcs</c:v>
                  </c:pt>
                  <c:pt idx="1">
                    <c:v>Vranken Pommery</c:v>
                  </c:pt>
                  <c:pt idx="2">
                    <c:v>Roederer</c:v>
                  </c:pt>
                  <c:pt idx="3">
                    <c:v>Malard Nicolas</c:v>
                  </c:pt>
                  <c:pt idx="4">
                    <c:v>Laurent Perrier</c:v>
                  </c:pt>
                  <c:pt idx="5">
                    <c:v>Cfgv</c:v>
                  </c:pt>
                  <c:pt idx="6">
                    <c:v>Lanson-Bcc</c:v>
                  </c:pt>
                  <c:pt idx="7">
                    <c:v>Malard</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09"/>
          <c:min val="2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944"/>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83C797A-039D-4817-828E-81CC360944C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1CE6B60-281F-4C68-B283-921FFD79A21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0F3C7B3-34E0-4899-9C55-56F42BC0610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D929852-3086-46E7-9DBF-B90788E418C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77E92B2-5315-44E0-B3FC-F7B078D563E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EFDEF12-4B9F-45B6-ACB6-427513FE420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8656D48D-2303-407F-B87C-71D67E3967E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27BF2152-9054-4B70-84C1-82E45283BA6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91.327299999999994</c:v>
                </c:pt>
                <c:pt idx="1">
                  <c:v>40.978499999999997</c:v>
                </c:pt>
                <c:pt idx="2">
                  <c:v>53.284599999999998</c:v>
                </c:pt>
                <c:pt idx="3">
                  <c:v>26.328800000000001</c:v>
                </c:pt>
                <c:pt idx="4">
                  <c:v>81.751900000000006</c:v>
                </c:pt>
                <c:pt idx="5">
                  <c:v>37.932200000000002</c:v>
                </c:pt>
                <c:pt idx="6">
                  <c:v>36.190100000000001</c:v>
                </c:pt>
                <c:pt idx="7">
                  <c:v>41.2333</c:v>
                </c:pt>
              </c:numCache>
            </c:numRef>
          </c:xVal>
          <c:yVal>
            <c:numRef>
              <c:f>Sheet1!$B$2:$B$9</c:f>
              <c:numCache>
                <c:formatCode>General</c:formatCode>
                <c:ptCount val="8"/>
                <c:pt idx="0">
                  <c:v>1.7669999999999999</c:v>
                </c:pt>
                <c:pt idx="1">
                  <c:v>0.78200000000000003</c:v>
                </c:pt>
                <c:pt idx="2">
                  <c:v>1.1319999999999999</c:v>
                </c:pt>
                <c:pt idx="3">
                  <c:v>0.53800000000000003</c:v>
                </c:pt>
                <c:pt idx="4">
                  <c:v>1.554</c:v>
                </c:pt>
                <c:pt idx="5">
                  <c:v>0.72399999999999998</c:v>
                </c:pt>
                <c:pt idx="6">
                  <c:v>0.69599999999999995</c:v>
                </c:pt>
                <c:pt idx="7">
                  <c:v>0.93100000000000005</c:v>
                </c:pt>
              </c:numCache>
            </c:numRef>
          </c:yVal>
          <c:bubbleSize>
            <c:numRef>
              <c:f>Sheet1!$C$2:$C$9</c:f>
              <c:numCache>
                <c:formatCode>General</c:formatCode>
                <c:ptCount val="8"/>
                <c:pt idx="0">
                  <c:v>206491</c:v>
                </c:pt>
                <c:pt idx="1">
                  <c:v>98881</c:v>
                </c:pt>
                <c:pt idx="2">
                  <c:v>88186</c:v>
                </c:pt>
                <c:pt idx="3">
                  <c:v>75116</c:v>
                </c:pt>
                <c:pt idx="4">
                  <c:v>53384</c:v>
                </c:pt>
                <c:pt idx="5">
                  <c:v>36946</c:v>
                </c:pt>
                <c:pt idx="6">
                  <c:v>32933</c:v>
                </c:pt>
                <c:pt idx="7">
                  <c:v>31461</c:v>
                </c:pt>
              </c:numCache>
            </c:numRef>
          </c:bubbleSize>
          <c:bubble3D val="0"/>
          <c:extLst>
            <c:ext xmlns:c15="http://schemas.microsoft.com/office/drawing/2012/chart" uri="{02D57815-91ED-43cb-92C2-25804820EDAC}">
              <c15:datalabelsRange>
                <c15:f>Sheet1!$E$2:$E$10</c15:f>
                <c15:dlblRangeCache>
                  <c:ptCount val="9"/>
                  <c:pt idx="0">
                    <c:v>Mhcs</c:v>
                  </c:pt>
                  <c:pt idx="1">
                    <c:v>Vranken Pommery</c:v>
                  </c:pt>
                  <c:pt idx="2">
                    <c:v>Roederer</c:v>
                  </c:pt>
                  <c:pt idx="3">
                    <c:v>Malard Nicolas</c:v>
                  </c:pt>
                  <c:pt idx="4">
                    <c:v>Laurent Perrier</c:v>
                  </c:pt>
                  <c:pt idx="5">
                    <c:v>Cfgv</c:v>
                  </c:pt>
                  <c:pt idx="6">
                    <c:v>Malard</c:v>
                  </c:pt>
                  <c:pt idx="7">
                    <c:v>Lanson-Bcc</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10"/>
          <c:min val="2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966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1005C4E-145C-450C-931E-F19AD8E2DF5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3E4B598-B797-443F-8F17-D0B536B1CB9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8A1835D-96C5-4F62-9F8A-CC314E88BC7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29B53DE-F9B9-4A78-BA52-91743E32984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98ADAB8-EC4D-4638-90F8-E8E75D07655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B503C8F5-AA58-499C-BD83-B1D4BED26FE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E62A3FEB-62C9-46DC-B2BE-5928FB6729B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A02D8CDA-3318-4A7C-9FA6-BD065FA6C3F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8.1654999999999998</c:v>
                </c:pt>
                <c:pt idx="1">
                  <c:v>7.0598000000000001</c:v>
                </c:pt>
                <c:pt idx="2">
                  <c:v>8.4002999999999997</c:v>
                </c:pt>
                <c:pt idx="3">
                  <c:v>7.6973000000000003</c:v>
                </c:pt>
                <c:pt idx="4">
                  <c:v>9.7827999999999999</c:v>
                </c:pt>
                <c:pt idx="5">
                  <c:v>7.3342999999999998</c:v>
                </c:pt>
                <c:pt idx="6">
                  <c:v>7.7112999999999996</c:v>
                </c:pt>
              </c:numCache>
            </c:numRef>
          </c:xVal>
          <c:yVal>
            <c:numRef>
              <c:f>Sheet1!$B$2:$B$8</c:f>
              <c:numCache>
                <c:formatCode>General</c:formatCode>
                <c:ptCount val="7"/>
                <c:pt idx="0">
                  <c:v>0.995</c:v>
                </c:pt>
                <c:pt idx="1">
                  <c:v>0.95799999999999996</c:v>
                </c:pt>
                <c:pt idx="2">
                  <c:v>1.0389999999999999</c:v>
                </c:pt>
                <c:pt idx="3">
                  <c:v>1.0349999999999999</c:v>
                </c:pt>
                <c:pt idx="4">
                  <c:v>1.1910000000000001</c:v>
                </c:pt>
                <c:pt idx="5">
                  <c:v>1.0309999999999999</c:v>
                </c:pt>
                <c:pt idx="6">
                  <c:v>1.0840000000000001</c:v>
                </c:pt>
              </c:numCache>
            </c:numRef>
          </c:yVal>
          <c:bubbleSize>
            <c:numRef>
              <c:f>Sheet1!$C$2:$C$8</c:f>
              <c:numCache>
                <c:formatCode>General</c:formatCode>
                <c:ptCount val="7"/>
                <c:pt idx="0">
                  <c:v>15897650</c:v>
                </c:pt>
                <c:pt idx="1">
                  <c:v>12258120</c:v>
                </c:pt>
                <c:pt idx="2">
                  <c:v>4177323</c:v>
                </c:pt>
                <c:pt idx="3">
                  <c:v>3025266</c:v>
                </c:pt>
                <c:pt idx="4">
                  <c:v>1797924</c:v>
                </c:pt>
                <c:pt idx="5">
                  <c:v>932508</c:v>
                </c:pt>
                <c:pt idx="6">
                  <c:v>550341</c:v>
                </c:pt>
              </c:numCache>
            </c:numRef>
          </c:bubbleSize>
          <c:bubble3D val="0"/>
          <c:extLst>
            <c:ext xmlns:c15="http://schemas.microsoft.com/office/drawing/2012/chart" uri="{02D57815-91ED-43cb-92C2-25804820EDAC}">
              <c15:datalabelsRange>
                <c15:f>Sheet1!$E$2:$E$10</c15:f>
                <c15:dlblRangeCache>
                  <c:ptCount val="9"/>
                  <c:pt idx="0">
                    <c:v>Veuve Ambal</c:v>
                  </c:pt>
                  <c:pt idx="1">
                    <c:v>Mdd</c:v>
                  </c:pt>
                  <c:pt idx="2">
                    <c:v>Couvent Des Visitandines</c:v>
                  </c:pt>
                  <c:pt idx="3">
                    <c:v>Moillard</c:v>
                  </c:pt>
                  <c:pt idx="4">
                    <c:v>Louis Bouillot</c:v>
                  </c:pt>
                  <c:pt idx="5">
                    <c:v>Valenger</c:v>
                  </c:pt>
                  <c:pt idx="6">
                    <c:v>Caves De Lugn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2"/>
          <c:min val="6"/>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391"/>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D142C1D-BD75-4025-99F8-EEAD60EA76D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D843F7D-2399-4395-88EE-29195B56548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BE00785E-91B3-41E3-B672-23F39A54E1E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99B513F5-8ED3-40FB-ADCD-EA694DE3A48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7DC4D1A4-8A50-419A-8AE1-7746F73EF6D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29FBD30F-AE7D-4CBF-B509-AEF46698F2A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44E1D8C0-F99B-440E-8303-73E2FE00023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3311144E-0CD7-4465-9C4B-2FBCF7DA0DD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12.8157</c:v>
                </c:pt>
                <c:pt idx="1">
                  <c:v>12.6061</c:v>
                </c:pt>
              </c:numCache>
            </c:numRef>
          </c:xVal>
          <c:yVal>
            <c:numRef>
              <c:f>Sheet1!$B$2:$B$3</c:f>
              <c:numCache>
                <c:formatCode>General</c:formatCode>
                <c:ptCount val="2"/>
                <c:pt idx="0">
                  <c:v>0.998</c:v>
                </c:pt>
                <c:pt idx="1">
                  <c:v>0.98199999999999998</c:v>
                </c:pt>
              </c:numCache>
            </c:numRef>
          </c:yVal>
          <c:bubbleSize>
            <c:numRef>
              <c:f>Sheet1!$C$2:$C$3</c:f>
              <c:numCache>
                <c:formatCode>General</c:formatCode>
                <c:ptCount val="2"/>
                <c:pt idx="0">
                  <c:v>385241</c:v>
                </c:pt>
                <c:pt idx="1">
                  <c:v>122077</c:v>
                </c:pt>
              </c:numCache>
            </c:numRef>
          </c:bubbleSize>
          <c:bubble3D val="0"/>
          <c:extLst>
            <c:ext xmlns:c15="http://schemas.microsoft.com/office/drawing/2012/chart" uri="{02D57815-91ED-43cb-92C2-25804820EDAC}">
              <c15:datalabelsRange>
                <c15:f>Sheet1!$E$2:$E$10</c15:f>
                <c15:dlblRangeCache>
                  <c:ptCount val="9"/>
                  <c:pt idx="0">
                    <c:v>Kriter</c:v>
                  </c:pt>
                  <c:pt idx="1">
                    <c:v>Patriarch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5"/>
          <c:min val="1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198"/>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8B650909-B565-4244-BC1F-8D6E501C399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355E813B-ACE5-447A-98CC-BD5BC7594A2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D871-46D6-BBFE-7C00E0D51738}"/>
                </c:ext>
              </c:extLst>
            </c:dLbl>
            <c:dLbl>
              <c:idx val="3"/>
              <c:tx>
                <c:rich>
                  <a:bodyPr/>
                  <a:lstStyle/>
                  <a:p>
                    <a:fld id="{D4B6FC7B-0EDA-4606-A446-089E2338E22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D871-46D6-BBFE-7C00E0D51738}"/>
                </c:ext>
              </c:extLst>
            </c:dLbl>
            <c:dLbl>
              <c:idx val="4"/>
              <c:tx>
                <c:rich>
                  <a:bodyPr/>
                  <a:lstStyle/>
                  <a:p>
                    <a:fld id="{B3084562-371C-43A5-B730-62F9BCAB976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D871-46D6-BBFE-7C00E0D51738}"/>
                </c:ext>
              </c:extLst>
            </c:dLbl>
            <c:dLbl>
              <c:idx val="5"/>
              <c:tx>
                <c:rich>
                  <a:bodyPr/>
                  <a:lstStyle/>
                  <a:p>
                    <a:fld id="{01EBA8E4-2A87-4569-ADFB-994EE52B36A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71-46D6-BBFE-7C00E0D51738}"/>
                </c:ext>
              </c:extLst>
            </c:dLbl>
            <c:dLbl>
              <c:idx val="6"/>
              <c:tx>
                <c:rich>
                  <a:bodyPr/>
                  <a:lstStyle/>
                  <a:p>
                    <a:fld id="{7CA28537-F2CC-4583-B812-12CF384FEDA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71-46D6-BBFE-7C00E0D51738}"/>
                </c:ext>
              </c:extLst>
            </c:dLbl>
            <c:dLbl>
              <c:idx val="7"/>
              <c:tx>
                <c:rich>
                  <a:bodyPr/>
                  <a:lstStyle/>
                  <a:p>
                    <a:fld id="{AF08EEFF-F7D1-45D5-A680-126004216EF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71-46D6-BBFE-7C00E0D51738}"/>
                </c:ext>
              </c:extLst>
            </c:dLbl>
            <c:dLbl>
              <c:idx val="8"/>
              <c:tx>
                <c:rich>
                  <a:bodyPr/>
                  <a:lstStyle/>
                  <a:p>
                    <a:fld id="{692C30A1-4229-4DAE-8E16-D0C2BDB419B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29.068899999999999</c:v>
                </c:pt>
                <c:pt idx="1">
                  <c:v>11.472899999999999</c:v>
                </c:pt>
              </c:numCache>
            </c:numRef>
          </c:xVal>
          <c:yVal>
            <c:numRef>
              <c:f>Sheet1!$B$2:$B$3</c:f>
              <c:numCache>
                <c:formatCode>General</c:formatCode>
                <c:ptCount val="2"/>
                <c:pt idx="0">
                  <c:v>1.8120000000000001</c:v>
                </c:pt>
                <c:pt idx="1">
                  <c:v>0.71499999999999997</c:v>
                </c:pt>
              </c:numCache>
            </c:numRef>
          </c:yVal>
          <c:bubbleSize>
            <c:numRef>
              <c:f>Sheet1!$C$2:$C$3</c:f>
              <c:numCache>
                <c:formatCode>General</c:formatCode>
                <c:ptCount val="2"/>
                <c:pt idx="0">
                  <c:v>45115</c:v>
                </c:pt>
                <c:pt idx="1">
                  <c:v>38503</c:v>
                </c:pt>
              </c:numCache>
            </c:numRef>
          </c:bubbleSize>
          <c:bubble3D val="0"/>
          <c:extLst>
            <c:ext xmlns:c15="http://schemas.microsoft.com/office/drawing/2012/chart" uri="{02D57815-91ED-43cb-92C2-25804820EDAC}">
              <c15:datalabelsRange>
                <c15:f>Sheet1!$E$2:$E$10</c15:f>
                <c15:dlblRangeCache>
                  <c:ptCount val="9"/>
                  <c:pt idx="0">
                    <c:v>De Chanceny</c:v>
                  </c:pt>
                  <c:pt idx="1">
                    <c:v>Lyre's</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5"/>
          <c:min val="9"/>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08B71C9-31E1-4AEC-BB39-A520309D079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7117F6F-CFC1-495C-8FA9-AA61F57C999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59F1766-4359-4660-8548-F1A7EAF0342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0D79C0A-97CE-4597-87DF-95ABDF4E7E2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7B9784B-2A74-46C2-99C1-D5278BC6515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947F3D1-C07F-4BA2-9BFF-EDB4E795098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17C15143-A2BC-449D-B10C-73A951F713E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66E307BE-A5A9-4063-A761-435436D8EC5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8.1654999999999998</c:v>
                </c:pt>
                <c:pt idx="1">
                  <c:v>7.0598000000000001</c:v>
                </c:pt>
                <c:pt idx="2">
                  <c:v>8.4002999999999997</c:v>
                </c:pt>
                <c:pt idx="3">
                  <c:v>7.6973000000000003</c:v>
                </c:pt>
                <c:pt idx="4">
                  <c:v>9.7827999999999999</c:v>
                </c:pt>
                <c:pt idx="5">
                  <c:v>7.3342999999999998</c:v>
                </c:pt>
                <c:pt idx="6">
                  <c:v>7.7112999999999996</c:v>
                </c:pt>
              </c:numCache>
            </c:numRef>
          </c:xVal>
          <c:yVal>
            <c:numRef>
              <c:f>Sheet1!$B$2:$B$8</c:f>
              <c:numCache>
                <c:formatCode>General</c:formatCode>
                <c:ptCount val="7"/>
                <c:pt idx="0">
                  <c:v>1.0009999999999999</c:v>
                </c:pt>
                <c:pt idx="1">
                  <c:v>0.96399999999999997</c:v>
                </c:pt>
                <c:pt idx="2">
                  <c:v>1.0449999999999999</c:v>
                </c:pt>
                <c:pt idx="3">
                  <c:v>1.0409999999999999</c:v>
                </c:pt>
                <c:pt idx="4">
                  <c:v>1.198</c:v>
                </c:pt>
                <c:pt idx="5">
                  <c:v>1.0369999999999999</c:v>
                </c:pt>
                <c:pt idx="6">
                  <c:v>1.0900000000000001</c:v>
                </c:pt>
              </c:numCache>
            </c:numRef>
          </c:yVal>
          <c:bubbleSize>
            <c:numRef>
              <c:f>Sheet1!$C$2:$C$8</c:f>
              <c:numCache>
                <c:formatCode>General</c:formatCode>
                <c:ptCount val="7"/>
                <c:pt idx="0">
                  <c:v>15897650</c:v>
                </c:pt>
                <c:pt idx="1">
                  <c:v>12258120</c:v>
                </c:pt>
                <c:pt idx="2">
                  <c:v>4177323</c:v>
                </c:pt>
                <c:pt idx="3">
                  <c:v>3025266</c:v>
                </c:pt>
                <c:pt idx="4">
                  <c:v>1797924</c:v>
                </c:pt>
                <c:pt idx="5">
                  <c:v>932508</c:v>
                </c:pt>
                <c:pt idx="6">
                  <c:v>550341</c:v>
                </c:pt>
              </c:numCache>
            </c:numRef>
          </c:bubbleSize>
          <c:bubble3D val="0"/>
          <c:extLst>
            <c:ext xmlns:c15="http://schemas.microsoft.com/office/drawing/2012/chart" uri="{02D57815-91ED-43cb-92C2-25804820EDAC}">
              <c15:datalabelsRange>
                <c15:f>Sheet1!$E$2:$E$10</c15:f>
                <c15:dlblRangeCache>
                  <c:ptCount val="9"/>
                  <c:pt idx="0">
                    <c:v>Veuve Ambal</c:v>
                  </c:pt>
                  <c:pt idx="1">
                    <c:v>Mdd</c:v>
                  </c:pt>
                  <c:pt idx="2">
                    <c:v>Couvent Des Visitandines</c:v>
                  </c:pt>
                  <c:pt idx="3">
                    <c:v>Moillard</c:v>
                  </c:pt>
                  <c:pt idx="4">
                    <c:v>Louis Bouillot</c:v>
                  </c:pt>
                  <c:pt idx="5">
                    <c:v>Valenger</c:v>
                  </c:pt>
                  <c:pt idx="6">
                    <c:v>Caves De Lugn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2"/>
          <c:min val="6"/>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397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73A405D-F0B7-456C-8A06-F38E156CF95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CCA90D3-CE4A-4826-BCD9-DECFECA7A04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95F3742F-F521-4DEF-82AA-E474C4340D1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6EDBB946-2169-4FF2-937C-878F5F01931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8D1B3547-0FD3-4642-BD62-BE19A41CFE2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8EC67953-CB46-4D64-8536-7A73B25E7E3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4EA4B23E-9F6F-4D80-A8E2-1A03235B04F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66E1EF8D-49F4-4876-BBAC-FFE4AE712B0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12.8065</c:v>
                </c:pt>
                <c:pt idx="1">
                  <c:v>12.5815</c:v>
                </c:pt>
              </c:numCache>
            </c:numRef>
          </c:xVal>
          <c:yVal>
            <c:numRef>
              <c:f>Sheet1!$B$2:$B$3</c:f>
              <c:numCache>
                <c:formatCode>General</c:formatCode>
                <c:ptCount val="2"/>
                <c:pt idx="0">
                  <c:v>1.004</c:v>
                </c:pt>
                <c:pt idx="1">
                  <c:v>0.98699999999999999</c:v>
                </c:pt>
              </c:numCache>
            </c:numRef>
          </c:yVal>
          <c:bubbleSize>
            <c:numRef>
              <c:f>Sheet1!$C$2:$C$3</c:f>
              <c:numCache>
                <c:formatCode>General</c:formatCode>
                <c:ptCount val="2"/>
                <c:pt idx="0">
                  <c:v>177332</c:v>
                </c:pt>
                <c:pt idx="1">
                  <c:v>54327</c:v>
                </c:pt>
              </c:numCache>
            </c:numRef>
          </c:bubbleSize>
          <c:bubble3D val="0"/>
          <c:extLst>
            <c:ext xmlns:c15="http://schemas.microsoft.com/office/drawing/2012/chart" uri="{02D57815-91ED-43cb-92C2-25804820EDAC}">
              <c15:datalabelsRange>
                <c15:f>Sheet1!$E$2:$E$10</c15:f>
                <c15:dlblRangeCache>
                  <c:ptCount val="9"/>
                  <c:pt idx="0">
                    <c:v>Kriter</c:v>
                  </c:pt>
                  <c:pt idx="1">
                    <c:v>Patriarch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5"/>
          <c:min val="1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04"/>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72F616C-D6EC-4B52-A407-A6CF789321E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E602799-95E2-4168-9673-3382E5ECE6E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E3E01CFA-52A4-4A5E-A033-7DC703FFDEE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005432C4-B31B-47BC-8505-9BF009D415B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50AFA016-562D-455C-B92C-EE09F9FBD81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F7077ED5-9E11-4D66-BDC2-B880D0E5810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A8AB1E0A-63F3-4762-8289-907CC66B994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A6B4973D-6BE3-4E6C-B386-8D39784CDCB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12.8056</c:v>
                </c:pt>
                <c:pt idx="1">
                  <c:v>12.548999999999999</c:v>
                </c:pt>
              </c:numCache>
            </c:numRef>
          </c:xVal>
          <c:yVal>
            <c:numRef>
              <c:f>Sheet1!$B$2:$B$3</c:f>
              <c:numCache>
                <c:formatCode>General</c:formatCode>
                <c:ptCount val="2"/>
                <c:pt idx="0">
                  <c:v>0.99299999999999999</c:v>
                </c:pt>
                <c:pt idx="1">
                  <c:v>0.97199999999999998</c:v>
                </c:pt>
              </c:numCache>
            </c:numRef>
          </c:yVal>
          <c:bubbleSize>
            <c:numRef>
              <c:f>Sheet1!$C$2:$C$3</c:f>
              <c:numCache>
                <c:formatCode>General</c:formatCode>
                <c:ptCount val="2"/>
                <c:pt idx="0">
                  <c:v>88487</c:v>
                </c:pt>
                <c:pt idx="1">
                  <c:v>26767</c:v>
                </c:pt>
              </c:numCache>
            </c:numRef>
          </c:bubbleSize>
          <c:bubble3D val="0"/>
          <c:extLst>
            <c:ext xmlns:c15="http://schemas.microsoft.com/office/drawing/2012/chart" uri="{02D57815-91ED-43cb-92C2-25804820EDAC}">
              <c15:datalabelsRange>
                <c15:f>Sheet1!$E$2:$E$10</c15:f>
                <c15:dlblRangeCache>
                  <c:ptCount val="9"/>
                  <c:pt idx="0">
                    <c:v>Kriter</c:v>
                  </c:pt>
                  <c:pt idx="1">
                    <c:v>Patriarch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5"/>
          <c:min val="1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1930000000000001"/>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5272B76-C305-4336-A7CA-C18205AE132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256A586-25E1-40B0-BF25-E7A4A3D5BEB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35A90247-0FEE-4E9C-964B-A9B76F9F6CD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9B5D406A-FA76-4C3B-99F6-DC424080E6A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FE2E4A63-B1DE-47B7-B082-56E396E6688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1A387593-064E-4282-86D4-2894DCBEF65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6937CE4F-D5E5-4CBC-BEBA-CA3EFAE8A39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2C54243A-6C8A-4E8C-921F-B90417E6AE3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13.066700000000001</c:v>
                </c:pt>
                <c:pt idx="1">
                  <c:v>12.901899999999999</c:v>
                </c:pt>
              </c:numCache>
            </c:numRef>
          </c:xVal>
          <c:yVal>
            <c:numRef>
              <c:f>Sheet1!$B$2:$B$3</c:f>
              <c:numCache>
                <c:formatCode>General</c:formatCode>
                <c:ptCount val="2"/>
                <c:pt idx="0">
                  <c:v>1.002</c:v>
                </c:pt>
                <c:pt idx="1">
                  <c:v>0.995</c:v>
                </c:pt>
              </c:numCache>
            </c:numRef>
          </c:yVal>
          <c:bubbleSize>
            <c:numRef>
              <c:f>Sheet1!$C$2:$C$3</c:f>
              <c:numCache>
                <c:formatCode>General</c:formatCode>
                <c:ptCount val="2"/>
                <c:pt idx="0">
                  <c:v>41330</c:v>
                </c:pt>
                <c:pt idx="1">
                  <c:v>15392</c:v>
                </c:pt>
              </c:numCache>
            </c:numRef>
          </c:bubbleSize>
          <c:bubble3D val="0"/>
          <c:extLst>
            <c:ext xmlns:c15="http://schemas.microsoft.com/office/drawing/2012/chart" uri="{02D57815-91ED-43cb-92C2-25804820EDAC}">
              <c15:datalabelsRange>
                <c15:f>Sheet1!$E$2:$E$10</c15:f>
                <c15:dlblRangeCache>
                  <c:ptCount val="9"/>
                  <c:pt idx="0">
                    <c:v>Kriter</c:v>
                  </c:pt>
                  <c:pt idx="1">
                    <c:v>Patriarch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6"/>
          <c:min val="1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02"/>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E6C90ED-6852-419C-A68D-55C481D1C98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6B240F6-EA86-465A-94F4-8D36024F9B7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F68BE4AB-D075-4382-89EB-927764B6A91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7E23B5E4-689E-4238-9D96-5F7620F6EC0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8A4842FB-2F17-4D21-97AC-6ED04C34D37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A1073125-92B0-43C6-871B-68C252AF560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8A3B40B5-6844-460D-84A9-8432FC996D7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E838DF2F-14A6-4BE0-B7F7-02F7E7637BF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12.900499999999999</c:v>
                </c:pt>
                <c:pt idx="1">
                  <c:v>12.6502</c:v>
                </c:pt>
              </c:numCache>
            </c:numRef>
          </c:xVal>
          <c:yVal>
            <c:numRef>
              <c:f>Sheet1!$B$2:$B$3</c:f>
              <c:numCache>
                <c:formatCode>General</c:formatCode>
                <c:ptCount val="2"/>
                <c:pt idx="0">
                  <c:v>1</c:v>
                </c:pt>
                <c:pt idx="1">
                  <c:v>0.998</c:v>
                </c:pt>
              </c:numCache>
            </c:numRef>
          </c:yVal>
          <c:bubbleSize>
            <c:numRef>
              <c:f>Sheet1!$C$2:$C$3</c:f>
              <c:numCache>
                <c:formatCode>General</c:formatCode>
                <c:ptCount val="2"/>
                <c:pt idx="0">
                  <c:v>19957</c:v>
                </c:pt>
                <c:pt idx="1">
                  <c:v>4086</c:v>
                </c:pt>
              </c:numCache>
            </c:numRef>
          </c:bubbleSize>
          <c:bubble3D val="0"/>
          <c:extLst>
            <c:ext xmlns:c15="http://schemas.microsoft.com/office/drawing/2012/chart" uri="{02D57815-91ED-43cb-92C2-25804820EDAC}">
              <c15:datalabelsRange>
                <c15:f>Sheet1!$E$2:$E$10</c15:f>
                <c15:dlblRangeCache>
                  <c:ptCount val="9"/>
                  <c:pt idx="0">
                    <c:v>Kriter</c:v>
                  </c:pt>
                  <c:pt idx="1">
                    <c:v>Patriarch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5"/>
          <c:min val="1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6D9B542-C797-420A-9AFC-9B0A7A6DA57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753BAFB-7D0D-4281-BCF0-E4D73A3719E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E825A5F6-1A52-46BF-A5BD-87B1C013911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8F35B18E-0BF9-4CC2-A3C8-193BCBFE272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259CD1F2-D1BE-46DA-B7F2-95389EB58DB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77521449-C415-47CE-AC31-1118F5A6592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50092F41-A83F-49A0-89AA-8D172A2DFE1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8106FD20-C0E5-428F-A161-50813CD8B91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12.5063</c:v>
                </c:pt>
                <c:pt idx="1">
                  <c:v>12.2933</c:v>
                </c:pt>
              </c:numCache>
            </c:numRef>
          </c:xVal>
          <c:yVal>
            <c:numRef>
              <c:f>Sheet1!$B$2:$B$3</c:f>
              <c:numCache>
                <c:formatCode>General</c:formatCode>
                <c:ptCount val="2"/>
                <c:pt idx="0">
                  <c:v>1.0029999999999999</c:v>
                </c:pt>
                <c:pt idx="1">
                  <c:v>0.99299999999999999</c:v>
                </c:pt>
              </c:numCache>
            </c:numRef>
          </c:yVal>
          <c:bubbleSize>
            <c:numRef>
              <c:f>Sheet1!$C$2:$C$3</c:f>
              <c:numCache>
                <c:formatCode>General</c:formatCode>
                <c:ptCount val="2"/>
                <c:pt idx="0">
                  <c:v>13857</c:v>
                </c:pt>
                <c:pt idx="1">
                  <c:v>6749</c:v>
                </c:pt>
              </c:numCache>
            </c:numRef>
          </c:bubbleSize>
          <c:bubble3D val="0"/>
          <c:extLst>
            <c:ext xmlns:c15="http://schemas.microsoft.com/office/drawing/2012/chart" uri="{02D57815-91ED-43cb-92C2-25804820EDAC}">
              <c15:datalabelsRange>
                <c15:f>Sheet1!$E$2:$E$10</c15:f>
                <c15:dlblRangeCache>
                  <c:ptCount val="9"/>
                  <c:pt idx="0">
                    <c:v>Kriter</c:v>
                  </c:pt>
                  <c:pt idx="1">
                    <c:v>Patriarch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5"/>
          <c:min val="1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029999999999998"/>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432080E-E1FD-4D66-AAD2-A70C743DEC0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9D0AAB2-46CF-4614-A207-4277AE2CF1E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1244C24C-AD5D-4FC0-8088-BBB6DA0BD12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A8A0EC82-9A17-4EE7-8D1C-164DC5411B8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DD9CD7AB-A5CC-4322-A28C-AB745FB87D5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6172BEC3-E7EB-41E2-BD91-BDDF02C6EB6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0815D5A1-0683-4EF3-B6D0-07C053BA8D6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863C1CD4-B0DE-4422-BB70-0CD868F2E7E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12.838900000000001</c:v>
                </c:pt>
                <c:pt idx="1">
                  <c:v>12.577400000000001</c:v>
                </c:pt>
              </c:numCache>
            </c:numRef>
          </c:xVal>
          <c:yVal>
            <c:numRef>
              <c:f>Sheet1!$B$2:$B$3</c:f>
              <c:numCache>
                <c:formatCode>General</c:formatCode>
                <c:ptCount val="2"/>
                <c:pt idx="0">
                  <c:v>1.0049999999999999</c:v>
                </c:pt>
                <c:pt idx="1">
                  <c:v>0.98499999999999999</c:v>
                </c:pt>
              </c:numCache>
            </c:numRef>
          </c:yVal>
          <c:bubbleSize>
            <c:numRef>
              <c:f>Sheet1!$C$2:$C$3</c:f>
              <c:numCache>
                <c:formatCode>General</c:formatCode>
                <c:ptCount val="2"/>
                <c:pt idx="0">
                  <c:v>270438</c:v>
                </c:pt>
                <c:pt idx="1">
                  <c:v>82080</c:v>
                </c:pt>
              </c:numCache>
            </c:numRef>
          </c:bubbleSize>
          <c:bubble3D val="0"/>
          <c:extLst>
            <c:ext xmlns:c15="http://schemas.microsoft.com/office/drawing/2012/chart" uri="{02D57815-91ED-43cb-92C2-25804820EDAC}">
              <c15:datalabelsRange>
                <c15:f>Sheet1!$E$2:$E$10</c15:f>
                <c15:dlblRangeCache>
                  <c:ptCount val="9"/>
                  <c:pt idx="0">
                    <c:v>Kriter</c:v>
                  </c:pt>
                  <c:pt idx="1">
                    <c:v>Patriarch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5"/>
          <c:min val="1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049999999999998"/>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B023813-A9EB-4C7E-BE02-55B2777BA7F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23DBB5F-BAD2-4814-8019-4070356AA46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3A41696A-9486-4D8F-8E86-16C204F3313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CE697B2D-EAA9-4A86-8C0D-7895DDE7AB5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7FCD7629-2067-4DBB-8E8B-29D5A0E8D70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09D39755-419F-4B58-B429-DF7BCD8B827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874E567B-DCE7-4DA4-A192-1609A1E1430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6BC41E00-85A7-4A8B-83AB-878CD440517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12.8688</c:v>
                </c:pt>
                <c:pt idx="1">
                  <c:v>12.7441</c:v>
                </c:pt>
              </c:numCache>
            </c:numRef>
          </c:xVal>
          <c:yVal>
            <c:numRef>
              <c:f>Sheet1!$B$2:$B$3</c:f>
              <c:numCache>
                <c:formatCode>General</c:formatCode>
                <c:ptCount val="2"/>
                <c:pt idx="0">
                  <c:v>1.004</c:v>
                </c:pt>
                <c:pt idx="1">
                  <c:v>0.99099999999999999</c:v>
                </c:pt>
              </c:numCache>
            </c:numRef>
          </c:yVal>
          <c:bubbleSize>
            <c:numRef>
              <c:f>Sheet1!$C$2:$C$3</c:f>
              <c:numCache>
                <c:formatCode>General</c:formatCode>
                <c:ptCount val="2"/>
                <c:pt idx="0">
                  <c:v>26973</c:v>
                </c:pt>
                <c:pt idx="1">
                  <c:v>12400</c:v>
                </c:pt>
              </c:numCache>
            </c:numRef>
          </c:bubbleSize>
          <c:bubble3D val="0"/>
          <c:extLst>
            <c:ext xmlns:c15="http://schemas.microsoft.com/office/drawing/2012/chart" uri="{02D57815-91ED-43cb-92C2-25804820EDAC}">
              <c15:datalabelsRange>
                <c15:f>Sheet1!$E$2:$E$10</c15:f>
                <c15:dlblRangeCache>
                  <c:ptCount val="9"/>
                  <c:pt idx="0">
                    <c:v>Kriter</c:v>
                  </c:pt>
                  <c:pt idx="1">
                    <c:v>Patriarch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5"/>
          <c:min val="1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04"/>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C4D0D00-E0AE-466A-A4AD-E4128F614BD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2E521F2-A65B-42FE-BB5A-1C21B896B6A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217E79BF-8DE5-4848-A604-9D950AF28EF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4D8A8C71-7D6A-4C3B-BD09-FAF0E31E8F2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D9A6E89D-E063-440E-925B-0D1106E923B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A9CE0F11-1C4B-404F-A226-63EF30B53E7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EE63DDF5-0A1B-4E4A-B0A9-E6D73FAD2EE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BF18C829-60E7-45DF-90BD-55CCF2FC7C5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12.7188</c:v>
                </c:pt>
                <c:pt idx="1">
                  <c:v>12.2186</c:v>
                </c:pt>
              </c:numCache>
            </c:numRef>
          </c:xVal>
          <c:yVal>
            <c:numRef>
              <c:f>Sheet1!$B$2:$B$3</c:f>
              <c:numCache>
                <c:formatCode>General</c:formatCode>
                <c:ptCount val="2"/>
                <c:pt idx="0">
                  <c:v>1.006</c:v>
                </c:pt>
                <c:pt idx="1">
                  <c:v>0.97699999999999998</c:v>
                </c:pt>
              </c:numCache>
            </c:numRef>
          </c:yVal>
          <c:bubbleSize>
            <c:numRef>
              <c:f>Sheet1!$C$2:$C$3</c:f>
              <c:numCache>
                <c:formatCode>General</c:formatCode>
                <c:ptCount val="2"/>
                <c:pt idx="0">
                  <c:v>26913</c:v>
                </c:pt>
                <c:pt idx="1">
                  <c:v>6818</c:v>
                </c:pt>
              </c:numCache>
            </c:numRef>
          </c:bubbleSize>
          <c:bubble3D val="0"/>
          <c:extLst>
            <c:ext xmlns:c15="http://schemas.microsoft.com/office/drawing/2012/chart" uri="{02D57815-91ED-43cb-92C2-25804820EDAC}">
              <c15:datalabelsRange>
                <c15:f>Sheet1!$E$2:$E$10</c15:f>
                <c15:dlblRangeCache>
                  <c:ptCount val="9"/>
                  <c:pt idx="0">
                    <c:v>Kriter</c:v>
                  </c:pt>
                  <c:pt idx="1">
                    <c:v>Patriarch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5"/>
          <c:min val="1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06"/>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16BE4C0-CC99-4D93-9960-FE3A9A7055A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D60AB3A-C940-423D-AC44-6B36E5A7F8E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D1DA1962-6991-4649-8A2D-BA83F06034B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E89FCD0E-80E5-491A-B2EE-AA162BCCC04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9B0F95CC-1DFE-40D8-898D-5CF20E95B87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56FDDEF2-652E-4589-B707-04FC3E1D3E9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51B10F25-94B4-46C6-94BC-87984C8A3B6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56EDE01C-BCE6-4B96-A1FE-805E768DFC3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12.669</c:v>
                </c:pt>
                <c:pt idx="1">
                  <c:v>12.639900000000001</c:v>
                </c:pt>
              </c:numCache>
            </c:numRef>
          </c:xVal>
          <c:yVal>
            <c:numRef>
              <c:f>Sheet1!$B$2:$B$3</c:f>
              <c:numCache>
                <c:formatCode>General</c:formatCode>
                <c:ptCount val="2"/>
                <c:pt idx="0">
                  <c:v>0.998</c:v>
                </c:pt>
                <c:pt idx="1">
                  <c:v>1.0029999999999999</c:v>
                </c:pt>
              </c:numCache>
            </c:numRef>
          </c:yVal>
          <c:bubbleSize>
            <c:numRef>
              <c:f>Sheet1!$C$2:$C$3</c:f>
              <c:numCache>
                <c:formatCode>General</c:formatCode>
                <c:ptCount val="2"/>
                <c:pt idx="0">
                  <c:v>9033</c:v>
                </c:pt>
                <c:pt idx="1">
                  <c:v>5827</c:v>
                </c:pt>
              </c:numCache>
            </c:numRef>
          </c:bubbleSize>
          <c:bubble3D val="0"/>
          <c:extLst>
            <c:ext xmlns:c15="http://schemas.microsoft.com/office/drawing/2012/chart" uri="{02D57815-91ED-43cb-92C2-25804820EDAC}">
              <c15:datalabelsRange>
                <c15:f>Sheet1!$E$2:$E$10</c15:f>
                <c15:dlblRangeCache>
                  <c:ptCount val="9"/>
                  <c:pt idx="0">
                    <c:v>Kriter</c:v>
                  </c:pt>
                  <c:pt idx="1">
                    <c:v>Patriarch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5"/>
          <c:min val="1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029999999999998"/>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B4F75BE-F422-4E7F-99FA-1C95F140C79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4CA74FC-6E00-430B-B086-60BCCAE77CF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CDA8DC3-2272-4F53-BCDD-D87511D6B86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9D6A8B9-B4DA-4265-A348-75C3D0BAFB3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297B993-D73D-4E8D-880B-BC3DB0236C3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AA13D4F-CE9E-480F-AE1D-E57260A2CE9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887A516E-BF6C-46AA-B205-07110CFE915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3CBF9C97-BE6B-425E-85F7-3DA85E13D8F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97.008300000000006</c:v>
                </c:pt>
                <c:pt idx="1">
                  <c:v>30.7135</c:v>
                </c:pt>
                <c:pt idx="2">
                  <c:v>39.392000000000003</c:v>
                </c:pt>
                <c:pt idx="3">
                  <c:v>35.273200000000003</c:v>
                </c:pt>
                <c:pt idx="4">
                  <c:v>57.777700000000003</c:v>
                </c:pt>
                <c:pt idx="5">
                  <c:v>46.685600000000001</c:v>
                </c:pt>
                <c:pt idx="6">
                  <c:v>74.661799999999999</c:v>
                </c:pt>
                <c:pt idx="7">
                  <c:v>53.224699999999999</c:v>
                </c:pt>
              </c:numCache>
            </c:numRef>
          </c:xVal>
          <c:yVal>
            <c:numRef>
              <c:f>Sheet1!$B$2:$B$9</c:f>
              <c:numCache>
                <c:formatCode>General</c:formatCode>
                <c:ptCount val="8"/>
                <c:pt idx="0">
                  <c:v>1.91</c:v>
                </c:pt>
                <c:pt idx="1">
                  <c:v>0.60699999999999998</c:v>
                </c:pt>
                <c:pt idx="2">
                  <c:v>0.81100000000000005</c:v>
                </c:pt>
                <c:pt idx="3">
                  <c:v>0.69699999999999995</c:v>
                </c:pt>
                <c:pt idx="4">
                  <c:v>1.1659999999999999</c:v>
                </c:pt>
                <c:pt idx="5">
                  <c:v>0.92300000000000004</c:v>
                </c:pt>
                <c:pt idx="6">
                  <c:v>1.4530000000000001</c:v>
                </c:pt>
                <c:pt idx="7">
                  <c:v>1.03</c:v>
                </c:pt>
              </c:numCache>
            </c:numRef>
          </c:yVal>
          <c:bubbleSize>
            <c:numRef>
              <c:f>Sheet1!$C$2:$C$9</c:f>
              <c:numCache>
                <c:formatCode>General</c:formatCode>
                <c:ptCount val="8"/>
                <c:pt idx="0">
                  <c:v>7602346</c:v>
                </c:pt>
                <c:pt idx="1">
                  <c:v>5549709</c:v>
                </c:pt>
                <c:pt idx="2">
                  <c:v>534037</c:v>
                </c:pt>
                <c:pt idx="3">
                  <c:v>450509</c:v>
                </c:pt>
                <c:pt idx="4">
                  <c:v>424377</c:v>
                </c:pt>
                <c:pt idx="5">
                  <c:v>277219</c:v>
                </c:pt>
                <c:pt idx="6">
                  <c:v>213010</c:v>
                </c:pt>
                <c:pt idx="7">
                  <c:v>200125</c:v>
                </c:pt>
              </c:numCache>
            </c:numRef>
          </c:bubbleSize>
          <c:bubble3D val="0"/>
          <c:extLst>
            <c:ext xmlns:c15="http://schemas.microsoft.com/office/drawing/2012/chart" uri="{02D57815-91ED-43cb-92C2-25804820EDAC}">
              <c15:datalabelsRange>
                <c15:f>Sheet1!$E$2:$E$10</c15:f>
                <c15:dlblRangeCache>
                  <c:ptCount val="9"/>
                  <c:pt idx="0">
                    <c:v>Ruinart</c:v>
                  </c:pt>
                  <c:pt idx="1">
                    <c:v>Canard Duchêne</c:v>
                  </c:pt>
                  <c:pt idx="2">
                    <c:v>Nicolas</c:v>
                  </c:pt>
                  <c:pt idx="3">
                    <c:v>Malard</c:v>
                  </c:pt>
                  <c:pt idx="4">
                    <c:v>Besserat De Bellefon</c:v>
                  </c:pt>
                  <c:pt idx="5">
                    <c:v>Henriot</c:v>
                  </c:pt>
                  <c:pt idx="6">
                    <c:v>Ayala</c:v>
                  </c:pt>
                  <c:pt idx="7">
                    <c:v>Delamott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16"/>
          <c:min val="25"/>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3B74774-A6E8-4B7F-9E07-8E6BB484902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A8A67C9-DA3E-4C7C-BA02-9C57007E34D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2EFCCD53-1209-4365-B848-FEC7D030374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752F83A9-5CCA-4C9B-9DEB-FCD01B80870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9BC53540-9CBF-4F4C-A472-01BC9D0842E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ABE3F382-1E7F-437B-B852-EC7FE277222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13B021D5-F51B-4AD5-81FC-D2FCF32832E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72DCB8E5-461C-489B-BC92-2CEA506A766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12.889900000000001</c:v>
                </c:pt>
                <c:pt idx="1">
                  <c:v>13.2179</c:v>
                </c:pt>
              </c:numCache>
            </c:numRef>
          </c:xVal>
          <c:yVal>
            <c:numRef>
              <c:f>Sheet1!$B$2:$B$3</c:f>
              <c:numCache>
                <c:formatCode>General</c:formatCode>
                <c:ptCount val="2"/>
                <c:pt idx="0">
                  <c:v>1.01</c:v>
                </c:pt>
                <c:pt idx="1">
                  <c:v>0.97199999999999998</c:v>
                </c:pt>
              </c:numCache>
            </c:numRef>
          </c:yVal>
          <c:bubbleSize>
            <c:numRef>
              <c:f>Sheet1!$C$2:$C$3</c:f>
              <c:numCache>
                <c:formatCode>General</c:formatCode>
                <c:ptCount val="2"/>
                <c:pt idx="0">
                  <c:v>2926</c:v>
                </c:pt>
                <c:pt idx="1">
                  <c:v>1031</c:v>
                </c:pt>
              </c:numCache>
            </c:numRef>
          </c:bubbleSize>
          <c:bubble3D val="0"/>
          <c:extLst>
            <c:ext xmlns:c15="http://schemas.microsoft.com/office/drawing/2012/chart" uri="{02D57815-91ED-43cb-92C2-25804820EDAC}">
              <c15:datalabelsRange>
                <c15:f>Sheet1!$E$2:$E$10</c15:f>
                <c15:dlblRangeCache>
                  <c:ptCount val="9"/>
                  <c:pt idx="0">
                    <c:v>Kriter</c:v>
                  </c:pt>
                  <c:pt idx="1">
                    <c:v>Patriarch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6"/>
          <c:min val="1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1"/>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CCA8C55-B50E-4CEB-AABC-EA9CDEB1271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04B6EFB-D657-4A31-B81A-ADF11BE69F4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5B4A09D4-165D-42FF-84CA-FDA349E7D47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353C5E1E-9A64-43CB-8AC9-05E0C2C3520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215E75D5-C429-4A4C-9715-6D0EF4F40E8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63C8FEE9-70DD-49C7-89BF-DE903E75942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C289ADBA-8F1B-4C84-B0B1-B12D7989743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96F80F50-14DC-4DA4-81CA-ADDF1B0488F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12.838200000000001</c:v>
                </c:pt>
                <c:pt idx="1">
                  <c:v>12.5786</c:v>
                </c:pt>
              </c:numCache>
            </c:numRef>
          </c:xVal>
          <c:yVal>
            <c:numRef>
              <c:f>Sheet1!$B$2:$B$3</c:f>
              <c:numCache>
                <c:formatCode>General</c:formatCode>
                <c:ptCount val="2"/>
                <c:pt idx="0">
                  <c:v>1.0049999999999999</c:v>
                </c:pt>
                <c:pt idx="1">
                  <c:v>0.98799999999999999</c:v>
                </c:pt>
              </c:numCache>
            </c:numRef>
          </c:yVal>
          <c:bubbleSize>
            <c:numRef>
              <c:f>Sheet1!$C$2:$C$3</c:f>
              <c:numCache>
                <c:formatCode>General</c:formatCode>
                <c:ptCount val="2"/>
                <c:pt idx="0">
                  <c:v>90445</c:v>
                </c:pt>
                <c:pt idx="1">
                  <c:v>33132</c:v>
                </c:pt>
              </c:numCache>
            </c:numRef>
          </c:bubbleSize>
          <c:bubble3D val="0"/>
          <c:extLst>
            <c:ext xmlns:c15="http://schemas.microsoft.com/office/drawing/2012/chart" uri="{02D57815-91ED-43cb-92C2-25804820EDAC}">
              <c15:datalabelsRange>
                <c15:f>Sheet1!$E$2:$E$10</c15:f>
                <c15:dlblRangeCache>
                  <c:ptCount val="9"/>
                  <c:pt idx="0">
                    <c:v>Kriter</c:v>
                  </c:pt>
                  <c:pt idx="1">
                    <c:v>Patriarch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5"/>
          <c:min val="1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049999999999998"/>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CE74F44-B100-4962-941C-147DBF72615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0E3A3DD-F6BB-4AE0-9ACF-1997D73758D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1FE40E62-4906-4FA0-8557-F6C0D903A75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4E4867A5-708A-4C0B-8DCB-9A3A7E60270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0233D2EA-53A2-4C9D-BBAD-2EBC1D33D43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F87B9BBE-EF28-4807-9F42-2780A4615C6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570FB3FD-F224-48F1-BD56-B15CA929209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09DBAF38-E1DB-472C-BF1F-59F20343B5E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12.8132</c:v>
                </c:pt>
                <c:pt idx="1">
                  <c:v>12.680300000000001</c:v>
                </c:pt>
              </c:numCache>
            </c:numRef>
          </c:xVal>
          <c:yVal>
            <c:numRef>
              <c:f>Sheet1!$B$2:$B$3</c:f>
              <c:numCache>
                <c:formatCode>General</c:formatCode>
                <c:ptCount val="2"/>
                <c:pt idx="0">
                  <c:v>1.002</c:v>
                </c:pt>
                <c:pt idx="1">
                  <c:v>0.99299999999999999</c:v>
                </c:pt>
              </c:numCache>
            </c:numRef>
          </c:yVal>
          <c:bubbleSize>
            <c:numRef>
              <c:f>Sheet1!$C$2:$C$3</c:f>
              <c:numCache>
                <c:formatCode>General</c:formatCode>
                <c:ptCount val="2"/>
                <c:pt idx="0">
                  <c:v>57352</c:v>
                </c:pt>
                <c:pt idx="1">
                  <c:v>17372</c:v>
                </c:pt>
              </c:numCache>
            </c:numRef>
          </c:bubbleSize>
          <c:bubble3D val="0"/>
          <c:extLst>
            <c:ext xmlns:c15="http://schemas.microsoft.com/office/drawing/2012/chart" uri="{02D57815-91ED-43cb-92C2-25804820EDAC}">
              <c15:datalabelsRange>
                <c15:f>Sheet1!$E$2:$E$10</c15:f>
                <c15:dlblRangeCache>
                  <c:ptCount val="9"/>
                  <c:pt idx="0">
                    <c:v>Kriter</c:v>
                  </c:pt>
                  <c:pt idx="1">
                    <c:v>Patriarch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5"/>
          <c:min val="1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02"/>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54A8016-766A-4576-BAEF-FC691CDFCBB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649C336-5328-41BB-ACB5-E4F0EE2E8A7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700509D8-C37D-4854-A67C-982732114C9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EBBE24D0-B24C-4ED4-9417-88A4DEF818F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D9112351-D3AC-4075-B8A5-F49D07728D3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738FE1E4-AB5A-4310-A3E4-BEDA2EB87FA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814CD149-8961-42CC-B729-BDC9DF2A960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18A3E009-62F3-4F45-B1D3-5BF7323024A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12.7636</c:v>
                </c:pt>
                <c:pt idx="1">
                  <c:v>12.488200000000001</c:v>
                </c:pt>
              </c:numCache>
            </c:numRef>
          </c:xVal>
          <c:yVal>
            <c:numRef>
              <c:f>Sheet1!$B$2:$B$3</c:f>
              <c:numCache>
                <c:formatCode>General</c:formatCode>
                <c:ptCount val="2"/>
                <c:pt idx="0">
                  <c:v>1.0049999999999999</c:v>
                </c:pt>
                <c:pt idx="1">
                  <c:v>0.98499999999999999</c:v>
                </c:pt>
              </c:numCache>
            </c:numRef>
          </c:yVal>
          <c:bubbleSize>
            <c:numRef>
              <c:f>Sheet1!$C$2:$C$3</c:f>
              <c:numCache>
                <c:formatCode>General</c:formatCode>
                <c:ptCount val="2"/>
                <c:pt idx="0">
                  <c:v>84776</c:v>
                </c:pt>
                <c:pt idx="1">
                  <c:v>26937</c:v>
                </c:pt>
              </c:numCache>
            </c:numRef>
          </c:bubbleSize>
          <c:bubble3D val="0"/>
          <c:extLst>
            <c:ext xmlns:c15="http://schemas.microsoft.com/office/drawing/2012/chart" uri="{02D57815-91ED-43cb-92C2-25804820EDAC}">
              <c15:datalabelsRange>
                <c15:f>Sheet1!$E$2:$E$10</c15:f>
                <c15:dlblRangeCache>
                  <c:ptCount val="9"/>
                  <c:pt idx="0">
                    <c:v>Kriter</c:v>
                  </c:pt>
                  <c:pt idx="1">
                    <c:v>Patriarch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5"/>
          <c:min val="1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049999999999998"/>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7ED409D-30E2-498E-B071-777746A3C3C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11757FA-73E0-4C39-A524-2C433A0EC77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F52F4F21-2F5A-4E90-A91D-78A05E8E662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EE71DE90-152E-403B-A954-E02A3A7AA45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4795DDFD-9E2E-4741-935D-9117D57DC1B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C4B945D1-BA71-4590-8D9F-E649916649F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6E17BEC2-1F0C-41BE-A6DF-1F29A510DA4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86387C74-D9CF-450C-A5FB-3173ABDD909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12.8292</c:v>
                </c:pt>
                <c:pt idx="1">
                  <c:v>12.502700000000001</c:v>
                </c:pt>
              </c:numCache>
            </c:numRef>
          </c:xVal>
          <c:yVal>
            <c:numRef>
              <c:f>Sheet1!$B$2:$B$3</c:f>
              <c:numCache>
                <c:formatCode>General</c:formatCode>
                <c:ptCount val="2"/>
                <c:pt idx="0">
                  <c:v>0.98199999999999998</c:v>
                </c:pt>
                <c:pt idx="1">
                  <c:v>0.95599999999999996</c:v>
                </c:pt>
              </c:numCache>
            </c:numRef>
          </c:yVal>
          <c:bubbleSize>
            <c:numRef>
              <c:f>Sheet1!$C$2:$C$3</c:f>
              <c:numCache>
                <c:formatCode>General</c:formatCode>
                <c:ptCount val="2"/>
                <c:pt idx="0">
                  <c:v>75885</c:v>
                </c:pt>
                <c:pt idx="1">
                  <c:v>23255</c:v>
                </c:pt>
              </c:numCache>
            </c:numRef>
          </c:bubbleSize>
          <c:bubble3D val="0"/>
          <c:extLst>
            <c:ext xmlns:c15="http://schemas.microsoft.com/office/drawing/2012/chart" uri="{02D57815-91ED-43cb-92C2-25804820EDAC}">
              <c15:datalabelsRange>
                <c15:f>Sheet1!$E$2:$E$10</c15:f>
                <c15:dlblRangeCache>
                  <c:ptCount val="9"/>
                  <c:pt idx="0">
                    <c:v>Kriter</c:v>
                  </c:pt>
                  <c:pt idx="1">
                    <c:v>Patriarch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5"/>
          <c:min val="1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181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4EA551D-8945-489B-9550-4006EFA265A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CD01B40-0700-49FA-A347-3A18BDCBEFE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7FD7FCE0-B72D-42A1-80D3-7F7D47652BC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5256BF31-5739-42AE-9E4C-596DE7D8189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40453B3E-0E2E-4635-A09F-88572ED1F3B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6D57714E-A0D0-4563-98A8-E7FDBDCF304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2F5FC6A1-3CB7-42D1-9688-5C67808A039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5FDE85E4-15A4-4C56-8BCA-CAA0FC6509A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12.803900000000001</c:v>
                </c:pt>
                <c:pt idx="1">
                  <c:v>12.6892</c:v>
                </c:pt>
              </c:numCache>
            </c:numRef>
          </c:xVal>
          <c:yVal>
            <c:numRef>
              <c:f>Sheet1!$B$2:$B$3</c:f>
              <c:numCache>
                <c:formatCode>General</c:formatCode>
                <c:ptCount val="2"/>
                <c:pt idx="0">
                  <c:v>0.998</c:v>
                </c:pt>
                <c:pt idx="1">
                  <c:v>0.99199999999999999</c:v>
                </c:pt>
              </c:numCache>
            </c:numRef>
          </c:yVal>
          <c:bubbleSize>
            <c:numRef>
              <c:f>Sheet1!$C$2:$C$3</c:f>
              <c:numCache>
                <c:formatCode>General</c:formatCode>
                <c:ptCount val="2"/>
                <c:pt idx="0">
                  <c:v>76798</c:v>
                </c:pt>
                <c:pt idx="1">
                  <c:v>21394</c:v>
                </c:pt>
              </c:numCache>
            </c:numRef>
          </c:bubbleSize>
          <c:bubble3D val="0"/>
          <c:extLst>
            <c:ext xmlns:c15="http://schemas.microsoft.com/office/drawing/2012/chart" uri="{02D57815-91ED-43cb-92C2-25804820EDAC}">
              <c15:datalabelsRange>
                <c15:f>Sheet1!$E$2:$E$10</c15:f>
                <c15:dlblRangeCache>
                  <c:ptCount val="9"/>
                  <c:pt idx="0">
                    <c:v>Kriter</c:v>
                  </c:pt>
                  <c:pt idx="1">
                    <c:v>Patriarch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5"/>
          <c:min val="1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198"/>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64E218D-FBA4-4550-AFE4-5BDF8CEC338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B236260-8240-4CF6-B4DD-637010DBAAF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81FB419-0BBE-4886-997C-E9D7EC8D9E0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2A367F4-D08C-40AA-9526-6922FFF9AC0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B954EB5-CC00-4F31-AAB4-DBEA19C5920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D5B4B84-04A2-4CED-8112-DCC58224EEF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4CB6D42A-744E-4BD1-A306-D99AFB40BE2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2436CCA1-C3CA-4B8A-9598-E4F6D8EF9AA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6.9976000000000003</c:v>
                </c:pt>
                <c:pt idx="1">
                  <c:v>5.4188999999999998</c:v>
                </c:pt>
                <c:pt idx="2">
                  <c:v>6.3528000000000002</c:v>
                </c:pt>
                <c:pt idx="3">
                  <c:v>6.7249999999999996</c:v>
                </c:pt>
                <c:pt idx="4">
                  <c:v>7.1329000000000002</c:v>
                </c:pt>
                <c:pt idx="5">
                  <c:v>6.0354999999999999</c:v>
                </c:pt>
                <c:pt idx="6">
                  <c:v>7.5696000000000003</c:v>
                </c:pt>
                <c:pt idx="7">
                  <c:v>5.5134999999999996</c:v>
                </c:pt>
              </c:numCache>
            </c:numRef>
          </c:xVal>
          <c:yVal>
            <c:numRef>
              <c:f>Sheet1!$B$2:$B$9</c:f>
              <c:numCache>
                <c:formatCode>General</c:formatCode>
                <c:ptCount val="8"/>
                <c:pt idx="0">
                  <c:v>1.149</c:v>
                </c:pt>
                <c:pt idx="1">
                  <c:v>0.82099999999999995</c:v>
                </c:pt>
                <c:pt idx="2">
                  <c:v>0.97099999999999997</c:v>
                </c:pt>
                <c:pt idx="3">
                  <c:v>1.097</c:v>
                </c:pt>
                <c:pt idx="4">
                  <c:v>1.0580000000000001</c:v>
                </c:pt>
                <c:pt idx="5">
                  <c:v>0.95699999999999996</c:v>
                </c:pt>
                <c:pt idx="6">
                  <c:v>1.0629999999999999</c:v>
                </c:pt>
                <c:pt idx="7">
                  <c:v>0.89300000000000002</c:v>
                </c:pt>
              </c:numCache>
            </c:numRef>
          </c:yVal>
          <c:bubbleSize>
            <c:numRef>
              <c:f>Sheet1!$C$2:$C$9</c:f>
              <c:numCache>
                <c:formatCode>General</c:formatCode>
                <c:ptCount val="8"/>
                <c:pt idx="0">
                  <c:v>26217786</c:v>
                </c:pt>
                <c:pt idx="1">
                  <c:v>25627765</c:v>
                </c:pt>
                <c:pt idx="2">
                  <c:v>21170443</c:v>
                </c:pt>
                <c:pt idx="3">
                  <c:v>15294585</c:v>
                </c:pt>
                <c:pt idx="4">
                  <c:v>12946978</c:v>
                </c:pt>
                <c:pt idx="5">
                  <c:v>5219639</c:v>
                </c:pt>
                <c:pt idx="6">
                  <c:v>3730611</c:v>
                </c:pt>
                <c:pt idx="7">
                  <c:v>3036504</c:v>
                </c:pt>
              </c:numCache>
            </c:numRef>
          </c:bubbleSize>
          <c:bubble3D val="0"/>
          <c:extLst>
            <c:ext xmlns:c15="http://schemas.microsoft.com/office/drawing/2012/chart" uri="{02D57815-91ED-43cb-92C2-25804820EDAC}">
              <c15:datalabelsRange>
                <c15:f>Sheet1!$E$2:$E$10</c15:f>
                <c15:dlblRangeCache>
                  <c:ptCount val="9"/>
                  <c:pt idx="0">
                    <c:v>Campari</c:v>
                  </c:pt>
                  <c:pt idx="1">
                    <c:v>Mdd</c:v>
                  </c:pt>
                  <c:pt idx="2">
                    <c:v>Castel</c:v>
                  </c:pt>
                  <c:pt idx="3">
                    <c:v>Perlino</c:v>
                  </c:pt>
                  <c:pt idx="4">
                    <c:v>Mionetto</c:v>
                  </c:pt>
                  <c:pt idx="5">
                    <c:v>Signore Giuseppe</c:v>
                  </c:pt>
                  <c:pt idx="6">
                    <c:v>Maschio</c:v>
                  </c:pt>
                  <c:pt idx="7">
                    <c:v>Nobrand</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9"/>
          <c:min val="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34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5AEBD24-1CEE-471C-ACE4-886DB3FD109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0F0C1C7-6916-4EF2-8422-B5AD312CCE8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B7D805A-40F5-4984-B8CE-2DECA332744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12C58E9-D396-4B02-BEF5-BD436933CFF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698F7E63-D9EC-4245-853E-D577ABA70CA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AEA61EE6-D7A2-4312-AA01-EDEA5984869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60343500-837C-4FF9-A3E9-B2232CEE8AB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908A58EA-3C1D-49CE-A28B-260BACCC598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7.3982000000000001</c:v>
                </c:pt>
                <c:pt idx="1">
                  <c:v>11.451499999999999</c:v>
                </c:pt>
                <c:pt idx="2">
                  <c:v>9.1104000000000003</c:v>
                </c:pt>
                <c:pt idx="3">
                  <c:v>11.444699999999999</c:v>
                </c:pt>
              </c:numCache>
            </c:numRef>
          </c:xVal>
          <c:yVal>
            <c:numRef>
              <c:f>Sheet1!$B$2:$B$5</c:f>
              <c:numCache>
                <c:formatCode>General</c:formatCode>
                <c:ptCount val="4"/>
                <c:pt idx="0">
                  <c:v>0.82599999999999996</c:v>
                </c:pt>
                <c:pt idx="1">
                  <c:v>1.278</c:v>
                </c:pt>
                <c:pt idx="2">
                  <c:v>1.0169999999999999</c:v>
                </c:pt>
                <c:pt idx="3">
                  <c:v>1.077</c:v>
                </c:pt>
              </c:numCache>
            </c:numRef>
          </c:yVal>
          <c:bubbleSize>
            <c:numRef>
              <c:f>Sheet1!$C$2:$C$5</c:f>
              <c:numCache>
                <c:formatCode>General</c:formatCode>
                <c:ptCount val="4"/>
                <c:pt idx="0">
                  <c:v>670018</c:v>
                </c:pt>
                <c:pt idx="1">
                  <c:v>607538</c:v>
                </c:pt>
                <c:pt idx="2">
                  <c:v>323774</c:v>
                </c:pt>
                <c:pt idx="3">
                  <c:v>90905</c:v>
                </c:pt>
              </c:numCache>
            </c:numRef>
          </c:bubbleSize>
          <c:bubble3D val="0"/>
          <c:extLst>
            <c:ext xmlns:c15="http://schemas.microsoft.com/office/drawing/2012/chart" uri="{02D57815-91ED-43cb-92C2-25804820EDAC}">
              <c15:datalabelsRange>
                <c15:f>Sheet1!$E$2:$E$10</c15:f>
                <c15:dlblRangeCache>
                  <c:ptCount val="9"/>
                  <c:pt idx="0">
                    <c:v>Cantine Vitevis</c:v>
                  </c:pt>
                  <c:pt idx="1">
                    <c:v>Bottega</c:v>
                  </c:pt>
                  <c:pt idx="2">
                    <c:v>Chardonnier</c:v>
                  </c:pt>
                  <c:pt idx="3">
                    <c:v>Contarini</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4"/>
          <c:min val="6"/>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478"/>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2AD6FCF-353A-4FC4-A706-B7DBDDB59C3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A56C6B6-E521-4D3A-A946-2D2AA6BF0B0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5729833-06C1-49CB-9D12-6DC2195D3E2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D9ACCB7-E18C-4D49-B0B6-4564BF43718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251EFBB-71ED-49F7-B115-E4701A8ED30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0D8F042-9B47-4392-9211-D5B6AE181EC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4379330A-B30C-498E-82B9-FBBED815F19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200FEE02-3232-4B5B-9470-20B3ABB24E1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6.9976000000000003</c:v>
                </c:pt>
                <c:pt idx="1">
                  <c:v>5.4188999999999998</c:v>
                </c:pt>
                <c:pt idx="2">
                  <c:v>6.3528000000000002</c:v>
                </c:pt>
                <c:pt idx="3">
                  <c:v>6.7249999999999996</c:v>
                </c:pt>
                <c:pt idx="4">
                  <c:v>7.1329000000000002</c:v>
                </c:pt>
                <c:pt idx="5">
                  <c:v>6.0354999999999999</c:v>
                </c:pt>
                <c:pt idx="6">
                  <c:v>7.5696000000000003</c:v>
                </c:pt>
                <c:pt idx="7">
                  <c:v>5.5134999999999996</c:v>
                </c:pt>
              </c:numCache>
            </c:numRef>
          </c:xVal>
          <c:yVal>
            <c:numRef>
              <c:f>Sheet1!$B$2:$B$9</c:f>
              <c:numCache>
                <c:formatCode>General</c:formatCode>
                <c:ptCount val="8"/>
                <c:pt idx="0">
                  <c:v>1.1539999999999999</c:v>
                </c:pt>
                <c:pt idx="1">
                  <c:v>0.82399999999999995</c:v>
                </c:pt>
                <c:pt idx="2">
                  <c:v>0.97499999999999998</c:v>
                </c:pt>
                <c:pt idx="3">
                  <c:v>1.1020000000000001</c:v>
                </c:pt>
                <c:pt idx="4">
                  <c:v>1.0620000000000001</c:v>
                </c:pt>
                <c:pt idx="5">
                  <c:v>0.96099999999999997</c:v>
                </c:pt>
                <c:pt idx="6">
                  <c:v>1.0680000000000001</c:v>
                </c:pt>
                <c:pt idx="7">
                  <c:v>0.89600000000000002</c:v>
                </c:pt>
              </c:numCache>
            </c:numRef>
          </c:yVal>
          <c:bubbleSize>
            <c:numRef>
              <c:f>Sheet1!$C$2:$C$9</c:f>
              <c:numCache>
                <c:formatCode>General</c:formatCode>
                <c:ptCount val="8"/>
                <c:pt idx="0">
                  <c:v>26217786</c:v>
                </c:pt>
                <c:pt idx="1">
                  <c:v>25627765</c:v>
                </c:pt>
                <c:pt idx="2">
                  <c:v>21162718</c:v>
                </c:pt>
                <c:pt idx="3">
                  <c:v>15294585</c:v>
                </c:pt>
                <c:pt idx="4">
                  <c:v>12946978</c:v>
                </c:pt>
                <c:pt idx="5">
                  <c:v>5219639</c:v>
                </c:pt>
                <c:pt idx="6">
                  <c:v>3730611</c:v>
                </c:pt>
                <c:pt idx="7">
                  <c:v>3036504</c:v>
                </c:pt>
              </c:numCache>
            </c:numRef>
          </c:bubbleSize>
          <c:bubble3D val="0"/>
          <c:extLst>
            <c:ext xmlns:c15="http://schemas.microsoft.com/office/drawing/2012/chart" uri="{02D57815-91ED-43cb-92C2-25804820EDAC}">
              <c15:datalabelsRange>
                <c15:f>Sheet1!$E$2:$E$10</c15:f>
                <c15:dlblRangeCache>
                  <c:ptCount val="9"/>
                  <c:pt idx="0">
                    <c:v>Campari</c:v>
                  </c:pt>
                  <c:pt idx="1">
                    <c:v>Mdd</c:v>
                  </c:pt>
                  <c:pt idx="2">
                    <c:v>Castel</c:v>
                  </c:pt>
                  <c:pt idx="3">
                    <c:v>Perlino</c:v>
                  </c:pt>
                  <c:pt idx="4">
                    <c:v>Mionetto</c:v>
                  </c:pt>
                  <c:pt idx="5">
                    <c:v>Signore Giuseppe</c:v>
                  </c:pt>
                  <c:pt idx="6">
                    <c:v>Maschio</c:v>
                  </c:pt>
                  <c:pt idx="7">
                    <c:v>Nobrand</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9"/>
          <c:min val="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353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824EF10-9D97-4218-BF6C-FDE96F8221C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72D2BCA-1696-4C46-AEDA-47906D8F9A5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28CF2B0-F39A-4DBF-89C7-7787DE1A09A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37ED3AF-F1DC-4DC2-98D0-F88C296E0E2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15AD66B3-022C-4BBA-86CD-59869CD43F2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64287355-F13D-45B9-9091-B0A3EA2ED7A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BB2C33B4-AE0F-4D58-889F-0C9B5AD5F8F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0E36C07B-7F95-4CCC-A16E-EA5448A0FC7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7.4409999999999998</c:v>
                </c:pt>
                <c:pt idx="1">
                  <c:v>11.4527</c:v>
                </c:pt>
                <c:pt idx="2">
                  <c:v>9.0898000000000003</c:v>
                </c:pt>
                <c:pt idx="3">
                  <c:v>11.3033</c:v>
                </c:pt>
              </c:numCache>
            </c:numRef>
          </c:xVal>
          <c:yVal>
            <c:numRef>
              <c:f>Sheet1!$B$2:$B$5</c:f>
              <c:numCache>
                <c:formatCode>General</c:formatCode>
                <c:ptCount val="4"/>
                <c:pt idx="0">
                  <c:v>0.82899999999999996</c:v>
                </c:pt>
                <c:pt idx="1">
                  <c:v>1.2749999999999999</c:v>
                </c:pt>
                <c:pt idx="2">
                  <c:v>1.012</c:v>
                </c:pt>
                <c:pt idx="3">
                  <c:v>1.0740000000000001</c:v>
                </c:pt>
              </c:numCache>
            </c:numRef>
          </c:yVal>
          <c:bubbleSize>
            <c:numRef>
              <c:f>Sheet1!$C$2:$C$5</c:f>
              <c:numCache>
                <c:formatCode>General</c:formatCode>
                <c:ptCount val="4"/>
                <c:pt idx="0">
                  <c:v>328526</c:v>
                </c:pt>
                <c:pt idx="1">
                  <c:v>290933</c:v>
                </c:pt>
                <c:pt idx="2">
                  <c:v>172107</c:v>
                </c:pt>
                <c:pt idx="3">
                  <c:v>43710</c:v>
                </c:pt>
              </c:numCache>
            </c:numRef>
          </c:bubbleSize>
          <c:bubble3D val="0"/>
          <c:extLst>
            <c:ext xmlns:c15="http://schemas.microsoft.com/office/drawing/2012/chart" uri="{02D57815-91ED-43cb-92C2-25804820EDAC}">
              <c15:datalabelsRange>
                <c15:f>Sheet1!$E$2:$E$10</c15:f>
                <c15:dlblRangeCache>
                  <c:ptCount val="9"/>
                  <c:pt idx="0">
                    <c:v>Cantine Vitevis</c:v>
                  </c:pt>
                  <c:pt idx="1">
                    <c:v>Bottega</c:v>
                  </c:pt>
                  <c:pt idx="2">
                    <c:v>Chardonnier</c:v>
                  </c:pt>
                  <c:pt idx="3">
                    <c:v>Contarini</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4"/>
          <c:min val="6"/>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474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C835A213-CD25-4EEC-A28B-5032FA1CA9A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A2F78AF9-6C5A-4CD1-B24A-B97E687B2A0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BE3A2690-4B11-42A3-9724-15D12AF8A59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6F38599B-77C2-45DE-8A6A-4CA40228237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C5DAF75E-364C-4117-A8D2-2C5CA484282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7C76D587-DD0E-4A45-838F-FFF21ED3F6E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7AAD9FE8-ACD3-47AF-869E-35AD2304A38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84149131-3581-4D6D-A7B1-AEF3AC15CB9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4.785499999999999</c:v>
                </c:pt>
                <c:pt idx="1">
                  <c:v>30.786100000000001</c:v>
                </c:pt>
                <c:pt idx="2">
                  <c:v>18.6905</c:v>
                </c:pt>
                <c:pt idx="3">
                  <c:v>25.835599999999999</c:v>
                </c:pt>
                <c:pt idx="4">
                  <c:v>24.3565</c:v>
                </c:pt>
                <c:pt idx="5">
                  <c:v>40.955100000000002</c:v>
                </c:pt>
                <c:pt idx="6">
                  <c:v>58.941899999999997</c:v>
                </c:pt>
                <c:pt idx="7">
                  <c:v>22.180499999999999</c:v>
                </c:pt>
              </c:numCache>
            </c:numRef>
          </c:xVal>
          <c:yVal>
            <c:numRef>
              <c:f>Sheet1!$B$2:$B$9</c:f>
              <c:numCache>
                <c:formatCode>General</c:formatCode>
                <c:ptCount val="8"/>
                <c:pt idx="0">
                  <c:v>1.042</c:v>
                </c:pt>
                <c:pt idx="1">
                  <c:v>1.4850000000000001</c:v>
                </c:pt>
                <c:pt idx="2">
                  <c:v>0.30399999999999999</c:v>
                </c:pt>
                <c:pt idx="3">
                  <c:v>1.222</c:v>
                </c:pt>
                <c:pt idx="4">
                  <c:v>1.109</c:v>
                </c:pt>
                <c:pt idx="5">
                  <c:v>1.952</c:v>
                </c:pt>
                <c:pt idx="6">
                  <c:v>2.8620000000000001</c:v>
                </c:pt>
                <c:pt idx="7">
                  <c:v>1.1200000000000001</c:v>
                </c:pt>
              </c:numCache>
            </c:numRef>
          </c:yVal>
          <c:bubbleSize>
            <c:numRef>
              <c:f>Sheet1!$C$2:$C$9</c:f>
              <c:numCache>
                <c:formatCode>General</c:formatCode>
                <c:ptCount val="8"/>
                <c:pt idx="0">
                  <c:v>63941275</c:v>
                </c:pt>
                <c:pt idx="1">
                  <c:v>37787787</c:v>
                </c:pt>
                <c:pt idx="2">
                  <c:v>26748672</c:v>
                </c:pt>
                <c:pt idx="3">
                  <c:v>24364022</c:v>
                </c:pt>
                <c:pt idx="4">
                  <c:v>23515927</c:v>
                </c:pt>
                <c:pt idx="5">
                  <c:v>20957933</c:v>
                </c:pt>
                <c:pt idx="6">
                  <c:v>15468822</c:v>
                </c:pt>
                <c:pt idx="7">
                  <c:v>4641984</c:v>
                </c:pt>
              </c:numCache>
            </c:numRef>
          </c:bubbleSize>
          <c:bubble3D val="0"/>
          <c:extLst>
            <c:ext xmlns:c15="http://schemas.microsoft.com/office/drawing/2012/chart" uri="{02D57815-91ED-43cb-92C2-25804820EDAC}">
              <c15:datalabelsRange>
                <c15:f>Sheet1!$E$2:$E$10</c15:f>
                <c15:dlblRangeCache>
                  <c:ptCount val="9"/>
                  <c:pt idx="0">
                    <c:v>Nicolas Feuillatte</c:v>
                  </c:pt>
                  <c:pt idx="1">
                    <c:v>Mumm</c:v>
                  </c:pt>
                  <c:pt idx="2">
                    <c:v>Charles Lafitte</c:v>
                  </c:pt>
                  <c:pt idx="3">
                    <c:v>Canard Duchêne</c:v>
                  </c:pt>
                  <c:pt idx="4">
                    <c:v>Alfred De Rothschild</c:v>
                  </c:pt>
                  <c:pt idx="5">
                    <c:v>Moët &amp; Chandon</c:v>
                  </c:pt>
                  <c:pt idx="6">
                    <c:v>Ruinart</c:v>
                  </c:pt>
                  <c:pt idx="7">
                    <c:v>Nicolas</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1"/>
          <c:min val="15"/>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DDC0C49-439F-4804-8697-99D6EED6BAE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DC3606C-C931-42B2-ABAD-63A215F92D4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F35250E-32A3-4563-BF0A-CEF1C7AF46A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528DC8E-40DB-4AEA-AEC1-1D34CA37E2A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5209060F-596E-48A2-B148-8D351C0D265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5A7F5559-B0CC-453C-A17F-800FA6E0E24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2D95B02F-A76D-4CC5-82C7-250A53AA6A2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A1D2CF95-D279-43D0-90BC-CD6BCC8B0CF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7.3243999999999998</c:v>
                </c:pt>
                <c:pt idx="1">
                  <c:v>11.3698</c:v>
                </c:pt>
                <c:pt idx="2">
                  <c:v>9.0983000000000001</c:v>
                </c:pt>
                <c:pt idx="3">
                  <c:v>11.728</c:v>
                </c:pt>
              </c:numCache>
            </c:numRef>
          </c:xVal>
          <c:yVal>
            <c:numRef>
              <c:f>Sheet1!$B$2:$B$5</c:f>
              <c:numCache>
                <c:formatCode>General</c:formatCode>
                <c:ptCount val="4"/>
                <c:pt idx="0">
                  <c:v>0.82199999999999995</c:v>
                </c:pt>
                <c:pt idx="1">
                  <c:v>1.2749999999999999</c:v>
                </c:pt>
                <c:pt idx="2">
                  <c:v>1.022</c:v>
                </c:pt>
                <c:pt idx="3">
                  <c:v>1.083</c:v>
                </c:pt>
              </c:numCache>
            </c:numRef>
          </c:yVal>
          <c:bubbleSize>
            <c:numRef>
              <c:f>Sheet1!$C$2:$C$5</c:f>
              <c:numCache>
                <c:formatCode>General</c:formatCode>
                <c:ptCount val="4"/>
                <c:pt idx="0">
                  <c:v>120296</c:v>
                </c:pt>
                <c:pt idx="1">
                  <c:v>108729</c:v>
                </c:pt>
                <c:pt idx="2">
                  <c:v>55136</c:v>
                </c:pt>
                <c:pt idx="3">
                  <c:v>17287</c:v>
                </c:pt>
              </c:numCache>
            </c:numRef>
          </c:bubbleSize>
          <c:bubble3D val="0"/>
          <c:extLst>
            <c:ext xmlns:c15="http://schemas.microsoft.com/office/drawing/2012/chart" uri="{02D57815-91ED-43cb-92C2-25804820EDAC}">
              <c15:datalabelsRange>
                <c15:f>Sheet1!$E$2:$E$10</c15:f>
                <c15:dlblRangeCache>
                  <c:ptCount val="9"/>
                  <c:pt idx="0">
                    <c:v>Cantine Vitevis</c:v>
                  </c:pt>
                  <c:pt idx="1">
                    <c:v>Bottega</c:v>
                  </c:pt>
                  <c:pt idx="2">
                    <c:v>Chardonnier</c:v>
                  </c:pt>
                  <c:pt idx="3">
                    <c:v>Contarini</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4"/>
          <c:min val="6"/>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474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5C45B53-3F74-406D-A875-146DAB0D965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84AC651-6CDE-4484-A69D-8E0C98448ED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C7D68EC-67AB-4901-9CF1-8C543BBCE3E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9606877-E3C6-4529-97AC-07B800EF0FC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410BEBE5-9136-49AB-99DD-9E9816D4948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7F86E1BE-7E3E-4C45-AF98-9715854D6EC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1B336E88-750E-4374-A69B-4389F20A10B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BE6FD0AE-4F98-4E1D-B02C-981ED54D7CB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11.425599999999999</c:v>
                </c:pt>
                <c:pt idx="1">
                  <c:v>7.4080000000000004</c:v>
                </c:pt>
                <c:pt idx="2">
                  <c:v>9.1058000000000003</c:v>
                </c:pt>
                <c:pt idx="3">
                  <c:v>11.3514</c:v>
                </c:pt>
              </c:numCache>
            </c:numRef>
          </c:xVal>
          <c:yVal>
            <c:numRef>
              <c:f>Sheet1!$B$2:$B$5</c:f>
              <c:numCache>
                <c:formatCode>General</c:formatCode>
                <c:ptCount val="4"/>
                <c:pt idx="0">
                  <c:v>1.256</c:v>
                </c:pt>
                <c:pt idx="1">
                  <c:v>0.81399999999999995</c:v>
                </c:pt>
                <c:pt idx="2">
                  <c:v>1.002</c:v>
                </c:pt>
                <c:pt idx="3">
                  <c:v>1.0620000000000001</c:v>
                </c:pt>
              </c:numCache>
            </c:numRef>
          </c:yVal>
          <c:bubbleSize>
            <c:numRef>
              <c:f>Sheet1!$C$2:$C$5</c:f>
              <c:numCache>
                <c:formatCode>General</c:formatCode>
                <c:ptCount val="4"/>
                <c:pt idx="0">
                  <c:v>75203</c:v>
                </c:pt>
                <c:pt idx="1">
                  <c:v>69902</c:v>
                </c:pt>
                <c:pt idx="2">
                  <c:v>40348</c:v>
                </c:pt>
                <c:pt idx="3">
                  <c:v>9206</c:v>
                </c:pt>
              </c:numCache>
            </c:numRef>
          </c:bubbleSize>
          <c:bubble3D val="0"/>
          <c:extLst>
            <c:ext xmlns:c15="http://schemas.microsoft.com/office/drawing/2012/chart" uri="{02D57815-91ED-43cb-92C2-25804820EDAC}">
              <c15:datalabelsRange>
                <c15:f>Sheet1!$E$2:$E$10</c15:f>
                <c15:dlblRangeCache>
                  <c:ptCount val="9"/>
                  <c:pt idx="0">
                    <c:v>Bottega</c:v>
                  </c:pt>
                  <c:pt idx="1">
                    <c:v>Cantine Vitevis</c:v>
                  </c:pt>
                  <c:pt idx="2">
                    <c:v>Chardonnier</c:v>
                  </c:pt>
                  <c:pt idx="3">
                    <c:v>Contarini</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4"/>
          <c:min val="6"/>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456"/>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715117A-ACDB-47C9-B306-6B568189B3C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C50D27A-2DDD-433C-8E09-72BC8F55AB8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2CAC889-AFC3-4772-BB92-5CA1854652A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AE43BE7-148D-49B8-A6BA-27CD9B6DE75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B8EA1064-05A3-48D0-9850-398AC42BD47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4E1BA951-A553-4811-A7B0-BE9DB2BBE9A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8CAF2DD3-A639-4CC8-8E78-332662A047F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5349642D-A656-4100-840E-7533C321AAE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7.5523999999999996</c:v>
                </c:pt>
                <c:pt idx="1">
                  <c:v>11.524699999999999</c:v>
                </c:pt>
                <c:pt idx="2">
                  <c:v>9.1434999999999995</c:v>
                </c:pt>
                <c:pt idx="3">
                  <c:v>11.5547</c:v>
                </c:pt>
              </c:numCache>
            </c:numRef>
          </c:xVal>
          <c:yVal>
            <c:numRef>
              <c:f>Sheet1!$B$2:$B$5</c:f>
              <c:numCache>
                <c:formatCode>General</c:formatCode>
                <c:ptCount val="4"/>
                <c:pt idx="0">
                  <c:v>0.82599999999999996</c:v>
                </c:pt>
                <c:pt idx="1">
                  <c:v>1.258</c:v>
                </c:pt>
                <c:pt idx="2">
                  <c:v>1.0009999999999999</c:v>
                </c:pt>
                <c:pt idx="3">
                  <c:v>1.06</c:v>
                </c:pt>
              </c:numCache>
            </c:numRef>
          </c:yVal>
          <c:bubbleSize>
            <c:numRef>
              <c:f>Sheet1!$C$2:$C$5</c:f>
              <c:numCache>
                <c:formatCode>General</c:formatCode>
                <c:ptCount val="4"/>
                <c:pt idx="0">
                  <c:v>35013</c:v>
                </c:pt>
                <c:pt idx="1">
                  <c:v>34574</c:v>
                </c:pt>
                <c:pt idx="2">
                  <c:v>19558</c:v>
                </c:pt>
                <c:pt idx="3">
                  <c:v>4437</c:v>
                </c:pt>
              </c:numCache>
            </c:numRef>
          </c:bubbleSize>
          <c:bubble3D val="0"/>
          <c:extLst>
            <c:ext xmlns:c15="http://schemas.microsoft.com/office/drawing/2012/chart" uri="{02D57815-91ED-43cb-92C2-25804820EDAC}">
              <c15:datalabelsRange>
                <c15:f>Sheet1!$E$2:$E$10</c15:f>
                <c15:dlblRangeCache>
                  <c:ptCount val="9"/>
                  <c:pt idx="0">
                    <c:v>Cantine Vitevis</c:v>
                  </c:pt>
                  <c:pt idx="1">
                    <c:v>Bottega</c:v>
                  </c:pt>
                  <c:pt idx="2">
                    <c:v>Chardonnier</c:v>
                  </c:pt>
                  <c:pt idx="3">
                    <c:v>Contarini</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4"/>
          <c:min val="6"/>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458"/>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3E72BCC-7E69-43B3-9682-684981D96C1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A54F60C-90F1-49E4-8CB1-1CFCE1CECC4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DAB9796-3342-46AA-BDF1-EAE5DFAA7E7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8727EEC-05D0-4C18-BC09-5C01FDC2B1B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683D9C3-DA35-482E-88A5-0DC9645C080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9321A58F-7225-439E-A731-0FA39EFDA79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2BBCAB87-FF00-476A-8AE6-A3ADF4E5C4B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E9E86608-C19D-44CC-95B9-2687652902F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7.1877000000000004</c:v>
                </c:pt>
                <c:pt idx="1">
                  <c:v>11.4154</c:v>
                </c:pt>
                <c:pt idx="2">
                  <c:v>9.2040000000000006</c:v>
                </c:pt>
                <c:pt idx="3">
                  <c:v>12.408200000000001</c:v>
                </c:pt>
                <c:pt idx="4">
                  <c:v>6.5754999999999999</c:v>
                </c:pt>
              </c:numCache>
            </c:numRef>
          </c:xVal>
          <c:yVal>
            <c:numRef>
              <c:f>Sheet1!$B$2:$B$6</c:f>
              <c:numCache>
                <c:formatCode>General</c:formatCode>
                <c:ptCount val="5"/>
                <c:pt idx="0">
                  <c:v>0.83199999999999996</c:v>
                </c:pt>
                <c:pt idx="1">
                  <c:v>1.325</c:v>
                </c:pt>
                <c:pt idx="2">
                  <c:v>1.06</c:v>
                </c:pt>
                <c:pt idx="3">
                  <c:v>1.109</c:v>
                </c:pt>
                <c:pt idx="4">
                  <c:v>0.73799999999999999</c:v>
                </c:pt>
              </c:numCache>
            </c:numRef>
          </c:yVal>
          <c:bubbleSize>
            <c:numRef>
              <c:f>Sheet1!$C$2:$C$6</c:f>
              <c:numCache>
                <c:formatCode>General</c:formatCode>
                <c:ptCount val="5"/>
                <c:pt idx="0">
                  <c:v>37448</c:v>
                </c:pt>
                <c:pt idx="1">
                  <c:v>29406</c:v>
                </c:pt>
                <c:pt idx="2">
                  <c:v>12361</c:v>
                </c:pt>
                <c:pt idx="3">
                  <c:v>5472</c:v>
                </c:pt>
                <c:pt idx="4">
                  <c:v>2525</c:v>
                </c:pt>
              </c:numCache>
            </c:numRef>
          </c:bubbleSize>
          <c:bubble3D val="0"/>
          <c:extLst>
            <c:ext xmlns:c15="http://schemas.microsoft.com/office/drawing/2012/chart" uri="{02D57815-91ED-43cb-92C2-25804820EDAC}">
              <c15:datalabelsRange>
                <c15:f>Sheet1!$E$2:$E$10</c15:f>
                <c15:dlblRangeCache>
                  <c:ptCount val="9"/>
                  <c:pt idx="0">
                    <c:v>Cantine Vitevis</c:v>
                  </c:pt>
                  <c:pt idx="1">
                    <c:v>Bottega</c:v>
                  </c:pt>
                  <c:pt idx="2">
                    <c:v>Chardonnier</c:v>
                  </c:pt>
                  <c:pt idx="3">
                    <c:v>Contarini</c:v>
                  </c:pt>
                  <c:pt idx="4">
                    <c:v>Caste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5"/>
          <c:min val="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24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297C7DC-B0F8-4C22-A29D-64EA4EC03F4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81179B5-FE4B-4DFF-A4EE-FFCC7C7F30C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3C27609-3A88-4E43-90B4-8689FEFD285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824D622-584A-4009-A8B0-92AD13708C6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911DC6A8-409B-4934-9CBB-991D63F10E4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06CBE3B2-165E-43D4-B0C7-11258EC34C7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11A428A5-A235-4CE0-98C1-E103750EC16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37165A86-DC95-43B3-99B2-1A699AEF8D9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7.4691999999999998</c:v>
                </c:pt>
                <c:pt idx="1">
                  <c:v>11.437099999999999</c:v>
                </c:pt>
                <c:pt idx="2">
                  <c:v>9.0905000000000005</c:v>
                </c:pt>
                <c:pt idx="3">
                  <c:v>11.5092</c:v>
                </c:pt>
              </c:numCache>
            </c:numRef>
          </c:xVal>
          <c:yVal>
            <c:numRef>
              <c:f>Sheet1!$B$2:$B$5</c:f>
              <c:numCache>
                <c:formatCode>General</c:formatCode>
                <c:ptCount val="4"/>
                <c:pt idx="0">
                  <c:v>0.82599999999999996</c:v>
                </c:pt>
                <c:pt idx="1">
                  <c:v>1.264</c:v>
                </c:pt>
                <c:pt idx="2">
                  <c:v>1.0049999999999999</c:v>
                </c:pt>
                <c:pt idx="3">
                  <c:v>1.0629999999999999</c:v>
                </c:pt>
              </c:numCache>
            </c:numRef>
          </c:yVal>
          <c:bubbleSize>
            <c:numRef>
              <c:f>Sheet1!$C$2:$C$5</c:f>
              <c:numCache>
                <c:formatCode>General</c:formatCode>
                <c:ptCount val="4"/>
                <c:pt idx="0">
                  <c:v>448308</c:v>
                </c:pt>
                <c:pt idx="1">
                  <c:v>428822</c:v>
                </c:pt>
                <c:pt idx="2">
                  <c:v>237189</c:v>
                </c:pt>
                <c:pt idx="3">
                  <c:v>61275</c:v>
                </c:pt>
              </c:numCache>
            </c:numRef>
          </c:bubbleSize>
          <c:bubble3D val="0"/>
          <c:extLst>
            <c:ext xmlns:c15="http://schemas.microsoft.com/office/drawing/2012/chart" uri="{02D57815-91ED-43cb-92C2-25804820EDAC}">
              <c15:datalabelsRange>
                <c15:f>Sheet1!$E$2:$E$10</c15:f>
                <c15:dlblRangeCache>
                  <c:ptCount val="9"/>
                  <c:pt idx="0">
                    <c:v>Cantine Vitevis</c:v>
                  </c:pt>
                  <c:pt idx="1">
                    <c:v>Bottega</c:v>
                  </c:pt>
                  <c:pt idx="2">
                    <c:v>Chardonnier</c:v>
                  </c:pt>
                  <c:pt idx="3">
                    <c:v>Contarini</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4"/>
          <c:min val="6"/>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464"/>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83BA0B6-A062-4372-B01D-68DB87008F8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FB5CFB6-9BFF-4998-8A9A-A247A82DE15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DACC034-EC05-4EC0-89A0-92164153F45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6534577-EF79-4BE3-9604-0480CEBF958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A3F98378-4CBB-4B98-B754-A04A1E56761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FA6EBAED-1E88-405C-B812-81BBFAF5E3F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B407B710-89F8-46F1-9F2D-6DA855E936C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8304E6AB-7E5E-48D5-84C4-1F74C96B35E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11.4709</c:v>
                </c:pt>
                <c:pt idx="1">
                  <c:v>7.3208000000000002</c:v>
                </c:pt>
                <c:pt idx="2">
                  <c:v>9.1577000000000002</c:v>
                </c:pt>
                <c:pt idx="3">
                  <c:v>11.4771</c:v>
                </c:pt>
              </c:numCache>
            </c:numRef>
          </c:xVal>
          <c:yVal>
            <c:numRef>
              <c:f>Sheet1!$B$2:$B$5</c:f>
              <c:numCache>
                <c:formatCode>General</c:formatCode>
                <c:ptCount val="4"/>
                <c:pt idx="0">
                  <c:v>1.272</c:v>
                </c:pt>
                <c:pt idx="1">
                  <c:v>0.81100000000000005</c:v>
                </c:pt>
                <c:pt idx="2">
                  <c:v>1.016</c:v>
                </c:pt>
                <c:pt idx="3">
                  <c:v>1.0620000000000001</c:v>
                </c:pt>
              </c:numCache>
            </c:numRef>
          </c:yVal>
          <c:bubbleSize>
            <c:numRef>
              <c:f>Sheet1!$C$2:$C$5</c:f>
              <c:numCache>
                <c:formatCode>General</c:formatCode>
                <c:ptCount val="4"/>
                <c:pt idx="0">
                  <c:v>78289</c:v>
                </c:pt>
                <c:pt idx="1">
                  <c:v>76114</c:v>
                </c:pt>
                <c:pt idx="2">
                  <c:v>32061</c:v>
                </c:pt>
                <c:pt idx="3">
                  <c:v>8252</c:v>
                </c:pt>
              </c:numCache>
            </c:numRef>
          </c:bubbleSize>
          <c:bubble3D val="0"/>
          <c:extLst>
            <c:ext xmlns:c15="http://schemas.microsoft.com/office/drawing/2012/chart" uri="{02D57815-91ED-43cb-92C2-25804820EDAC}">
              <c15:datalabelsRange>
                <c15:f>Sheet1!$E$2:$E$10</c15:f>
                <c15:dlblRangeCache>
                  <c:ptCount val="9"/>
                  <c:pt idx="0">
                    <c:v>Bottega</c:v>
                  </c:pt>
                  <c:pt idx="1">
                    <c:v>Cantine Vitevis</c:v>
                  </c:pt>
                  <c:pt idx="2">
                    <c:v>Chardonnier</c:v>
                  </c:pt>
                  <c:pt idx="3">
                    <c:v>Contarini</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4"/>
          <c:min val="6"/>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472"/>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3B21BDE-5145-4CDE-9E05-5BFC91A335A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8DD1A98-A2D7-424C-ACBE-3D80DCF782F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E60337C-31C0-4B7F-A6A8-1E71711E722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6F838D8-8D1E-4BE2-8791-208D7513745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86F9B3F-1E2B-479B-A1BE-D5E728A4FE6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46A3105B-820E-4F25-A32E-3ED2435A05B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A72AD68F-61C9-4128-9692-29BBADF2BBD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F148C0D6-43DA-48C5-846C-741D91A9232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7.1779000000000002</c:v>
                </c:pt>
                <c:pt idx="1">
                  <c:v>11.4886</c:v>
                </c:pt>
                <c:pt idx="2">
                  <c:v>9.1776</c:v>
                </c:pt>
                <c:pt idx="3">
                  <c:v>11.551</c:v>
                </c:pt>
                <c:pt idx="4">
                  <c:v>6.4760999999999997</c:v>
                </c:pt>
              </c:numCache>
            </c:numRef>
          </c:xVal>
          <c:yVal>
            <c:numRef>
              <c:f>Sheet1!$B$2:$B$6</c:f>
              <c:numCache>
                <c:formatCode>General</c:formatCode>
                <c:ptCount val="5"/>
                <c:pt idx="0">
                  <c:v>0.83199999999999996</c:v>
                </c:pt>
                <c:pt idx="1">
                  <c:v>1.3320000000000001</c:v>
                </c:pt>
                <c:pt idx="2">
                  <c:v>1.0660000000000001</c:v>
                </c:pt>
                <c:pt idx="3">
                  <c:v>1.119</c:v>
                </c:pt>
                <c:pt idx="4">
                  <c:v>0.749</c:v>
                </c:pt>
              </c:numCache>
            </c:numRef>
          </c:yVal>
          <c:bubbleSize>
            <c:numRef>
              <c:f>Sheet1!$C$2:$C$6</c:f>
              <c:numCache>
                <c:formatCode>General</c:formatCode>
                <c:ptCount val="5"/>
                <c:pt idx="0">
                  <c:v>49398</c:v>
                </c:pt>
                <c:pt idx="1">
                  <c:v>41175</c:v>
                </c:pt>
                <c:pt idx="2">
                  <c:v>22788</c:v>
                </c:pt>
                <c:pt idx="3">
                  <c:v>8259</c:v>
                </c:pt>
                <c:pt idx="4">
                  <c:v>7726</c:v>
                </c:pt>
              </c:numCache>
            </c:numRef>
          </c:bubbleSize>
          <c:bubble3D val="0"/>
          <c:extLst>
            <c:ext xmlns:c15="http://schemas.microsoft.com/office/drawing/2012/chart" uri="{02D57815-91ED-43cb-92C2-25804820EDAC}">
              <c15:datalabelsRange>
                <c15:f>Sheet1!$E$2:$E$10</c15:f>
                <c15:dlblRangeCache>
                  <c:ptCount val="9"/>
                  <c:pt idx="0">
                    <c:v>Cantine Vitevis</c:v>
                  </c:pt>
                  <c:pt idx="1">
                    <c:v>Bottega</c:v>
                  </c:pt>
                  <c:pt idx="2">
                    <c:v>Chardonnier</c:v>
                  </c:pt>
                  <c:pt idx="3">
                    <c:v>Contarini</c:v>
                  </c:pt>
                  <c:pt idx="4">
                    <c:v>Caste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4"/>
          <c:min val="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32"/>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8653710-62A3-4673-97C0-D74923A3119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F081B90-AC55-4BB3-9B38-46A71F20316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4D03C03-163C-45AC-B9A0-209FB88B0B4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C292503-A3DE-43D6-8D7D-D6FCB29633A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DC0E4858-45F3-4C32-96F4-C9FF4865E75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23EFCA55-96F3-4DA2-99B4-569BEB487A2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12535CEC-8A73-4FC4-BDB7-74B10274943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298173C1-E9B0-4BD8-88AF-078D478CA59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7.2351000000000001</c:v>
                </c:pt>
                <c:pt idx="1">
                  <c:v>11.490399999999999</c:v>
                </c:pt>
                <c:pt idx="2">
                  <c:v>9.1667000000000005</c:v>
                </c:pt>
                <c:pt idx="3">
                  <c:v>10.4292</c:v>
                </c:pt>
              </c:numCache>
            </c:numRef>
          </c:xVal>
          <c:yVal>
            <c:numRef>
              <c:f>Sheet1!$B$2:$B$5</c:f>
              <c:numCache>
                <c:formatCode>General</c:formatCode>
                <c:ptCount val="4"/>
                <c:pt idx="0">
                  <c:v>0.84199999999999997</c:v>
                </c:pt>
                <c:pt idx="1">
                  <c:v>1.3240000000000001</c:v>
                </c:pt>
                <c:pt idx="2">
                  <c:v>1.06</c:v>
                </c:pt>
                <c:pt idx="3">
                  <c:v>1.145</c:v>
                </c:pt>
              </c:numCache>
            </c:numRef>
          </c:yVal>
          <c:bubbleSize>
            <c:numRef>
              <c:f>Sheet1!$C$2:$C$5</c:f>
              <c:numCache>
                <c:formatCode>General</c:formatCode>
                <c:ptCount val="4"/>
                <c:pt idx="0">
                  <c:v>20461</c:v>
                </c:pt>
                <c:pt idx="1">
                  <c:v>13214</c:v>
                </c:pt>
                <c:pt idx="2">
                  <c:v>5555</c:v>
                </c:pt>
                <c:pt idx="3">
                  <c:v>2284</c:v>
                </c:pt>
              </c:numCache>
            </c:numRef>
          </c:bubbleSize>
          <c:bubble3D val="0"/>
          <c:extLst>
            <c:ext xmlns:c15="http://schemas.microsoft.com/office/drawing/2012/chart" uri="{02D57815-91ED-43cb-92C2-25804820EDAC}">
              <c15:datalabelsRange>
                <c15:f>Sheet1!$E$2:$E$10</c15:f>
                <c15:dlblRangeCache>
                  <c:ptCount val="9"/>
                  <c:pt idx="0">
                    <c:v>Cantine Vitevis</c:v>
                  </c:pt>
                  <c:pt idx="1">
                    <c:v>Bottega</c:v>
                  </c:pt>
                  <c:pt idx="2">
                    <c:v>Chardonnier</c:v>
                  </c:pt>
                  <c:pt idx="3">
                    <c:v>Contarini</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4"/>
          <c:min val="6"/>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24"/>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A13A82A-300E-4BBF-88EA-4BC538DDBF7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F0DE568-255B-461A-8B86-7F87964F069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1F6F7EE-C604-4F21-B6F3-D69DD656D5E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319EEC2-A0F4-42DF-84DC-06DDCDC70EF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CCCBA2DA-7888-4F6C-9F66-9D350C88C17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DB825AC5-3A37-43D7-8FF6-AD7C8E3BC43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4EDB3030-398D-410D-AE01-1613BD4F968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CEEDBC70-BB97-4B30-B33A-86D13A96625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7.2667999999999999</c:v>
                </c:pt>
                <c:pt idx="1">
                  <c:v>9.0344999999999995</c:v>
                </c:pt>
                <c:pt idx="2">
                  <c:v>11.645300000000001</c:v>
                </c:pt>
                <c:pt idx="3">
                  <c:v>11.3782</c:v>
                </c:pt>
              </c:numCache>
            </c:numRef>
          </c:xVal>
          <c:yVal>
            <c:numRef>
              <c:f>Sheet1!$B$2:$B$5</c:f>
              <c:numCache>
                <c:formatCode>General</c:formatCode>
                <c:ptCount val="4"/>
                <c:pt idx="0">
                  <c:v>0.86</c:v>
                </c:pt>
                <c:pt idx="1">
                  <c:v>1.079</c:v>
                </c:pt>
                <c:pt idx="2">
                  <c:v>1.337</c:v>
                </c:pt>
                <c:pt idx="3">
                  <c:v>1.115</c:v>
                </c:pt>
              </c:numCache>
            </c:numRef>
          </c:yVal>
          <c:bubbleSize>
            <c:numRef>
              <c:f>Sheet1!$C$2:$C$5</c:f>
              <c:numCache>
                <c:formatCode>General</c:formatCode>
                <c:ptCount val="4"/>
                <c:pt idx="0">
                  <c:v>8226</c:v>
                </c:pt>
                <c:pt idx="1">
                  <c:v>3930</c:v>
                </c:pt>
                <c:pt idx="2">
                  <c:v>3447</c:v>
                </c:pt>
                <c:pt idx="3">
                  <c:v>1775</c:v>
                </c:pt>
              </c:numCache>
            </c:numRef>
          </c:bubbleSize>
          <c:bubble3D val="0"/>
          <c:extLst>
            <c:ext xmlns:c15="http://schemas.microsoft.com/office/drawing/2012/chart" uri="{02D57815-91ED-43cb-92C2-25804820EDAC}">
              <c15:datalabelsRange>
                <c15:f>Sheet1!$E$2:$E$10</c15:f>
                <c15:dlblRangeCache>
                  <c:ptCount val="9"/>
                  <c:pt idx="0">
                    <c:v>Cantine Vitevis</c:v>
                  </c:pt>
                  <c:pt idx="1">
                    <c:v>Chardonnier</c:v>
                  </c:pt>
                  <c:pt idx="2">
                    <c:v>Bottega</c:v>
                  </c:pt>
                  <c:pt idx="3">
                    <c:v>Contarini</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4"/>
          <c:min val="6"/>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36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23E2A04-82C5-42E8-BFA9-765512DDDF8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93254D6-45AC-458F-A645-5954114B5BA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A52D3C6-9118-4C93-99C9-CB403461A78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78804C0-0876-46A5-B9F8-EB46D451965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F785EBA-7930-4FAF-BB7C-99CAE5365C0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DD25DC77-EB5D-4C40-AFCA-F7ECCD930D1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1D021519-ED37-4C6E-B566-DF734A4748F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C9CDD39D-5FB6-4D85-9DD4-D97BEA4835F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11.4457</c:v>
                </c:pt>
                <c:pt idx="1">
                  <c:v>7.3361000000000001</c:v>
                </c:pt>
                <c:pt idx="2">
                  <c:v>9.1258999999999997</c:v>
                </c:pt>
                <c:pt idx="3">
                  <c:v>11.2964</c:v>
                </c:pt>
                <c:pt idx="4">
                  <c:v>6.4696999999999996</c:v>
                </c:pt>
              </c:numCache>
            </c:numRef>
          </c:xVal>
          <c:yVal>
            <c:numRef>
              <c:f>Sheet1!$B$2:$B$6</c:f>
              <c:numCache>
                <c:formatCode>General</c:formatCode>
                <c:ptCount val="5"/>
                <c:pt idx="0">
                  <c:v>1.2709999999999999</c:v>
                </c:pt>
                <c:pt idx="1">
                  <c:v>0.81499999999999995</c:v>
                </c:pt>
                <c:pt idx="2">
                  <c:v>1.0129999999999999</c:v>
                </c:pt>
                <c:pt idx="3">
                  <c:v>1.0720000000000001</c:v>
                </c:pt>
                <c:pt idx="4">
                  <c:v>0.71799999999999997</c:v>
                </c:pt>
              </c:numCache>
            </c:numRef>
          </c:yVal>
          <c:bubbleSize>
            <c:numRef>
              <c:f>Sheet1!$C$2:$C$6</c:f>
              <c:numCache>
                <c:formatCode>General</c:formatCode>
                <c:ptCount val="5"/>
                <c:pt idx="0">
                  <c:v>195596</c:v>
                </c:pt>
                <c:pt idx="1">
                  <c:v>182031</c:v>
                </c:pt>
                <c:pt idx="2">
                  <c:v>96917</c:v>
                </c:pt>
                <c:pt idx="3">
                  <c:v>19859</c:v>
                </c:pt>
                <c:pt idx="4">
                  <c:v>7686</c:v>
                </c:pt>
              </c:numCache>
            </c:numRef>
          </c:bubbleSize>
          <c:bubble3D val="0"/>
          <c:extLst>
            <c:ext xmlns:c15="http://schemas.microsoft.com/office/drawing/2012/chart" uri="{02D57815-91ED-43cb-92C2-25804820EDAC}">
              <c15:datalabelsRange>
                <c15:f>Sheet1!$E$2:$E$10</c15:f>
                <c15:dlblRangeCache>
                  <c:ptCount val="9"/>
                  <c:pt idx="0">
                    <c:v>Bottega</c:v>
                  </c:pt>
                  <c:pt idx="1">
                    <c:v>Cantine Vitevis</c:v>
                  </c:pt>
                  <c:pt idx="2">
                    <c:v>Chardonnier</c:v>
                  </c:pt>
                  <c:pt idx="3">
                    <c:v>Contarini</c:v>
                  </c:pt>
                  <c:pt idx="4">
                    <c:v>Caste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4"/>
          <c:min val="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470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ACA4D8E7-C60A-44C2-A9A0-8CF9FF02ADA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F838003B-C5CC-4001-AC9F-BA788156B02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71-46D6-BBFE-7C00E0D51738}"/>
                </c:ext>
              </c:extLst>
            </c:dLbl>
            <c:dLbl>
              <c:idx val="3"/>
              <c:tx>
                <c:rich>
                  <a:bodyPr/>
                  <a:lstStyle/>
                  <a:p>
                    <a:fld id="{A62A61F0-EB4E-4546-B819-B6456544CC3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71-46D6-BBFE-7C00E0D51738}"/>
                </c:ext>
              </c:extLst>
            </c:dLbl>
            <c:dLbl>
              <c:idx val="4"/>
              <c:tx>
                <c:rich>
                  <a:bodyPr/>
                  <a:lstStyle/>
                  <a:p>
                    <a:fld id="{79DE0CC7-FA3E-4BA4-B070-FB0DC4F9D7A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D871-46D6-BBFE-7C00E0D51738}"/>
                </c:ext>
              </c:extLst>
            </c:dLbl>
            <c:dLbl>
              <c:idx val="5"/>
              <c:tx>
                <c:rich>
                  <a:bodyPr/>
                  <a:lstStyle/>
                  <a:p>
                    <a:fld id="{95B7CDF3-4A0A-4FCF-B6FA-2027E456305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71-46D6-BBFE-7C00E0D51738}"/>
                </c:ext>
              </c:extLst>
            </c:dLbl>
            <c:dLbl>
              <c:idx val="6"/>
              <c:tx>
                <c:rich>
                  <a:bodyPr/>
                  <a:lstStyle/>
                  <a:p>
                    <a:fld id="{22F18FD1-86D6-4843-BE15-4223E7AAA51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71-46D6-BBFE-7C00E0D51738}"/>
                </c:ext>
              </c:extLst>
            </c:dLbl>
            <c:dLbl>
              <c:idx val="7"/>
              <c:tx>
                <c:rich>
                  <a:bodyPr/>
                  <a:lstStyle/>
                  <a:p>
                    <a:fld id="{CCD27386-9891-471B-BA13-F9DB911A897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71-46D6-BBFE-7C00E0D51738}"/>
                </c:ext>
              </c:extLst>
            </c:dLbl>
            <c:dLbl>
              <c:idx val="8"/>
              <c:tx>
                <c:rich>
                  <a:bodyPr/>
                  <a:lstStyle/>
                  <a:p>
                    <a:fld id="{C67376CE-EA69-447E-8C6D-14D347E01DF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29.5609</c:v>
                </c:pt>
                <c:pt idx="1">
                  <c:v>30.4114</c:v>
                </c:pt>
                <c:pt idx="2">
                  <c:v>31.256699999999999</c:v>
                </c:pt>
                <c:pt idx="3">
                  <c:v>34.277999999999999</c:v>
                </c:pt>
              </c:numCache>
            </c:numRef>
          </c:xVal>
          <c:yVal>
            <c:numRef>
              <c:f>Sheet1!$B$2:$B$5</c:f>
              <c:numCache>
                <c:formatCode>General</c:formatCode>
                <c:ptCount val="4"/>
                <c:pt idx="0">
                  <c:v>0.98699999999999999</c:v>
                </c:pt>
                <c:pt idx="1">
                  <c:v>1.016</c:v>
                </c:pt>
                <c:pt idx="2">
                  <c:v>1.0429999999999999</c:v>
                </c:pt>
                <c:pt idx="3">
                  <c:v>1.0940000000000001</c:v>
                </c:pt>
              </c:numCache>
            </c:numRef>
          </c:yVal>
          <c:bubbleSize>
            <c:numRef>
              <c:f>Sheet1!$C$2:$C$5</c:f>
              <c:numCache>
                <c:formatCode>General</c:formatCode>
                <c:ptCount val="4"/>
                <c:pt idx="0">
                  <c:v>2004646</c:v>
                </c:pt>
                <c:pt idx="1">
                  <c:v>529675</c:v>
                </c:pt>
                <c:pt idx="2">
                  <c:v>278560</c:v>
                </c:pt>
                <c:pt idx="3">
                  <c:v>67699</c:v>
                </c:pt>
              </c:numCache>
            </c:numRef>
          </c:bubbleSize>
          <c:bubble3D val="0"/>
          <c:extLst>
            <c:ext xmlns:c15="http://schemas.microsoft.com/office/drawing/2012/chart" uri="{02D57815-91ED-43cb-92C2-25804820EDAC}">
              <c15:datalabelsRange>
                <c15:f>Sheet1!$E$2:$E$10</c15:f>
                <c15:dlblRangeCache>
                  <c:ptCount val="9"/>
                  <c:pt idx="0">
                    <c:v>Malard</c:v>
                  </c:pt>
                  <c:pt idx="1">
                    <c:v>Vesselle</c:v>
                  </c:pt>
                  <c:pt idx="2">
                    <c:v>Louis Martin</c:v>
                  </c:pt>
                  <c:pt idx="3">
                    <c:v>Nicolas</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1"/>
          <c:min val="24"/>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9BA5D34-5E4D-4E27-8F5C-773E5521C09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76D3EF5-B281-46AB-9178-4E2D9879C1D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F6DF195-875F-4F15-BF5B-31A9CF2E757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9915800-A823-4BAF-BDFB-49B758C568F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75184A5D-D914-40DA-8573-B75464F1468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B64E5323-A817-4553-BBDA-2764204E1D7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52F2263D-C477-42FA-82BD-AA2CCEC3546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2C110D19-7F8A-4856-B135-D4C1E818666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7.4564000000000004</c:v>
                </c:pt>
                <c:pt idx="1">
                  <c:v>11.4999</c:v>
                </c:pt>
                <c:pt idx="2">
                  <c:v>9.0538000000000007</c:v>
                </c:pt>
                <c:pt idx="3">
                  <c:v>11.5052</c:v>
                </c:pt>
              </c:numCache>
            </c:numRef>
          </c:xVal>
          <c:yVal>
            <c:numRef>
              <c:f>Sheet1!$B$2:$B$5</c:f>
              <c:numCache>
                <c:formatCode>General</c:formatCode>
                <c:ptCount val="4"/>
                <c:pt idx="0">
                  <c:v>0.83599999999999997</c:v>
                </c:pt>
                <c:pt idx="1">
                  <c:v>1.2909999999999999</c:v>
                </c:pt>
                <c:pt idx="2">
                  <c:v>1.0169999999999999</c:v>
                </c:pt>
                <c:pt idx="3">
                  <c:v>1.08</c:v>
                </c:pt>
              </c:numCache>
            </c:numRef>
          </c:yVal>
          <c:bubbleSize>
            <c:numRef>
              <c:f>Sheet1!$C$2:$C$5</c:f>
              <c:numCache>
                <c:formatCode>General</c:formatCode>
                <c:ptCount val="4"/>
                <c:pt idx="0">
                  <c:v>102466</c:v>
                </c:pt>
                <c:pt idx="1">
                  <c:v>82178</c:v>
                </c:pt>
                <c:pt idx="2">
                  <c:v>39538</c:v>
                </c:pt>
                <c:pt idx="3">
                  <c:v>12207</c:v>
                </c:pt>
              </c:numCache>
            </c:numRef>
          </c:bubbleSize>
          <c:bubble3D val="0"/>
          <c:extLst>
            <c:ext xmlns:c15="http://schemas.microsoft.com/office/drawing/2012/chart" uri="{02D57815-91ED-43cb-92C2-25804820EDAC}">
              <c15:datalabelsRange>
                <c15:f>Sheet1!$E$2:$E$10</c15:f>
                <c15:dlblRangeCache>
                  <c:ptCount val="9"/>
                  <c:pt idx="0">
                    <c:v>Cantine Vitevis</c:v>
                  </c:pt>
                  <c:pt idx="1">
                    <c:v>Bottega</c:v>
                  </c:pt>
                  <c:pt idx="2">
                    <c:v>Chardonnier</c:v>
                  </c:pt>
                  <c:pt idx="3">
                    <c:v>Contarini</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4"/>
          <c:min val="6"/>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490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DF0B6BE-6F81-4AFC-9CD8-F8322E55924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7E2A9F1-91E6-4684-A8C1-FB3BDE2D6E4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C800522-82EA-4B5D-BD65-ABC04F9C51B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61A19B6-B219-4F93-8052-BFFC4094277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4FB72B39-A81A-4187-B089-86C51015D9C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D3FD8CC8-6E3C-4F69-B28A-41316CE7A08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83FBB0AD-F59F-439F-9C05-99E2A9B194B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1C7A8019-2A8C-4F1F-9335-82461AD9B7A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7.4028</c:v>
                </c:pt>
                <c:pt idx="1">
                  <c:v>11.404999999999999</c:v>
                </c:pt>
                <c:pt idx="2">
                  <c:v>9.0840999999999994</c:v>
                </c:pt>
                <c:pt idx="3">
                  <c:v>11.535</c:v>
                </c:pt>
              </c:numCache>
            </c:numRef>
          </c:xVal>
          <c:yVal>
            <c:numRef>
              <c:f>Sheet1!$B$2:$B$5</c:f>
              <c:numCache>
                <c:formatCode>General</c:formatCode>
                <c:ptCount val="4"/>
                <c:pt idx="0">
                  <c:v>0.82099999999999995</c:v>
                </c:pt>
                <c:pt idx="1">
                  <c:v>1.266</c:v>
                </c:pt>
                <c:pt idx="2">
                  <c:v>1.008</c:v>
                </c:pt>
                <c:pt idx="3">
                  <c:v>1.07</c:v>
                </c:pt>
              </c:numCache>
            </c:numRef>
          </c:yVal>
          <c:bubbleSize>
            <c:numRef>
              <c:f>Sheet1!$C$2:$C$5</c:f>
              <c:numCache>
                <c:formatCode>General</c:formatCode>
                <c:ptCount val="4"/>
                <c:pt idx="0">
                  <c:v>154682</c:v>
                </c:pt>
                <c:pt idx="1">
                  <c:v>150888</c:v>
                </c:pt>
                <c:pt idx="2">
                  <c:v>86281</c:v>
                </c:pt>
                <c:pt idx="3">
                  <c:v>19102</c:v>
                </c:pt>
              </c:numCache>
            </c:numRef>
          </c:bubbleSize>
          <c:bubble3D val="0"/>
          <c:extLst>
            <c:ext xmlns:c15="http://schemas.microsoft.com/office/drawing/2012/chart" uri="{02D57815-91ED-43cb-92C2-25804820EDAC}">
              <c15:datalabelsRange>
                <c15:f>Sheet1!$E$2:$E$10</c15:f>
                <c15:dlblRangeCache>
                  <c:ptCount val="9"/>
                  <c:pt idx="0">
                    <c:v>Cantine Vitevis</c:v>
                  </c:pt>
                  <c:pt idx="1">
                    <c:v>Bottega</c:v>
                  </c:pt>
                  <c:pt idx="2">
                    <c:v>Chardonnier</c:v>
                  </c:pt>
                  <c:pt idx="3">
                    <c:v>Contarini</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4"/>
          <c:min val="6"/>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466"/>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968D86C-887C-4098-8A23-28B88FC5B62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F739A15-B27E-421C-8344-E11A8380F4C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C803686-8234-4735-A68A-BE3956321CF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38C6F87-0D2F-4400-AE26-5F0047326A8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23E80A05-6952-4157-A4BE-AB6879EF2D9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5F3F9E5F-9261-4C79-95E6-2A709E7D04F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D12DAD0A-7A23-414E-AEA1-61DDAAE9681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0602E73E-1524-45E9-AAB5-62C6906D78F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7.4260000000000002</c:v>
                </c:pt>
                <c:pt idx="1">
                  <c:v>11.3996</c:v>
                </c:pt>
                <c:pt idx="2">
                  <c:v>9.1219000000000001</c:v>
                </c:pt>
                <c:pt idx="3">
                  <c:v>11.543699999999999</c:v>
                </c:pt>
              </c:numCache>
            </c:numRef>
          </c:xVal>
          <c:yVal>
            <c:numRef>
              <c:f>Sheet1!$B$2:$B$5</c:f>
              <c:numCache>
                <c:formatCode>General</c:formatCode>
                <c:ptCount val="4"/>
                <c:pt idx="0">
                  <c:v>0.83199999999999996</c:v>
                </c:pt>
                <c:pt idx="1">
                  <c:v>1.276</c:v>
                </c:pt>
                <c:pt idx="2">
                  <c:v>1.0229999999999999</c:v>
                </c:pt>
                <c:pt idx="3">
                  <c:v>1.0820000000000001</c:v>
                </c:pt>
              </c:numCache>
            </c:numRef>
          </c:yVal>
          <c:bubbleSize>
            <c:numRef>
              <c:f>Sheet1!$C$2:$C$5</c:f>
              <c:numCache>
                <c:formatCode>General</c:formatCode>
                <c:ptCount val="4"/>
                <c:pt idx="0">
                  <c:v>121638</c:v>
                </c:pt>
                <c:pt idx="1">
                  <c:v>101593</c:v>
                </c:pt>
                <c:pt idx="2">
                  <c:v>56501</c:v>
                </c:pt>
                <c:pt idx="3">
                  <c:v>17154</c:v>
                </c:pt>
              </c:numCache>
            </c:numRef>
          </c:bubbleSize>
          <c:bubble3D val="0"/>
          <c:extLst>
            <c:ext xmlns:c15="http://schemas.microsoft.com/office/drawing/2012/chart" uri="{02D57815-91ED-43cb-92C2-25804820EDAC}">
              <c15:datalabelsRange>
                <c15:f>Sheet1!$E$2:$E$10</c15:f>
                <c15:dlblRangeCache>
                  <c:ptCount val="9"/>
                  <c:pt idx="0">
                    <c:v>Cantine Vitevis</c:v>
                  </c:pt>
                  <c:pt idx="1">
                    <c:v>Bottega</c:v>
                  </c:pt>
                  <c:pt idx="2">
                    <c:v>Chardonnier</c:v>
                  </c:pt>
                  <c:pt idx="3">
                    <c:v>Contarini</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4"/>
          <c:min val="6"/>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476"/>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D2AB7CE-E6C0-4CB2-BF72-8C5633797B6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0F8EFDB-92C3-4BFE-A26F-20C1BC34746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EBBF3B9-4DFB-42DB-BCA2-82AB615E21F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E6E5CF1-4C61-417E-8E3A-166DBE298BB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1B6D01BD-BB14-4054-8D65-1163D2BD1DF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D43B96C3-85E3-4261-BB75-AE959E199CA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CCEB234E-521E-4216-8428-CD2B2E9873B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C101E10D-4DE4-4B14-ABF4-70A01FC9489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7.4020000000000001</c:v>
                </c:pt>
                <c:pt idx="1">
                  <c:v>11.5068</c:v>
                </c:pt>
                <c:pt idx="2">
                  <c:v>9.1301000000000005</c:v>
                </c:pt>
                <c:pt idx="3">
                  <c:v>11.2819</c:v>
                </c:pt>
              </c:numCache>
            </c:numRef>
          </c:xVal>
          <c:yVal>
            <c:numRef>
              <c:f>Sheet1!$B$2:$B$5</c:f>
              <c:numCache>
                <c:formatCode>General</c:formatCode>
                <c:ptCount val="4"/>
                <c:pt idx="0">
                  <c:v>0.83699999999999997</c:v>
                </c:pt>
                <c:pt idx="1">
                  <c:v>1.3009999999999999</c:v>
                </c:pt>
                <c:pt idx="2">
                  <c:v>1.0329999999999999</c:v>
                </c:pt>
                <c:pt idx="3">
                  <c:v>1.095</c:v>
                </c:pt>
              </c:numCache>
            </c:numRef>
          </c:yVal>
          <c:bubbleSize>
            <c:numRef>
              <c:f>Sheet1!$C$2:$C$5</c:f>
              <c:numCache>
                <c:formatCode>General</c:formatCode>
                <c:ptCount val="4"/>
                <c:pt idx="0">
                  <c:v>109224</c:v>
                </c:pt>
                <c:pt idx="1">
                  <c:v>77326</c:v>
                </c:pt>
                <c:pt idx="2">
                  <c:v>44555</c:v>
                </c:pt>
                <c:pt idx="3">
                  <c:v>22609</c:v>
                </c:pt>
              </c:numCache>
            </c:numRef>
          </c:bubbleSize>
          <c:bubble3D val="0"/>
          <c:extLst>
            <c:ext xmlns:c15="http://schemas.microsoft.com/office/drawing/2012/chart" uri="{02D57815-91ED-43cb-92C2-25804820EDAC}">
              <c15:datalabelsRange>
                <c15:f>Sheet1!$E$2:$E$10</c15:f>
                <c15:dlblRangeCache>
                  <c:ptCount val="9"/>
                  <c:pt idx="0">
                    <c:v>Cantine Vitevis</c:v>
                  </c:pt>
                  <c:pt idx="1">
                    <c:v>Bottega</c:v>
                  </c:pt>
                  <c:pt idx="2">
                    <c:v>Chardonnier</c:v>
                  </c:pt>
                  <c:pt idx="3">
                    <c:v>Contarini</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4"/>
          <c:min val="6"/>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00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6CDC982-8747-4923-8914-B8B0AE32719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AB77EC1-C737-4FC5-949B-A1AB8FCC187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7261B15-DCC4-420C-BAD9-F2A32899AF7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27509E9-666A-4969-8709-78A5C332465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641ABD2D-25F7-4C03-9745-D77A99B83F2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64D0158-8909-49A7-B126-7B5D74012AC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A93D240-8CE8-43EE-B55C-176EAA61A32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CDF0D7D-12C6-44B5-9549-C3675767021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5.3677000000000001</c:v>
                </c:pt>
                <c:pt idx="1">
                  <c:v>6.4625000000000004</c:v>
                </c:pt>
                <c:pt idx="2">
                  <c:v>6.7061999999999999</c:v>
                </c:pt>
                <c:pt idx="3">
                  <c:v>6.0472000000000001</c:v>
                </c:pt>
                <c:pt idx="4">
                  <c:v>7.4202000000000004</c:v>
                </c:pt>
                <c:pt idx="5">
                  <c:v>6.5438000000000001</c:v>
                </c:pt>
                <c:pt idx="6">
                  <c:v>6.5370999999999997</c:v>
                </c:pt>
                <c:pt idx="7">
                  <c:v>6.8582000000000001</c:v>
                </c:pt>
              </c:numCache>
            </c:numRef>
          </c:xVal>
          <c:yVal>
            <c:numRef>
              <c:f>Sheet1!$B$2:$B$9</c:f>
              <c:numCache>
                <c:formatCode>General</c:formatCode>
                <c:ptCount val="8"/>
                <c:pt idx="0">
                  <c:v>0.99199999999999999</c:v>
                </c:pt>
                <c:pt idx="1">
                  <c:v>1.012</c:v>
                </c:pt>
                <c:pt idx="2">
                  <c:v>0.77200000000000002</c:v>
                </c:pt>
                <c:pt idx="3">
                  <c:v>0.92300000000000004</c:v>
                </c:pt>
                <c:pt idx="4">
                  <c:v>1.202</c:v>
                </c:pt>
                <c:pt idx="5">
                  <c:v>1.1759999999999999</c:v>
                </c:pt>
                <c:pt idx="6">
                  <c:v>0.74199999999999999</c:v>
                </c:pt>
                <c:pt idx="7">
                  <c:v>1.306</c:v>
                </c:pt>
              </c:numCache>
            </c:numRef>
          </c:yVal>
          <c:bubbleSize>
            <c:numRef>
              <c:f>Sheet1!$C$2:$C$9</c:f>
              <c:numCache>
                <c:formatCode>General</c:formatCode>
                <c:ptCount val="8"/>
                <c:pt idx="0">
                  <c:v>26939241</c:v>
                </c:pt>
                <c:pt idx="1">
                  <c:v>11877367</c:v>
                </c:pt>
                <c:pt idx="2">
                  <c:v>6775215</c:v>
                </c:pt>
                <c:pt idx="3">
                  <c:v>5266419</c:v>
                </c:pt>
                <c:pt idx="4">
                  <c:v>3181796</c:v>
                </c:pt>
                <c:pt idx="5">
                  <c:v>2333478</c:v>
                </c:pt>
                <c:pt idx="6">
                  <c:v>964260</c:v>
                </c:pt>
                <c:pt idx="7">
                  <c:v>953391</c:v>
                </c:pt>
              </c:numCache>
            </c:numRef>
          </c:bubbleSize>
          <c:bubble3D val="0"/>
          <c:extLst>
            <c:ext xmlns:c15="http://schemas.microsoft.com/office/drawing/2012/chart" uri="{02D57815-91ED-43cb-92C2-25804820EDAC}">
              <c15:datalabelsRange>
                <c15:f>Sheet1!$E$2:$E$10</c15:f>
                <c15:dlblRangeCache>
                  <c:ptCount val="9"/>
                  <c:pt idx="0">
                    <c:v>Mdd</c:v>
                  </c:pt>
                  <c:pt idx="1">
                    <c:v>Orchidees</c:v>
                  </c:pt>
                  <c:pt idx="2">
                    <c:v>Bouvet‑Ladubay</c:v>
                  </c:pt>
                  <c:pt idx="3">
                    <c:v>Gratien Et Meyer</c:v>
                  </c:pt>
                  <c:pt idx="4">
                    <c:v>Chateau Moncontour</c:v>
                  </c:pt>
                  <c:pt idx="5">
                    <c:v>Lacheteau</c:v>
                  </c:pt>
                  <c:pt idx="6">
                    <c:v>Jean Marc Toussaint</c:v>
                  </c:pt>
                  <c:pt idx="7">
                    <c:v>Sca Gd Vin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9"/>
          <c:min val="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06"/>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89C075E-D924-441D-9AAA-3F188F15AFD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E8D4DF8-6162-47CC-B54E-D099C7ED8AF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4AB3077-EDCF-42FC-8E5D-636D54816D9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16A2D452-A777-48FC-B5DB-78A88D1C865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C1389572-F995-428F-BD60-863E7F6426E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5CB6F3D3-159C-4647-B433-6FAF1B515F6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A436BE10-82FB-488B-B66A-9C26720B340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46A99F79-E888-409A-8D2F-8F0E776F869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1.800599999999999</c:v>
                </c:pt>
                <c:pt idx="1">
                  <c:v>11.4072</c:v>
                </c:pt>
                <c:pt idx="2">
                  <c:v>13.4663</c:v>
                </c:pt>
              </c:numCache>
            </c:numRef>
          </c:xVal>
          <c:yVal>
            <c:numRef>
              <c:f>Sheet1!$B$2:$B$4</c:f>
              <c:numCache>
                <c:formatCode>General</c:formatCode>
                <c:ptCount val="3"/>
                <c:pt idx="0">
                  <c:v>0.96899999999999997</c:v>
                </c:pt>
                <c:pt idx="1">
                  <c:v>0.98299999999999998</c:v>
                </c:pt>
                <c:pt idx="2">
                  <c:v>1.1599999999999999</c:v>
                </c:pt>
              </c:numCache>
            </c:numRef>
          </c:yVal>
          <c:bubbleSize>
            <c:numRef>
              <c:f>Sheet1!$C$2:$C$4</c:f>
              <c:numCache>
                <c:formatCode>General</c:formatCode>
                <c:ptCount val="3"/>
                <c:pt idx="0">
                  <c:v>305234</c:v>
                </c:pt>
                <c:pt idx="1">
                  <c:v>282431</c:v>
                </c:pt>
                <c:pt idx="2">
                  <c:v>158041</c:v>
                </c:pt>
              </c:numCache>
            </c:numRef>
          </c:bubbleSize>
          <c:bubble3D val="0"/>
          <c:extLst>
            <c:ext xmlns:c15="http://schemas.microsoft.com/office/drawing/2012/chart" uri="{02D57815-91ED-43cb-92C2-25804820EDAC}">
              <c15:datalabelsRange>
                <c15:f>Sheet1!$E$2:$E$10</c15:f>
                <c15:dlblRangeCache>
                  <c:ptCount val="9"/>
                  <c:pt idx="0">
                    <c:v>Bouvet-Ladubay</c:v>
                  </c:pt>
                  <c:pt idx="1">
                    <c:v>Chateau Moncontour</c:v>
                  </c:pt>
                  <c:pt idx="2">
                    <c:v>De Chancen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6"/>
          <c:min val="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359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D8BCE3A-D7A1-4E73-8F14-E762AF01B68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1F69F15-8E20-4B72-8538-AD22E106B71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4236509-E57C-45C1-AB66-6BA1652D39E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6B20187-BDAD-4243-952A-160401981B9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51693B3-7583-44E3-8024-A18DA5F4DF8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152B346-59FB-46F9-A403-4650617DFEC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FD51A73-A2E1-4B2B-988F-1C5DC42FEBF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3E7F5642-614C-4302-8C87-E5863B1B1C9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5.3677000000000001</c:v>
                </c:pt>
                <c:pt idx="1">
                  <c:v>6.4625000000000004</c:v>
                </c:pt>
                <c:pt idx="2">
                  <c:v>6.7061999999999999</c:v>
                </c:pt>
                <c:pt idx="3">
                  <c:v>6.0472000000000001</c:v>
                </c:pt>
                <c:pt idx="4">
                  <c:v>7.1771000000000003</c:v>
                </c:pt>
                <c:pt idx="5">
                  <c:v>6.5438000000000001</c:v>
                </c:pt>
                <c:pt idx="6">
                  <c:v>6.5370999999999997</c:v>
                </c:pt>
                <c:pt idx="7">
                  <c:v>6.8582000000000001</c:v>
                </c:pt>
              </c:numCache>
            </c:numRef>
          </c:xVal>
          <c:yVal>
            <c:numRef>
              <c:f>Sheet1!$B$2:$B$9</c:f>
              <c:numCache>
                <c:formatCode>General</c:formatCode>
                <c:ptCount val="8"/>
                <c:pt idx="0">
                  <c:v>1.0009999999999999</c:v>
                </c:pt>
                <c:pt idx="1">
                  <c:v>1.0209999999999999</c:v>
                </c:pt>
                <c:pt idx="2">
                  <c:v>0.77900000000000003</c:v>
                </c:pt>
                <c:pt idx="3">
                  <c:v>0.93</c:v>
                </c:pt>
                <c:pt idx="4">
                  <c:v>1.1639999999999999</c:v>
                </c:pt>
                <c:pt idx="5">
                  <c:v>1.1859999999999999</c:v>
                </c:pt>
                <c:pt idx="6">
                  <c:v>0.748</c:v>
                </c:pt>
                <c:pt idx="7">
                  <c:v>1.3180000000000001</c:v>
                </c:pt>
              </c:numCache>
            </c:numRef>
          </c:yVal>
          <c:bubbleSize>
            <c:numRef>
              <c:f>Sheet1!$C$2:$C$9</c:f>
              <c:numCache>
                <c:formatCode>General</c:formatCode>
                <c:ptCount val="8"/>
                <c:pt idx="0">
                  <c:v>26939241</c:v>
                </c:pt>
                <c:pt idx="1">
                  <c:v>11877367</c:v>
                </c:pt>
                <c:pt idx="2">
                  <c:v>6775215</c:v>
                </c:pt>
                <c:pt idx="3">
                  <c:v>5266419</c:v>
                </c:pt>
                <c:pt idx="4">
                  <c:v>2899520</c:v>
                </c:pt>
                <c:pt idx="5">
                  <c:v>2333478</c:v>
                </c:pt>
                <c:pt idx="6">
                  <c:v>964260</c:v>
                </c:pt>
                <c:pt idx="7">
                  <c:v>953391</c:v>
                </c:pt>
              </c:numCache>
            </c:numRef>
          </c:bubbleSize>
          <c:bubble3D val="0"/>
          <c:extLst>
            <c:ext xmlns:c15="http://schemas.microsoft.com/office/drawing/2012/chart" uri="{02D57815-91ED-43cb-92C2-25804820EDAC}">
              <c15:datalabelsRange>
                <c15:f>Sheet1!$E$2:$E$10</c15:f>
                <c15:dlblRangeCache>
                  <c:ptCount val="9"/>
                  <c:pt idx="0">
                    <c:v>Mdd</c:v>
                  </c:pt>
                  <c:pt idx="1">
                    <c:v>Orchidees</c:v>
                  </c:pt>
                  <c:pt idx="2">
                    <c:v>Bouvet‑Ladubay</c:v>
                  </c:pt>
                  <c:pt idx="3">
                    <c:v>Gratien Et Meyer</c:v>
                  </c:pt>
                  <c:pt idx="4">
                    <c:v>Chateau Moncontour</c:v>
                  </c:pt>
                  <c:pt idx="5">
                    <c:v>Lacheteau</c:v>
                  </c:pt>
                  <c:pt idx="6">
                    <c:v>Jean Marc Toussaint</c:v>
                  </c:pt>
                  <c:pt idx="7">
                    <c:v>Sca Gd Vin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9"/>
          <c:min val="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18"/>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F2BC738-EC14-4154-93DB-2858554B0C4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0C2C2B6-CF8D-41EB-867F-BB4EFCEDA52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C1BC922-A034-45AF-9117-728835382EC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3E387E11-2F25-46F6-AD09-A612E4DDB0A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374A66EA-822A-43F2-AB16-3B596320A43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D53187E2-207D-4514-ABBD-2660B25C711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B4DA5DE8-190E-4DDD-9118-433FBA842EE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0EAC07BE-8B70-457A-B46D-F7FCB529A01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1.398199999999999</c:v>
                </c:pt>
                <c:pt idx="1">
                  <c:v>11.792999999999999</c:v>
                </c:pt>
                <c:pt idx="2">
                  <c:v>13.5303</c:v>
                </c:pt>
              </c:numCache>
            </c:numRef>
          </c:xVal>
          <c:yVal>
            <c:numRef>
              <c:f>Sheet1!$B$2:$B$4</c:f>
              <c:numCache>
                <c:formatCode>General</c:formatCode>
                <c:ptCount val="3"/>
                <c:pt idx="0">
                  <c:v>0.97599999999999998</c:v>
                </c:pt>
                <c:pt idx="1">
                  <c:v>0.96499999999999997</c:v>
                </c:pt>
                <c:pt idx="2">
                  <c:v>1.1599999999999999</c:v>
                </c:pt>
              </c:numCache>
            </c:numRef>
          </c:yVal>
          <c:bubbleSize>
            <c:numRef>
              <c:f>Sheet1!$C$2:$C$4</c:f>
              <c:numCache>
                <c:formatCode>General</c:formatCode>
                <c:ptCount val="3"/>
                <c:pt idx="0">
                  <c:v>151528</c:v>
                </c:pt>
                <c:pt idx="1">
                  <c:v>144783</c:v>
                </c:pt>
                <c:pt idx="2">
                  <c:v>89327</c:v>
                </c:pt>
              </c:numCache>
            </c:numRef>
          </c:bubbleSize>
          <c:bubble3D val="0"/>
          <c:extLst>
            <c:ext xmlns:c15="http://schemas.microsoft.com/office/drawing/2012/chart" uri="{02D57815-91ED-43cb-92C2-25804820EDAC}">
              <c15:datalabelsRange>
                <c15:f>Sheet1!$E$2:$E$10</c15:f>
                <c15:dlblRangeCache>
                  <c:ptCount val="9"/>
                  <c:pt idx="0">
                    <c:v>Chateau Moncontour</c:v>
                  </c:pt>
                  <c:pt idx="1">
                    <c:v>Bouvet-Ladubay</c:v>
                  </c:pt>
                  <c:pt idx="2">
                    <c:v>De Chancen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6"/>
          <c:min val="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359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A1F923D-B539-4636-803D-E0E8A4AC761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9D47861-FEE6-40A0-9663-7D5B91DDFB3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81A02FC-B70F-496C-A02E-F396C012E3F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5A5EB9C0-D47A-4DB9-A46A-E65F6A2247C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6257C754-8FE3-4265-A059-E32DD93AACB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952F1708-217F-4296-8392-385630C9CAA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6238A036-9A84-495C-8D50-DF9898BAF01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EAC52626-D989-4DF7-B4EC-74132C69D6D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1.7576</c:v>
                </c:pt>
                <c:pt idx="1">
                  <c:v>11.374499999999999</c:v>
                </c:pt>
                <c:pt idx="2">
                  <c:v>13.245200000000001</c:v>
                </c:pt>
              </c:numCache>
            </c:numRef>
          </c:xVal>
          <c:yVal>
            <c:numRef>
              <c:f>Sheet1!$B$2:$B$4</c:f>
              <c:numCache>
                <c:formatCode>General</c:formatCode>
                <c:ptCount val="3"/>
                <c:pt idx="0">
                  <c:v>0.97899999999999998</c:v>
                </c:pt>
                <c:pt idx="1">
                  <c:v>0.99399999999999999</c:v>
                </c:pt>
                <c:pt idx="2">
                  <c:v>1.159</c:v>
                </c:pt>
              </c:numCache>
            </c:numRef>
          </c:yVal>
          <c:bubbleSize>
            <c:numRef>
              <c:f>Sheet1!$C$2:$C$4</c:f>
              <c:numCache>
                <c:formatCode>General</c:formatCode>
                <c:ptCount val="3"/>
                <c:pt idx="0">
                  <c:v>61739</c:v>
                </c:pt>
                <c:pt idx="1">
                  <c:v>55678</c:v>
                </c:pt>
                <c:pt idx="2">
                  <c:v>28093</c:v>
                </c:pt>
              </c:numCache>
            </c:numRef>
          </c:bubbleSize>
          <c:bubble3D val="0"/>
          <c:extLst>
            <c:ext xmlns:c15="http://schemas.microsoft.com/office/drawing/2012/chart" uri="{02D57815-91ED-43cb-92C2-25804820EDAC}">
              <c15:datalabelsRange>
                <c15:f>Sheet1!$E$2:$E$10</c15:f>
                <c15:dlblRangeCache>
                  <c:ptCount val="9"/>
                  <c:pt idx="0">
                    <c:v>Bouvet-Ladubay</c:v>
                  </c:pt>
                  <c:pt idx="1">
                    <c:v>Chateau Moncontour</c:v>
                  </c:pt>
                  <c:pt idx="2">
                    <c:v>De Chancen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6"/>
          <c:min val="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35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E55E3A0-FA4C-4487-9ABA-1903E12C68A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80FDF7E-517F-4AAA-B26F-143D11AEDF0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8BB2BEC-DF3E-4E0D-B881-DA2057EB610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5E0FE3FE-CB18-4C68-B383-29A7714DCA9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BE7EE471-FF1F-4A9F-BDB9-F22BC9E6C86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03BD0295-D766-4725-B262-AB87105963D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3C08C0D7-2483-44E0-8CE7-FE575784105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B6DFA859-E6F1-4254-8979-F4AAF91812B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1.366099999999999</c:v>
                </c:pt>
                <c:pt idx="1">
                  <c:v>11.7385</c:v>
                </c:pt>
                <c:pt idx="2">
                  <c:v>13.419700000000001</c:v>
                </c:pt>
              </c:numCache>
            </c:numRef>
          </c:xVal>
          <c:yVal>
            <c:numRef>
              <c:f>Sheet1!$B$2:$B$4</c:f>
              <c:numCache>
                <c:formatCode>General</c:formatCode>
                <c:ptCount val="3"/>
                <c:pt idx="0">
                  <c:v>0.94699999999999995</c:v>
                </c:pt>
                <c:pt idx="1">
                  <c:v>0.93799999999999994</c:v>
                </c:pt>
                <c:pt idx="2">
                  <c:v>1.1200000000000001</c:v>
                </c:pt>
              </c:numCache>
            </c:numRef>
          </c:yVal>
          <c:bubbleSize>
            <c:numRef>
              <c:f>Sheet1!$C$2:$C$4</c:f>
              <c:numCache>
                <c:formatCode>General</c:formatCode>
                <c:ptCount val="3"/>
                <c:pt idx="0">
                  <c:v>30427</c:v>
                </c:pt>
                <c:pt idx="1">
                  <c:v>22620</c:v>
                </c:pt>
                <c:pt idx="2">
                  <c:v>18895</c:v>
                </c:pt>
              </c:numCache>
            </c:numRef>
          </c:bubbleSize>
          <c:bubble3D val="0"/>
          <c:extLst>
            <c:ext xmlns:c15="http://schemas.microsoft.com/office/drawing/2012/chart" uri="{02D57815-91ED-43cb-92C2-25804820EDAC}">
              <c15:datalabelsRange>
                <c15:f>Sheet1!$E$2:$E$10</c15:f>
                <c15:dlblRangeCache>
                  <c:ptCount val="9"/>
                  <c:pt idx="0">
                    <c:v>Chateau Moncontour</c:v>
                  </c:pt>
                  <c:pt idx="1">
                    <c:v>Bouvet-Ladubay</c:v>
                  </c:pt>
                  <c:pt idx="2">
                    <c:v>De Chancen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6"/>
          <c:min val="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32"/>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CA-4C16-90F6-A0D9A3D8DA8E}"/>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CA-4C16-90F6-A0D9A3D8DA8E}"/>
                </c:ext>
              </c:extLst>
            </c:dLbl>
            <c:dLbl>
              <c:idx val="1"/>
              <c:tx>
                <c:rich>
                  <a:bodyPr/>
                  <a:lstStyle/>
                  <a:p>
                    <a:fld id="{07B442DE-C2FB-422C-B58F-D0451AEB7B0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CA-4C16-90F6-A0D9A3D8DA8E}"/>
                </c:ext>
              </c:extLst>
            </c:dLbl>
            <c:dLbl>
              <c:idx val="2"/>
              <c:tx>
                <c:rich>
                  <a:bodyPr/>
                  <a:lstStyle/>
                  <a:p>
                    <a:fld id="{1A43EE7D-FCA6-43B9-BD3F-703708E2201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CA-4C16-90F6-A0D9A3D8DA8E}"/>
                </c:ext>
              </c:extLst>
            </c:dLbl>
            <c:dLbl>
              <c:idx val="3"/>
              <c:tx>
                <c:rich>
                  <a:bodyPr/>
                  <a:lstStyle/>
                  <a:p>
                    <a:fld id="{FF43844D-F431-4032-A53F-5CCE3568054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D8CA-4C16-90F6-A0D9A3D8DA8E}"/>
                </c:ext>
              </c:extLst>
            </c:dLbl>
            <c:dLbl>
              <c:idx val="4"/>
              <c:tx>
                <c:rich>
                  <a:bodyPr/>
                  <a:lstStyle/>
                  <a:p>
                    <a:fld id="{2C194846-DE2E-454D-BD56-039FF78404E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D8CA-4C16-90F6-A0D9A3D8DA8E}"/>
                </c:ext>
              </c:extLst>
            </c:dLbl>
            <c:dLbl>
              <c:idx val="5"/>
              <c:tx>
                <c:rich>
                  <a:bodyPr/>
                  <a:lstStyle/>
                  <a:p>
                    <a:fld id="{A45473F8-B17F-4F20-B14E-F759BE884EF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CA-4C16-90F6-A0D9A3D8DA8E}"/>
                </c:ext>
              </c:extLst>
            </c:dLbl>
            <c:dLbl>
              <c:idx val="6"/>
              <c:tx>
                <c:rich>
                  <a:bodyPr/>
                  <a:lstStyle/>
                  <a:p>
                    <a:fld id="{5AFBEC29-B250-4087-9E17-1F4D11931E2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CA-4C16-90F6-A0D9A3D8DA8E}"/>
                </c:ext>
              </c:extLst>
            </c:dLbl>
            <c:dLbl>
              <c:idx val="7"/>
              <c:tx>
                <c:rich>
                  <a:bodyPr/>
                  <a:lstStyle/>
                  <a:p>
                    <a:fld id="{F7B8479E-BE46-46B6-81E5-366034A7388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CA-4C16-90F6-A0D9A3D8DA8E}"/>
                </c:ext>
              </c:extLst>
            </c:dLbl>
            <c:dLbl>
              <c:idx val="8"/>
              <c:tx>
                <c:rich>
                  <a:bodyPr/>
                  <a:lstStyle/>
                  <a:p>
                    <a:fld id="{AD27735F-AE49-40F4-841E-2E0F33FBB57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CA-4C16-90F6-A0D9A3D8DA8E}"/>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30.164100000000001</c:v>
                </c:pt>
                <c:pt idx="1">
                  <c:v>31.168800000000001</c:v>
                </c:pt>
                <c:pt idx="2">
                  <c:v>43.229799999999997</c:v>
                </c:pt>
              </c:numCache>
            </c:numRef>
          </c:xVal>
          <c:yVal>
            <c:numRef>
              <c:f>Sheet1!$B$2:$B$4</c:f>
              <c:numCache>
                <c:formatCode>General</c:formatCode>
                <c:ptCount val="3"/>
                <c:pt idx="0">
                  <c:v>0.95399999999999996</c:v>
                </c:pt>
                <c:pt idx="1">
                  <c:v>0.98599999999999999</c:v>
                </c:pt>
                <c:pt idx="2">
                  <c:v>1.369</c:v>
                </c:pt>
              </c:numCache>
            </c:numRef>
          </c:yVal>
          <c:bubbleSize>
            <c:numRef>
              <c:f>Sheet1!$C$2:$C$4</c:f>
              <c:numCache>
                <c:formatCode>General</c:formatCode>
                <c:ptCount val="3"/>
                <c:pt idx="0">
                  <c:v>2201675</c:v>
                </c:pt>
                <c:pt idx="1">
                  <c:v>1768174</c:v>
                </c:pt>
                <c:pt idx="2">
                  <c:v>478122</c:v>
                </c:pt>
              </c:numCache>
            </c:numRef>
          </c:bubbleSize>
          <c:bubble3D val="0"/>
          <c:extLst>
            <c:ext xmlns:c15="http://schemas.microsoft.com/office/drawing/2012/chart" uri="{02D57815-91ED-43cb-92C2-25804820EDAC}">
              <c15:datalabelsRange>
                <c15:f>Sheet1!$E$2:$E$10</c15:f>
                <c15:dlblRangeCache>
                  <c:ptCount val="9"/>
                  <c:pt idx="0">
                    <c:v>Canard Duchêne</c:v>
                  </c:pt>
                  <c:pt idx="1">
                    <c:v>Nicolas Feuillatte</c:v>
                  </c:pt>
                  <c:pt idx="2">
                    <c:v>Moët &amp; Chandon</c:v>
                  </c:pt>
                </c15:dlblRangeCache>
              </c15:datalabelsRange>
            </c:ext>
            <c:ext xmlns:c16="http://schemas.microsoft.com/office/drawing/2014/chart" uri="{C3380CC4-5D6E-409C-BE32-E72D297353CC}">
              <c16:uniqueId val="{00000009-D8CA-4C16-90F6-A0D9A3D8DA8E}"/>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2"/>
          <c:min val="24"/>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A2CCE69-0FCD-45C2-BC4B-3EAC653C216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C77759A-5A9C-468C-B953-0717A0B799A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5AD10C5-149B-4CE5-BFBB-8F94E9F2D7B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7BF056DE-C2AA-4466-9CD2-DA7668B403F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D7004C60-F370-41B2-99FC-F3D8070F8D6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E2F8FC5E-828B-4A1B-B4C2-A8531535CC7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380C3E20-D3A2-4FEF-8227-C28374C2762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BBFAB93D-DEF7-4FBF-BB45-D79F28198AC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1.817299999999999</c:v>
                </c:pt>
                <c:pt idx="1">
                  <c:v>11.5405</c:v>
                </c:pt>
                <c:pt idx="2">
                  <c:v>13.3918</c:v>
                </c:pt>
              </c:numCache>
            </c:numRef>
          </c:xVal>
          <c:yVal>
            <c:numRef>
              <c:f>Sheet1!$B$2:$B$4</c:f>
              <c:numCache>
                <c:formatCode>General</c:formatCode>
                <c:ptCount val="3"/>
                <c:pt idx="0">
                  <c:v>0.95799999999999996</c:v>
                </c:pt>
                <c:pt idx="1">
                  <c:v>0.97899999999999998</c:v>
                </c:pt>
                <c:pt idx="2">
                  <c:v>1.1259999999999999</c:v>
                </c:pt>
              </c:numCache>
            </c:numRef>
          </c:yVal>
          <c:bubbleSize>
            <c:numRef>
              <c:f>Sheet1!$C$2:$C$4</c:f>
              <c:numCache>
                <c:formatCode>General</c:formatCode>
                <c:ptCount val="3"/>
                <c:pt idx="0">
                  <c:v>20314</c:v>
                </c:pt>
                <c:pt idx="1">
                  <c:v>16376</c:v>
                </c:pt>
                <c:pt idx="2">
                  <c:v>5571</c:v>
                </c:pt>
              </c:numCache>
            </c:numRef>
          </c:bubbleSize>
          <c:bubble3D val="0"/>
          <c:extLst>
            <c:ext xmlns:c15="http://schemas.microsoft.com/office/drawing/2012/chart" uri="{02D57815-91ED-43cb-92C2-25804820EDAC}">
              <c15:datalabelsRange>
                <c15:f>Sheet1!$E$2:$E$10</c15:f>
                <c15:dlblRangeCache>
                  <c:ptCount val="9"/>
                  <c:pt idx="0">
                    <c:v>Bouvet-Ladubay</c:v>
                  </c:pt>
                  <c:pt idx="1">
                    <c:v>Chateau Moncontour</c:v>
                  </c:pt>
                  <c:pt idx="2">
                    <c:v>De Chancen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6"/>
          <c:min val="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3259999999999998"/>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2DB3142-2942-45F2-A062-97432CC48D7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9882ACC-3506-45F1-8A55-0EBEE136B57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1F64A0A-25FF-4EC6-AB80-7A142647CDE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1744D803-819A-4EDC-8262-FC04C1ECEAD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A3E84CE0-CF6A-49DB-ABFE-6A25D893A55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F0D68412-28DA-47BB-B6DF-91FB7446A80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185E7592-DBA2-44D5-A8A6-32230FBC11F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50FF1AFB-1E19-4808-86BB-7BF3DE0AD71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1.672000000000001</c:v>
                </c:pt>
                <c:pt idx="1">
                  <c:v>11.5655</c:v>
                </c:pt>
                <c:pt idx="2">
                  <c:v>13.4473</c:v>
                </c:pt>
              </c:numCache>
            </c:numRef>
          </c:xVal>
          <c:yVal>
            <c:numRef>
              <c:f>Sheet1!$B$2:$B$4</c:f>
              <c:numCache>
                <c:formatCode>General</c:formatCode>
                <c:ptCount val="3"/>
                <c:pt idx="0">
                  <c:v>0.97799999999999998</c:v>
                </c:pt>
                <c:pt idx="1">
                  <c:v>1.0169999999999999</c:v>
                </c:pt>
                <c:pt idx="2">
                  <c:v>1.171</c:v>
                </c:pt>
              </c:numCache>
            </c:numRef>
          </c:yVal>
          <c:bubbleSize>
            <c:numRef>
              <c:f>Sheet1!$C$2:$C$4</c:f>
              <c:numCache>
                <c:formatCode>General</c:formatCode>
                <c:ptCount val="3"/>
                <c:pt idx="0">
                  <c:v>15337</c:v>
                </c:pt>
                <c:pt idx="1">
                  <c:v>8304</c:v>
                </c:pt>
                <c:pt idx="2">
                  <c:v>4720</c:v>
                </c:pt>
              </c:numCache>
            </c:numRef>
          </c:bubbleSize>
          <c:bubble3D val="0"/>
          <c:extLst>
            <c:ext xmlns:c15="http://schemas.microsoft.com/office/drawing/2012/chart" uri="{02D57815-91ED-43cb-92C2-25804820EDAC}">
              <c15:datalabelsRange>
                <c15:f>Sheet1!$E$2:$E$10</c15:f>
                <c15:dlblRangeCache>
                  <c:ptCount val="9"/>
                  <c:pt idx="0">
                    <c:v>Bouvet-Ladubay</c:v>
                  </c:pt>
                  <c:pt idx="1">
                    <c:v>Chateau Moncontour</c:v>
                  </c:pt>
                  <c:pt idx="2">
                    <c:v>De Chancen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6"/>
          <c:min val="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371"/>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73CC645-3BF9-4C9D-B1E7-807DF1B42EE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AF38773-FB43-45E5-8B0F-6B9CADACAD0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18ED6B0-5529-4A53-B65B-DF39405B84A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80FBBDDB-42DD-4E51-BD08-45992437A55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51F3FD94-4DA3-4445-BCFF-E74E71CC092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86292311-C21B-4260-847D-2874237DCBF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47BD8322-7536-47E1-BABD-ED7816859AD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B4EAC141-6977-4855-8A06-8AECBA752E3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1.3957</c:v>
                </c:pt>
                <c:pt idx="1">
                  <c:v>11.78</c:v>
                </c:pt>
                <c:pt idx="2">
                  <c:v>13.4511</c:v>
                </c:pt>
              </c:numCache>
            </c:numRef>
          </c:xVal>
          <c:yVal>
            <c:numRef>
              <c:f>Sheet1!$B$2:$B$4</c:f>
              <c:numCache>
                <c:formatCode>General</c:formatCode>
                <c:ptCount val="3"/>
                <c:pt idx="0">
                  <c:v>0.95799999999999996</c:v>
                </c:pt>
                <c:pt idx="1">
                  <c:v>0.94699999999999995</c:v>
                </c:pt>
                <c:pt idx="2">
                  <c:v>1.1299999999999999</c:v>
                </c:pt>
              </c:numCache>
            </c:numRef>
          </c:yVal>
          <c:bubbleSize>
            <c:numRef>
              <c:f>Sheet1!$C$2:$C$4</c:f>
              <c:numCache>
                <c:formatCode>General</c:formatCode>
                <c:ptCount val="3"/>
                <c:pt idx="0">
                  <c:v>224587</c:v>
                </c:pt>
                <c:pt idx="1">
                  <c:v>209943</c:v>
                </c:pt>
                <c:pt idx="2">
                  <c:v>122782</c:v>
                </c:pt>
              </c:numCache>
            </c:numRef>
          </c:bubbleSize>
          <c:bubble3D val="0"/>
          <c:extLst>
            <c:ext xmlns:c15="http://schemas.microsoft.com/office/drawing/2012/chart" uri="{02D57815-91ED-43cb-92C2-25804820EDAC}">
              <c15:datalabelsRange>
                <c15:f>Sheet1!$E$2:$E$10</c15:f>
                <c15:dlblRangeCache>
                  <c:ptCount val="9"/>
                  <c:pt idx="0">
                    <c:v>Chateau Moncontour</c:v>
                  </c:pt>
                  <c:pt idx="1">
                    <c:v>Bouvet-Ladubay</c:v>
                  </c:pt>
                  <c:pt idx="2">
                    <c:v>De Chancen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6"/>
          <c:min val="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3299999999999998"/>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4E20773-2BDD-4797-B0F3-72F0459D772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CADC5EF-372B-4E5F-81CB-837440A0B65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DEE7A4D-B225-41AA-95D9-186F5834510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940CF2A0-DAE5-42AB-851B-DF77452BA03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FEB9F567-51ED-49B4-BFCF-4C3841274E0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962A3000-7D8E-44EA-89DB-518F4A402B0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EEFC4C03-2C67-47AF-A9F2-79DB2B0014C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076B9323-A9AE-4E69-B4FA-0D6E1868E11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1.9748</c:v>
                </c:pt>
                <c:pt idx="1">
                  <c:v>11.4427</c:v>
                </c:pt>
                <c:pt idx="2">
                  <c:v>13.5473</c:v>
                </c:pt>
              </c:numCache>
            </c:numRef>
          </c:xVal>
          <c:yVal>
            <c:numRef>
              <c:f>Sheet1!$B$2:$B$4</c:f>
              <c:numCache>
                <c:formatCode>General</c:formatCode>
                <c:ptCount val="3"/>
                <c:pt idx="0">
                  <c:v>0.96599999999999997</c:v>
                </c:pt>
                <c:pt idx="1">
                  <c:v>0.97499999999999998</c:v>
                </c:pt>
                <c:pt idx="2">
                  <c:v>1.1599999999999999</c:v>
                </c:pt>
              </c:numCache>
            </c:numRef>
          </c:yVal>
          <c:bubbleSize>
            <c:numRef>
              <c:f>Sheet1!$C$2:$C$4</c:f>
              <c:numCache>
                <c:formatCode>General</c:formatCode>
                <c:ptCount val="3"/>
                <c:pt idx="0">
                  <c:v>16609</c:v>
                </c:pt>
                <c:pt idx="1">
                  <c:v>12072</c:v>
                </c:pt>
                <c:pt idx="2">
                  <c:v>8589</c:v>
                </c:pt>
              </c:numCache>
            </c:numRef>
          </c:bubbleSize>
          <c:bubble3D val="0"/>
          <c:extLst>
            <c:ext xmlns:c15="http://schemas.microsoft.com/office/drawing/2012/chart" uri="{02D57815-91ED-43cb-92C2-25804820EDAC}">
              <c15:datalabelsRange>
                <c15:f>Sheet1!$E$2:$E$10</c15:f>
                <c15:dlblRangeCache>
                  <c:ptCount val="9"/>
                  <c:pt idx="0">
                    <c:v>Bouvet-Ladubay</c:v>
                  </c:pt>
                  <c:pt idx="1">
                    <c:v>Chateau Moncontour</c:v>
                  </c:pt>
                  <c:pt idx="2">
                    <c:v>De Chancen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6"/>
          <c:min val="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359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1FCE15F-3B07-4A27-83CC-66D17546E9F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607845A-D6BB-4480-AF20-5D8EB13F8F9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9D1EE5E-DE06-4057-9089-6D480D73044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EDE7D7E0-A521-4CDC-9A00-FD959C85400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50F078DA-BC90-4309-B372-DB8A635BE70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5600DD5D-87A1-4311-B732-E927BEF261F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42188D43-9796-46B6-ADFB-67CA156BBE5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070FDD96-7D0E-4630-871C-BE629DD9E75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1.366199999999999</c:v>
                </c:pt>
                <c:pt idx="1">
                  <c:v>12.0534</c:v>
                </c:pt>
                <c:pt idx="2">
                  <c:v>13.274900000000001</c:v>
                </c:pt>
              </c:numCache>
            </c:numRef>
          </c:xVal>
          <c:yVal>
            <c:numRef>
              <c:f>Sheet1!$B$2:$B$4</c:f>
              <c:numCache>
                <c:formatCode>General</c:formatCode>
                <c:ptCount val="3"/>
                <c:pt idx="0">
                  <c:v>0.96099999999999997</c:v>
                </c:pt>
                <c:pt idx="1">
                  <c:v>0.93700000000000006</c:v>
                </c:pt>
                <c:pt idx="2">
                  <c:v>1.141</c:v>
                </c:pt>
              </c:numCache>
            </c:numRef>
          </c:yVal>
          <c:bubbleSize>
            <c:numRef>
              <c:f>Sheet1!$C$2:$C$4</c:f>
              <c:numCache>
                <c:formatCode>General</c:formatCode>
                <c:ptCount val="3"/>
                <c:pt idx="0">
                  <c:v>10707</c:v>
                </c:pt>
                <c:pt idx="1">
                  <c:v>7220</c:v>
                </c:pt>
                <c:pt idx="2">
                  <c:v>6133</c:v>
                </c:pt>
              </c:numCache>
            </c:numRef>
          </c:bubbleSize>
          <c:bubble3D val="0"/>
          <c:extLst>
            <c:ext xmlns:c15="http://schemas.microsoft.com/office/drawing/2012/chart" uri="{02D57815-91ED-43cb-92C2-25804820EDAC}">
              <c15:datalabelsRange>
                <c15:f>Sheet1!$E$2:$E$10</c15:f>
                <c15:dlblRangeCache>
                  <c:ptCount val="9"/>
                  <c:pt idx="0">
                    <c:v>Chateau Moncontour</c:v>
                  </c:pt>
                  <c:pt idx="1">
                    <c:v>Bouvet-Ladubay</c:v>
                  </c:pt>
                  <c:pt idx="2">
                    <c:v>De Chancen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6"/>
          <c:min val="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341"/>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F6CF6E8-5E1F-4FC5-AAD5-23BB67B3633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24C7541-827E-435D-AC90-DF092192A4B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AA6E1B7-624B-4120-85E3-2BB604F4F93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EA701015-9AD5-4BD2-8618-3867D0F26B7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A76CAF25-A6FD-4A64-9BA5-141558A7207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0396EE81-4811-4B74-87E4-14B80CAC54E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4EC494E7-80BA-4E06-A1BF-45B90CB942C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C89CDAF6-EF17-4C65-B9DC-B2EA98F3309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1.404400000000001</c:v>
                </c:pt>
                <c:pt idx="1">
                  <c:v>11.525499999999999</c:v>
                </c:pt>
                <c:pt idx="2">
                  <c:v>13.9803</c:v>
                </c:pt>
              </c:numCache>
            </c:numRef>
          </c:xVal>
          <c:yVal>
            <c:numRef>
              <c:f>Sheet1!$B$2:$B$4</c:f>
              <c:numCache>
                <c:formatCode>General</c:formatCode>
                <c:ptCount val="3"/>
                <c:pt idx="0">
                  <c:v>0.99099999999999999</c:v>
                </c:pt>
                <c:pt idx="1">
                  <c:v>1.0349999999999999</c:v>
                </c:pt>
                <c:pt idx="2">
                  <c:v>1.2250000000000001</c:v>
                </c:pt>
              </c:numCache>
            </c:numRef>
          </c:yVal>
          <c:bubbleSize>
            <c:numRef>
              <c:f>Sheet1!$C$2:$C$4</c:f>
              <c:numCache>
                <c:formatCode>General</c:formatCode>
                <c:ptCount val="3"/>
                <c:pt idx="0">
                  <c:v>10800</c:v>
                </c:pt>
                <c:pt idx="1">
                  <c:v>5878</c:v>
                </c:pt>
                <c:pt idx="2">
                  <c:v>2125</c:v>
                </c:pt>
              </c:numCache>
            </c:numRef>
          </c:bubbleSize>
          <c:bubble3D val="0"/>
          <c:extLst>
            <c:ext xmlns:c15="http://schemas.microsoft.com/office/drawing/2012/chart" uri="{02D57815-91ED-43cb-92C2-25804820EDAC}">
              <c15:datalabelsRange>
                <c15:f>Sheet1!$E$2:$E$10</c15:f>
                <c15:dlblRangeCache>
                  <c:ptCount val="9"/>
                  <c:pt idx="0">
                    <c:v>Bouvet-Ladubay</c:v>
                  </c:pt>
                  <c:pt idx="1">
                    <c:v>Chateau Moncontour</c:v>
                  </c:pt>
                  <c:pt idx="2">
                    <c:v>De Chancen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7"/>
          <c:min val="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425"/>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1A4F3E3-A90D-4E1C-AB74-20D08276317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70A28B4-78C9-411E-98E9-4C09576A40E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395F788-3AFF-4AD5-9095-F418118C5C4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0896022-2863-4968-AEFD-54B66EF7B67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C7EF52B8-BDEE-4FDB-9FA8-432A9A263B2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A23E5ADB-A098-4903-98D7-3B8FE0C277B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2ED83173-634A-403E-BD10-23C006E6923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73AFDF53-59DA-4192-B05C-17F3A9D627B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11.7005</c:v>
                </c:pt>
                <c:pt idx="1">
                  <c:v>13.552199999999999</c:v>
                </c:pt>
                <c:pt idx="2">
                  <c:v>13.9505</c:v>
                </c:pt>
                <c:pt idx="3">
                  <c:v>9.6153999999999993</c:v>
                </c:pt>
              </c:numCache>
            </c:numRef>
          </c:xVal>
          <c:yVal>
            <c:numRef>
              <c:f>Sheet1!$B$2:$B$5</c:f>
              <c:numCache>
                <c:formatCode>General</c:formatCode>
                <c:ptCount val="4"/>
                <c:pt idx="0">
                  <c:v>1</c:v>
                </c:pt>
                <c:pt idx="1">
                  <c:v>0.97099999999999997</c:v>
                </c:pt>
                <c:pt idx="2">
                  <c:v>1.1890000000000001</c:v>
                </c:pt>
                <c:pt idx="3">
                  <c:v>0.63300000000000001</c:v>
                </c:pt>
              </c:numCache>
            </c:numRef>
          </c:yVal>
          <c:bubbleSize>
            <c:numRef>
              <c:f>Sheet1!$C$2:$C$5</c:f>
              <c:numCache>
                <c:formatCode>General</c:formatCode>
                <c:ptCount val="4"/>
                <c:pt idx="0">
                  <c:v>2188</c:v>
                </c:pt>
                <c:pt idx="1">
                  <c:v>1816</c:v>
                </c:pt>
                <c:pt idx="2">
                  <c:v>1409</c:v>
                </c:pt>
                <c:pt idx="3">
                  <c:v>125</c:v>
                </c:pt>
              </c:numCache>
            </c:numRef>
          </c:bubbleSize>
          <c:bubble3D val="0"/>
          <c:extLst>
            <c:ext xmlns:c15="http://schemas.microsoft.com/office/drawing/2012/chart" uri="{02D57815-91ED-43cb-92C2-25804820EDAC}">
              <c15:datalabelsRange>
                <c15:f>Sheet1!$E$2:$E$10</c15:f>
                <c15:dlblRangeCache>
                  <c:ptCount val="9"/>
                  <c:pt idx="0">
                    <c:v>Chateau Moncontour</c:v>
                  </c:pt>
                  <c:pt idx="1">
                    <c:v>Bouvet-Ladubay</c:v>
                  </c:pt>
                  <c:pt idx="2">
                    <c:v>De Chanceny</c:v>
                  </c:pt>
                  <c:pt idx="3">
                    <c:v>Langloi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7"/>
          <c:min val="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38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D1749BD-8E51-4551-AD4A-180EF3FEDCE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84E364B-4C67-400B-9642-0672FFCFAA3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6737AE4-0427-499B-8ECE-D8B22AFA2CB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B0B5074F-12D7-4DF8-9B85-083DB13A77E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422B3234-0294-4151-9AD5-14A65BEC01F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3C7EBB2A-4702-40D8-9713-2F48283AF41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951F39C9-BDCA-4AF2-BDA2-0E52A224214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564E33A5-0E90-4940-9A00-90FF5A04CA8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1.3108</c:v>
                </c:pt>
                <c:pt idx="1">
                  <c:v>11.7963</c:v>
                </c:pt>
                <c:pt idx="2">
                  <c:v>13.266400000000001</c:v>
                </c:pt>
              </c:numCache>
            </c:numRef>
          </c:xVal>
          <c:yVal>
            <c:numRef>
              <c:f>Sheet1!$B$2:$B$4</c:f>
              <c:numCache>
                <c:formatCode>General</c:formatCode>
                <c:ptCount val="3"/>
                <c:pt idx="0">
                  <c:v>0.95299999999999996</c:v>
                </c:pt>
                <c:pt idx="1">
                  <c:v>0.94699999999999995</c:v>
                </c:pt>
                <c:pt idx="2">
                  <c:v>1.115</c:v>
                </c:pt>
              </c:numCache>
            </c:numRef>
          </c:yVal>
          <c:bubbleSize>
            <c:numRef>
              <c:f>Sheet1!$C$2:$C$4</c:f>
              <c:numCache>
                <c:formatCode>General</c:formatCode>
                <c:ptCount val="3"/>
                <c:pt idx="0">
                  <c:v>64924</c:v>
                </c:pt>
                <c:pt idx="1">
                  <c:v>64278</c:v>
                </c:pt>
                <c:pt idx="2">
                  <c:v>37597</c:v>
                </c:pt>
              </c:numCache>
            </c:numRef>
          </c:bubbleSize>
          <c:bubble3D val="0"/>
          <c:extLst>
            <c:ext xmlns:c15="http://schemas.microsoft.com/office/drawing/2012/chart" uri="{02D57815-91ED-43cb-92C2-25804820EDAC}">
              <c15:datalabelsRange>
                <c15:f>Sheet1!$E$2:$E$10</c15:f>
                <c15:dlblRangeCache>
                  <c:ptCount val="9"/>
                  <c:pt idx="0">
                    <c:v>Chateau Moncontour</c:v>
                  </c:pt>
                  <c:pt idx="1">
                    <c:v>Bouvet-Ladubay</c:v>
                  </c:pt>
                  <c:pt idx="2">
                    <c:v>De Chancen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6"/>
          <c:min val="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314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65FB910-354A-40F4-8E0B-0A39B32D013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297F82B-87F7-4F8D-BC02-594406AC761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867BAC4-4A94-4651-B39E-11191F3CCBF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F6F5FF18-6CB3-454B-AC9B-1EDEE7AF94E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AB1224EC-D5E7-4793-81D8-3D98C2EA2B0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F0360C69-2EBC-45CB-8753-F04B2C21C05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D02A10B3-FA91-4219-9643-1570051FEC4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59FD709D-9697-4C34-B5A1-CF3BC8C1F47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1.6388</c:v>
                </c:pt>
                <c:pt idx="1">
                  <c:v>11.379899999999999</c:v>
                </c:pt>
                <c:pt idx="2">
                  <c:v>13.565200000000001</c:v>
                </c:pt>
              </c:numCache>
            </c:numRef>
          </c:xVal>
          <c:yVal>
            <c:numRef>
              <c:f>Sheet1!$B$2:$B$4</c:f>
              <c:numCache>
                <c:formatCode>General</c:formatCode>
                <c:ptCount val="3"/>
                <c:pt idx="0">
                  <c:v>0.97599999999999998</c:v>
                </c:pt>
                <c:pt idx="1">
                  <c:v>0.98899999999999999</c:v>
                </c:pt>
                <c:pt idx="2">
                  <c:v>1.177</c:v>
                </c:pt>
              </c:numCache>
            </c:numRef>
          </c:yVal>
          <c:bubbleSize>
            <c:numRef>
              <c:f>Sheet1!$C$2:$C$4</c:f>
              <c:numCache>
                <c:formatCode>General</c:formatCode>
                <c:ptCount val="3"/>
                <c:pt idx="0">
                  <c:v>50745</c:v>
                </c:pt>
                <c:pt idx="1">
                  <c:v>43528</c:v>
                </c:pt>
                <c:pt idx="2">
                  <c:v>23088</c:v>
                </c:pt>
              </c:numCache>
            </c:numRef>
          </c:bubbleSize>
          <c:bubble3D val="0"/>
          <c:extLst>
            <c:ext xmlns:c15="http://schemas.microsoft.com/office/drawing/2012/chart" uri="{02D57815-91ED-43cb-92C2-25804820EDAC}">
              <c15:datalabelsRange>
                <c15:f>Sheet1!$E$2:$E$10</c15:f>
                <c15:dlblRangeCache>
                  <c:ptCount val="9"/>
                  <c:pt idx="0">
                    <c:v>Bouvet-Ladubay</c:v>
                  </c:pt>
                  <c:pt idx="1">
                    <c:v>Chateau Moncontour</c:v>
                  </c:pt>
                  <c:pt idx="2">
                    <c:v>De Chancen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6"/>
          <c:min val="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377"/>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4EAD861-F45F-40EC-A8BC-343CB1D3E9E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0B7670A-C9DF-441A-8D3B-38224E6CE02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F1D963D-CB19-4F2D-8145-C1BECFB9838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8C5C4973-5884-4627-976A-1C5001D2122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CB07C4D0-C9BA-4BA4-BA8E-3F6641948C7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1B72566D-92F3-4FA4-B59C-A45E0D59177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A3CA313A-AC50-4C31-B42C-7CE38248DF9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F166165B-E015-4BBB-A30D-D9034C4B7DC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1.7463</c:v>
                </c:pt>
                <c:pt idx="1">
                  <c:v>11.4129</c:v>
                </c:pt>
                <c:pt idx="2">
                  <c:v>13.5061</c:v>
                </c:pt>
              </c:numCache>
            </c:numRef>
          </c:xVal>
          <c:yVal>
            <c:numRef>
              <c:f>Sheet1!$B$2:$B$4</c:f>
              <c:numCache>
                <c:formatCode>General</c:formatCode>
                <c:ptCount val="3"/>
                <c:pt idx="0">
                  <c:v>0.96699999999999997</c:v>
                </c:pt>
                <c:pt idx="1">
                  <c:v>0.97799999999999998</c:v>
                </c:pt>
                <c:pt idx="2">
                  <c:v>1.155</c:v>
                </c:pt>
              </c:numCache>
            </c:numRef>
          </c:yVal>
          <c:bubbleSize>
            <c:numRef>
              <c:f>Sheet1!$C$2:$C$4</c:f>
              <c:numCache>
                <c:formatCode>General</c:formatCode>
                <c:ptCount val="3"/>
                <c:pt idx="0">
                  <c:v>74413</c:v>
                </c:pt>
                <c:pt idx="1">
                  <c:v>70235</c:v>
                </c:pt>
                <c:pt idx="2">
                  <c:v>42355</c:v>
                </c:pt>
              </c:numCache>
            </c:numRef>
          </c:bubbleSize>
          <c:bubble3D val="0"/>
          <c:extLst>
            <c:ext xmlns:c15="http://schemas.microsoft.com/office/drawing/2012/chart" uri="{02D57815-91ED-43cb-92C2-25804820EDAC}">
              <c15:datalabelsRange>
                <c15:f>Sheet1!$E$2:$E$10</c15:f>
                <c15:dlblRangeCache>
                  <c:ptCount val="9"/>
                  <c:pt idx="0">
                    <c:v>Bouvet-Ladubay</c:v>
                  </c:pt>
                  <c:pt idx="1">
                    <c:v>Chateau Moncontour</c:v>
                  </c:pt>
                  <c:pt idx="2">
                    <c:v>De Chancen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6"/>
          <c:min val="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355"/>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F3B1A34-552B-447C-A173-0BBF4FA0BD4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9C2D128-CA01-4048-AB57-E305FAB5F34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6CDF73C-CEAF-4D0D-A37E-DACEB2E40AF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BF63996-459C-4654-BC46-50BF752864D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0C43318-9035-4B12-A5FA-068AF27DBB7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61EDF23-84A0-4FC2-8495-346E7D7DB9B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321E713-E20B-4FF5-8A7D-34099882A8F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469B62F6-B427-46A3-8AED-A4DC5694599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60.01900000000001</c:v>
                </c:pt>
                <c:pt idx="1">
                  <c:v>167.18049999999999</c:v>
                </c:pt>
                <c:pt idx="2">
                  <c:v>91.93</c:v>
                </c:pt>
                <c:pt idx="3">
                  <c:v>37.241900000000001</c:v>
                </c:pt>
                <c:pt idx="4">
                  <c:v>65.030100000000004</c:v>
                </c:pt>
                <c:pt idx="5">
                  <c:v>232.976</c:v>
                </c:pt>
                <c:pt idx="6">
                  <c:v>63.533799999999999</c:v>
                </c:pt>
                <c:pt idx="7">
                  <c:v>264.97140000000002</c:v>
                </c:pt>
              </c:numCache>
            </c:numRef>
          </c:xVal>
          <c:yVal>
            <c:numRef>
              <c:f>Sheet1!$B$2:$B$9</c:f>
              <c:numCache>
                <c:formatCode>General</c:formatCode>
                <c:ptCount val="8"/>
                <c:pt idx="0">
                  <c:v>1.954</c:v>
                </c:pt>
                <c:pt idx="1">
                  <c:v>1.238</c:v>
                </c:pt>
                <c:pt idx="2">
                  <c:v>0.69099999999999995</c:v>
                </c:pt>
                <c:pt idx="3">
                  <c:v>0.28100000000000003</c:v>
                </c:pt>
                <c:pt idx="4">
                  <c:v>0.46800000000000003</c:v>
                </c:pt>
                <c:pt idx="5">
                  <c:v>1.7110000000000001</c:v>
                </c:pt>
                <c:pt idx="6">
                  <c:v>0.48199999999999998</c:v>
                </c:pt>
                <c:pt idx="7">
                  <c:v>1.7989999999999999</c:v>
                </c:pt>
              </c:numCache>
            </c:numRef>
          </c:yVal>
          <c:bubbleSize>
            <c:numRef>
              <c:f>Sheet1!$C$2:$C$9</c:f>
              <c:numCache>
                <c:formatCode>General</c:formatCode>
                <c:ptCount val="8"/>
                <c:pt idx="0">
                  <c:v>1119642</c:v>
                </c:pt>
                <c:pt idx="1">
                  <c:v>625088</c:v>
                </c:pt>
                <c:pt idx="2">
                  <c:v>247016</c:v>
                </c:pt>
                <c:pt idx="3">
                  <c:v>189077</c:v>
                </c:pt>
                <c:pt idx="4">
                  <c:v>101707</c:v>
                </c:pt>
                <c:pt idx="5">
                  <c:v>77814</c:v>
                </c:pt>
                <c:pt idx="6">
                  <c:v>41297</c:v>
                </c:pt>
                <c:pt idx="7">
                  <c:v>37096</c:v>
                </c:pt>
              </c:numCache>
            </c:numRef>
          </c:bubbleSize>
          <c:bubble3D val="0"/>
          <c:extLst>
            <c:ext xmlns:c15="http://schemas.microsoft.com/office/drawing/2012/chart" uri="{02D57815-91ED-43cb-92C2-25804820EDAC}">
              <c15:datalabelsRange>
                <c15:f>Sheet1!$E$2:$E$10</c15:f>
                <c15:dlblRangeCache>
                  <c:ptCount val="9"/>
                  <c:pt idx="0">
                    <c:v>Dom Perignon</c:v>
                  </c:pt>
                  <c:pt idx="1">
                    <c:v>Roederer</c:v>
                  </c:pt>
                  <c:pt idx="2">
                    <c:v>Ruinart</c:v>
                  </c:pt>
                  <c:pt idx="3">
                    <c:v>Malard</c:v>
                  </c:pt>
                  <c:pt idx="4">
                    <c:v>Laurent Perrier</c:v>
                  </c:pt>
                  <c:pt idx="5">
                    <c:v>Bollinger</c:v>
                  </c:pt>
                  <c:pt idx="6">
                    <c:v>Moët &amp; Chandon</c:v>
                  </c:pt>
                  <c:pt idx="7">
                    <c:v>Piper Heidsieck</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18"/>
          <c:min val="30"/>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6491FA4-8288-4916-BB99-335032048C2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F3EC795-E56C-4D6E-99C2-33000B12D0B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3450B4E-2F35-4F08-93F5-CF3CF2078D2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9C3E286B-59A5-48E7-A56B-C5420118D32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0D48FF90-16A1-49CA-B74D-DE880E09751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8560084D-5FC0-4FDB-84F4-94315BFE475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B50A0B2A-F143-4683-8AA6-F7A45F413B1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629AC237-0401-4146-8372-4952DF0F412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1.9292</c:v>
                </c:pt>
                <c:pt idx="1">
                  <c:v>11.428000000000001</c:v>
                </c:pt>
                <c:pt idx="2">
                  <c:v>13.4643</c:v>
                </c:pt>
              </c:numCache>
            </c:numRef>
          </c:xVal>
          <c:yVal>
            <c:numRef>
              <c:f>Sheet1!$B$2:$B$4</c:f>
              <c:numCache>
                <c:formatCode>General</c:formatCode>
                <c:ptCount val="3"/>
                <c:pt idx="0">
                  <c:v>0.97</c:v>
                </c:pt>
                <c:pt idx="1">
                  <c:v>0.98399999999999999</c:v>
                </c:pt>
                <c:pt idx="2">
                  <c:v>1.1579999999999999</c:v>
                </c:pt>
              </c:numCache>
            </c:numRef>
          </c:yVal>
          <c:bubbleSize>
            <c:numRef>
              <c:f>Sheet1!$C$2:$C$4</c:f>
              <c:numCache>
                <c:formatCode>General</c:formatCode>
                <c:ptCount val="3"/>
                <c:pt idx="0">
                  <c:v>55399</c:v>
                </c:pt>
                <c:pt idx="1">
                  <c:v>53220</c:v>
                </c:pt>
                <c:pt idx="2">
                  <c:v>27871</c:v>
                </c:pt>
              </c:numCache>
            </c:numRef>
          </c:bubbleSize>
          <c:bubble3D val="0"/>
          <c:extLst>
            <c:ext xmlns:c15="http://schemas.microsoft.com/office/drawing/2012/chart" uri="{02D57815-91ED-43cb-92C2-25804820EDAC}">
              <c15:datalabelsRange>
                <c15:f>Sheet1!$E$2:$E$10</c15:f>
                <c15:dlblRangeCache>
                  <c:ptCount val="9"/>
                  <c:pt idx="0">
                    <c:v>Bouvet-Ladubay</c:v>
                  </c:pt>
                  <c:pt idx="1">
                    <c:v>Chateau Moncontour</c:v>
                  </c:pt>
                  <c:pt idx="2">
                    <c:v>De Chancen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6"/>
          <c:min val="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357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BFF52B0-F9F3-4F01-BF67-454447FB2F5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E897413-E2E3-40D7-BFBA-27ABCC8A0AB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8B7505F-E141-4AFE-9746-BADDB56A296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856F5420-C2FA-450D-82DB-A5C553F03E4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331722EF-149B-413B-83F6-EA4CB52763D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21A5A101-2A47-4434-B1CA-268567F0AB1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EEE914F5-4574-456F-B0DD-2FDE5FD3750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5A855116-4C60-491D-88B1-E98B0494B30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1.856400000000001</c:v>
                </c:pt>
                <c:pt idx="1">
                  <c:v>11.451599999999999</c:v>
                </c:pt>
                <c:pt idx="2">
                  <c:v>13.463800000000001</c:v>
                </c:pt>
              </c:numCache>
            </c:numRef>
          </c:xVal>
          <c:yVal>
            <c:numRef>
              <c:f>Sheet1!$B$2:$B$4</c:f>
              <c:numCache>
                <c:formatCode>General</c:formatCode>
                <c:ptCount val="3"/>
                <c:pt idx="0">
                  <c:v>0.98299999999999998</c:v>
                </c:pt>
                <c:pt idx="1">
                  <c:v>1.0129999999999999</c:v>
                </c:pt>
                <c:pt idx="2">
                  <c:v>1.1910000000000001</c:v>
                </c:pt>
              </c:numCache>
            </c:numRef>
          </c:yVal>
          <c:bubbleSize>
            <c:numRef>
              <c:f>Sheet1!$C$2:$C$4</c:f>
              <c:numCache>
                <c:formatCode>General</c:formatCode>
                <c:ptCount val="3"/>
                <c:pt idx="0">
                  <c:v>60420</c:v>
                </c:pt>
                <c:pt idx="1">
                  <c:v>50536</c:v>
                </c:pt>
                <c:pt idx="2">
                  <c:v>27143</c:v>
                </c:pt>
              </c:numCache>
            </c:numRef>
          </c:bubbleSize>
          <c:bubble3D val="0"/>
          <c:extLst>
            <c:ext xmlns:c15="http://schemas.microsoft.com/office/drawing/2012/chart" uri="{02D57815-91ED-43cb-92C2-25804820EDAC}">
              <c15:datalabelsRange>
                <c15:f>Sheet1!$E$2:$E$10</c15:f>
                <c15:dlblRangeCache>
                  <c:ptCount val="9"/>
                  <c:pt idx="0">
                    <c:v>Bouvet-Ladubay</c:v>
                  </c:pt>
                  <c:pt idx="1">
                    <c:v>Chateau Moncontour</c:v>
                  </c:pt>
                  <c:pt idx="2">
                    <c:v>De Chancen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6"/>
          <c:min val="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391"/>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C3CBDD3-E828-4D97-A932-33A6EF8D1E2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278C5D9-9702-438B-B7EB-493CF5FF33B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5BBAC10-59EC-4399-80FD-D98378C228B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651973D-0CD6-4891-B806-9B5BD3FF166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17FA60D-681F-465E-9DC0-07507BED4D6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C4C795A-D326-47CE-AAEC-719A50C6F26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1A2E099E-FB2F-45E0-B676-2EA2C566771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D06DF050-9D23-430C-8ABB-41E9517775D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7.1054000000000004</c:v>
                </c:pt>
                <c:pt idx="1">
                  <c:v>6.3410000000000002</c:v>
                </c:pt>
                <c:pt idx="2">
                  <c:v>7.1822999999999997</c:v>
                </c:pt>
                <c:pt idx="3">
                  <c:v>7.6665999999999999</c:v>
                </c:pt>
                <c:pt idx="4">
                  <c:v>7.1292999999999997</c:v>
                </c:pt>
                <c:pt idx="5">
                  <c:v>5.9306000000000001</c:v>
                </c:pt>
                <c:pt idx="6">
                  <c:v>6.8876999999999997</c:v>
                </c:pt>
                <c:pt idx="7">
                  <c:v>6.9467999999999996</c:v>
                </c:pt>
              </c:numCache>
            </c:numRef>
          </c:xVal>
          <c:yVal>
            <c:numRef>
              <c:f>Sheet1!$B$2:$B$9</c:f>
              <c:numCache>
                <c:formatCode>General</c:formatCode>
                <c:ptCount val="8"/>
                <c:pt idx="0">
                  <c:v>0.96499999999999997</c:v>
                </c:pt>
                <c:pt idx="1">
                  <c:v>1.153</c:v>
                </c:pt>
                <c:pt idx="2">
                  <c:v>1.0580000000000001</c:v>
                </c:pt>
                <c:pt idx="3">
                  <c:v>1.3049999999999999</c:v>
                </c:pt>
                <c:pt idx="4">
                  <c:v>0.96299999999999997</c:v>
                </c:pt>
                <c:pt idx="5">
                  <c:v>0.37</c:v>
                </c:pt>
                <c:pt idx="6">
                  <c:v>0.89300000000000002</c:v>
                </c:pt>
                <c:pt idx="7">
                  <c:v>0.93400000000000005</c:v>
                </c:pt>
              </c:numCache>
            </c:numRef>
          </c:yVal>
          <c:bubbleSize>
            <c:numRef>
              <c:f>Sheet1!$C$2:$C$9</c:f>
              <c:numCache>
                <c:formatCode>General</c:formatCode>
                <c:ptCount val="8"/>
                <c:pt idx="0">
                  <c:v>32603771</c:v>
                </c:pt>
                <c:pt idx="1">
                  <c:v>28541428</c:v>
                </c:pt>
                <c:pt idx="2">
                  <c:v>16692146</c:v>
                </c:pt>
                <c:pt idx="3">
                  <c:v>2899640</c:v>
                </c:pt>
                <c:pt idx="4">
                  <c:v>2432770</c:v>
                </c:pt>
                <c:pt idx="5">
                  <c:v>1442399</c:v>
                </c:pt>
                <c:pt idx="6">
                  <c:v>1348354</c:v>
                </c:pt>
                <c:pt idx="7">
                  <c:v>1286705</c:v>
                </c:pt>
              </c:numCache>
            </c:numRef>
          </c:bubbleSize>
          <c:bubble3D val="0"/>
          <c:extLst>
            <c:ext xmlns:c15="http://schemas.microsoft.com/office/drawing/2012/chart" uri="{02D57815-91ED-43cb-92C2-25804820EDAC}">
              <c15:datalabelsRange>
                <c15:f>Sheet1!$E$2:$E$10</c15:f>
                <c15:dlblRangeCache>
                  <c:ptCount val="9"/>
                  <c:pt idx="0">
                    <c:v>Wolfberger</c:v>
                  </c:pt>
                  <c:pt idx="1">
                    <c:v>Mdd</c:v>
                  </c:pt>
                  <c:pt idx="2">
                    <c:v>Arthur Metz</c:v>
                  </c:pt>
                  <c:pt idx="3">
                    <c:v>Bestheim</c:v>
                  </c:pt>
                  <c:pt idx="4">
                    <c:v>Cave Beblenheim</c:v>
                  </c:pt>
                  <c:pt idx="5">
                    <c:v>Les Caves Lentz</c:v>
                  </c:pt>
                  <c:pt idx="6">
                    <c:v>Geiler Jean</c:v>
                  </c:pt>
                  <c:pt idx="7">
                    <c:v>Dopff</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9"/>
          <c:min val="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04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7283821-B79D-4498-AE5C-A6194C38F62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C91E1788-3EF9-423E-A1C7-F2857896D40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2D3F4225-B5F8-485A-AE18-DEBA49127F2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1CC3C20D-DCF8-4467-AA1B-38168D86F03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63A3CDA3-B374-4B88-9700-F9CE4CA8241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63C71988-313A-4979-A02D-05C9C41602E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98AE7851-30E0-44B1-BA75-5202EB4A93E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9D970B22-606C-4E44-8AEB-FB4F833C3AF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7.4328</c:v>
                </c:pt>
              </c:numCache>
            </c:numRef>
          </c:xVal>
          <c:yVal>
            <c:numRef>
              <c:f>Sheet1!$B$2:$B$2</c:f>
              <c:numCache>
                <c:formatCode>General</c:formatCode>
                <c:ptCount val="1"/>
                <c:pt idx="0">
                  <c:v>1.163</c:v>
                </c:pt>
              </c:numCache>
            </c:numRef>
          </c:yVal>
          <c:bubbleSize>
            <c:numRef>
              <c:f>Sheet1!$C$2:$C$2</c:f>
              <c:numCache>
                <c:formatCode>General</c:formatCode>
                <c:ptCount val="1"/>
                <c:pt idx="0">
                  <c:v>388332</c:v>
                </c:pt>
              </c:numCache>
            </c:numRef>
          </c:bubbleSize>
          <c:bubble3D val="0"/>
          <c:extLst>
            <c:ext xmlns:c15="http://schemas.microsoft.com/office/drawing/2012/chart" uri="{02D57815-91ED-43cb-92C2-25804820EDAC}">
              <c15:datalabelsRange>
                <c15:f>Sheet1!$E$2:$E$10</c15:f>
                <c15:dlblRangeCache>
                  <c:ptCount val="9"/>
                  <c:pt idx="0">
                    <c:v>Mur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
          <c:min val="1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363"/>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BF045F2-C1DC-455F-877C-CCB4C71F837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7814BF5-71DE-4B56-A093-17C64BADF81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5A1B1EA-936E-47BC-B873-2781559E86E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70B4B28-8F24-4D9A-ACB0-5B27D4048AE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1700F71-F32F-4851-8316-96650261618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0B6D4E0-228C-4FBB-B36E-1037AB65305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C63AB4E-1450-48D3-B25F-33A40F581E6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7F1750BE-ECAD-45B2-8FA0-D89EFC4173C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7.1054000000000004</c:v>
                </c:pt>
                <c:pt idx="1">
                  <c:v>6.3410000000000002</c:v>
                </c:pt>
                <c:pt idx="2">
                  <c:v>7.1822999999999997</c:v>
                </c:pt>
                <c:pt idx="3">
                  <c:v>7.6665999999999999</c:v>
                </c:pt>
                <c:pt idx="4">
                  <c:v>7.1292999999999997</c:v>
                </c:pt>
                <c:pt idx="5">
                  <c:v>5.9306000000000001</c:v>
                </c:pt>
                <c:pt idx="6">
                  <c:v>6.8876999999999997</c:v>
                </c:pt>
                <c:pt idx="7">
                  <c:v>6.9467999999999996</c:v>
                </c:pt>
              </c:numCache>
            </c:numRef>
          </c:xVal>
          <c:yVal>
            <c:numRef>
              <c:f>Sheet1!$B$2:$B$9</c:f>
              <c:numCache>
                <c:formatCode>General</c:formatCode>
                <c:ptCount val="8"/>
                <c:pt idx="0">
                  <c:v>0.96799999999999997</c:v>
                </c:pt>
                <c:pt idx="1">
                  <c:v>1.157</c:v>
                </c:pt>
                <c:pt idx="2">
                  <c:v>1.0609999999999999</c:v>
                </c:pt>
                <c:pt idx="3">
                  <c:v>1.3089999999999999</c:v>
                </c:pt>
                <c:pt idx="4">
                  <c:v>0.96599999999999997</c:v>
                </c:pt>
                <c:pt idx="5">
                  <c:v>0.371</c:v>
                </c:pt>
                <c:pt idx="6">
                  <c:v>0.89600000000000002</c:v>
                </c:pt>
                <c:pt idx="7">
                  <c:v>0.93700000000000006</c:v>
                </c:pt>
              </c:numCache>
            </c:numRef>
          </c:yVal>
          <c:bubbleSize>
            <c:numRef>
              <c:f>Sheet1!$C$2:$C$9</c:f>
              <c:numCache>
                <c:formatCode>General</c:formatCode>
                <c:ptCount val="8"/>
                <c:pt idx="0">
                  <c:v>32603771</c:v>
                </c:pt>
                <c:pt idx="1">
                  <c:v>28541428</c:v>
                </c:pt>
                <c:pt idx="2">
                  <c:v>16692146</c:v>
                </c:pt>
                <c:pt idx="3">
                  <c:v>2899640</c:v>
                </c:pt>
                <c:pt idx="4">
                  <c:v>2432770</c:v>
                </c:pt>
                <c:pt idx="5">
                  <c:v>1442399</c:v>
                </c:pt>
                <c:pt idx="6">
                  <c:v>1348354</c:v>
                </c:pt>
                <c:pt idx="7">
                  <c:v>1286705</c:v>
                </c:pt>
              </c:numCache>
            </c:numRef>
          </c:bubbleSize>
          <c:bubble3D val="0"/>
          <c:extLst>
            <c:ext xmlns:c15="http://schemas.microsoft.com/office/drawing/2012/chart" uri="{02D57815-91ED-43cb-92C2-25804820EDAC}">
              <c15:datalabelsRange>
                <c15:f>Sheet1!$E$2:$E$10</c15:f>
                <c15:dlblRangeCache>
                  <c:ptCount val="9"/>
                  <c:pt idx="0">
                    <c:v>Wolfberger</c:v>
                  </c:pt>
                  <c:pt idx="1">
                    <c:v>Mdd</c:v>
                  </c:pt>
                  <c:pt idx="2">
                    <c:v>Arthur Metz</c:v>
                  </c:pt>
                  <c:pt idx="3">
                    <c:v>Bestheim</c:v>
                  </c:pt>
                  <c:pt idx="4">
                    <c:v>Cave Beblenheim</c:v>
                  </c:pt>
                  <c:pt idx="5">
                    <c:v>Les Caves Lentz</c:v>
                  </c:pt>
                  <c:pt idx="6">
                    <c:v>Geiler Jean</c:v>
                  </c:pt>
                  <c:pt idx="7">
                    <c:v>Dopff</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9"/>
          <c:min val="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08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F179145-C247-4955-8390-082A222038A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F2E5E963-F5E6-485B-9E9E-474C2F26C98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EBFE596B-265B-4E9E-948E-FA2E0ECAF5A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3697A14D-513F-4BA9-A6BA-079AF695328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6AC9CF65-4680-4D70-8CAD-C6C9DAF49B1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3A8E16D2-C09A-47D4-8AB2-57E11F09D96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9EFE8A52-2C35-428E-A5ED-0C0ABC22C32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4CCDCA2A-6974-40A7-87E3-79E0C28CDE5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7.365300000000001</c:v>
                </c:pt>
              </c:numCache>
            </c:numRef>
          </c:xVal>
          <c:yVal>
            <c:numRef>
              <c:f>Sheet1!$B$2:$B$2</c:f>
              <c:numCache>
                <c:formatCode>General</c:formatCode>
                <c:ptCount val="1"/>
                <c:pt idx="0">
                  <c:v>1.1200000000000001</c:v>
                </c:pt>
              </c:numCache>
            </c:numRef>
          </c:yVal>
          <c:bubbleSize>
            <c:numRef>
              <c:f>Sheet1!$C$2:$C$2</c:f>
              <c:numCache>
                <c:formatCode>General</c:formatCode>
                <c:ptCount val="1"/>
                <c:pt idx="0">
                  <c:v>179505</c:v>
                </c:pt>
              </c:numCache>
            </c:numRef>
          </c:bubbleSize>
          <c:bubble3D val="0"/>
          <c:extLst>
            <c:ext xmlns:c15="http://schemas.microsoft.com/office/drawing/2012/chart" uri="{02D57815-91ED-43cb-92C2-25804820EDAC}">
              <c15:datalabelsRange>
                <c15:f>Sheet1!$E$2:$E$10</c15:f>
                <c15:dlblRangeCache>
                  <c:ptCount val="9"/>
                  <c:pt idx="0">
                    <c:v>Mur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
          <c:min val="1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32"/>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9AA09E4-46E1-4E73-946F-7AE90228F36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5DDA1BAC-D3D6-4F68-8057-FF73ECC18B8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44935801-EE3B-4F29-AF0D-296FB593CB7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9376A1C8-99D9-4681-AD47-A76C417EF9A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89678969-081A-45C0-8B5A-213B5BF4A8F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6CC1EACC-CC31-4970-A460-16AFCBE243A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623ED15A-85AB-4C1E-93FF-CC0E9EEB61E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975FE8E4-3405-41FA-88AC-AE5D6BD9333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7.401599999999998</c:v>
                </c:pt>
              </c:numCache>
            </c:numRef>
          </c:xVal>
          <c:yVal>
            <c:numRef>
              <c:f>Sheet1!$B$2:$B$2</c:f>
              <c:numCache>
                <c:formatCode>General</c:formatCode>
                <c:ptCount val="1"/>
                <c:pt idx="0">
                  <c:v>1.0229999999999999</c:v>
                </c:pt>
              </c:numCache>
            </c:numRef>
          </c:yVal>
          <c:bubbleSize>
            <c:numRef>
              <c:f>Sheet1!$C$2:$C$2</c:f>
              <c:numCache>
                <c:formatCode>General</c:formatCode>
                <c:ptCount val="1"/>
                <c:pt idx="0">
                  <c:v>74009</c:v>
                </c:pt>
              </c:numCache>
            </c:numRef>
          </c:bubbleSize>
          <c:bubble3D val="0"/>
          <c:extLst>
            <c:ext xmlns:c15="http://schemas.microsoft.com/office/drawing/2012/chart" uri="{02D57815-91ED-43cb-92C2-25804820EDAC}">
              <c15:datalabelsRange>
                <c15:f>Sheet1!$E$2:$E$10</c15:f>
                <c15:dlblRangeCache>
                  <c:ptCount val="9"/>
                  <c:pt idx="0">
                    <c:v>Mur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
          <c:min val="1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22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57F1BE9-4E0F-4920-ABE9-ABC23507DBC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1EA9BBD7-AF73-4449-8F13-24CB98A0F46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F3F016CC-06B8-4B64-B9B4-A88DDD0C337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11CB7F89-0F78-490A-BB5B-058DF45AF8F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6C351062-2F82-42F0-B094-C34D2009F5F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FD65D4FF-76B7-468B-B693-A5C299BD3A4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9CB8E67C-CBE2-4FA8-B4EE-45D8631489F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F4AC916B-A347-47E2-9665-A8C1EE50EE9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7.555099999999999</c:v>
                </c:pt>
              </c:numCache>
            </c:numRef>
          </c:xVal>
          <c:yVal>
            <c:numRef>
              <c:f>Sheet1!$B$2:$B$2</c:f>
              <c:numCache>
                <c:formatCode>General</c:formatCode>
                <c:ptCount val="1"/>
                <c:pt idx="0">
                  <c:v>1.2589999999999999</c:v>
                </c:pt>
              </c:numCache>
            </c:numRef>
          </c:yVal>
          <c:bubbleSize>
            <c:numRef>
              <c:f>Sheet1!$C$2:$C$2</c:f>
              <c:numCache>
                <c:formatCode>General</c:formatCode>
                <c:ptCount val="1"/>
                <c:pt idx="0">
                  <c:v>51331</c:v>
                </c:pt>
              </c:numCache>
            </c:numRef>
          </c:bubbleSize>
          <c:bubble3D val="0"/>
          <c:extLst>
            <c:ext xmlns:c15="http://schemas.microsoft.com/office/drawing/2012/chart" uri="{02D57815-91ED-43cb-92C2-25804820EDAC}">
              <c15:datalabelsRange>
                <c15:f>Sheet1!$E$2:$E$10</c15:f>
                <c15:dlblRangeCache>
                  <c:ptCount val="9"/>
                  <c:pt idx="0">
                    <c:v>Mur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
          <c:min val="1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458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C19D991-164C-40D2-A058-396BDF1B60C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61EB7E22-4889-493D-BB5B-5986B1AF681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949CC0E8-0943-4C1C-A347-A0C296EA8CD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07C0B725-00DD-464C-AEE6-E0B79C97E6E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9B6FC766-C38B-4251-8798-97F8C529FC3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40189CD5-4C6A-4C3D-A36B-394929946BA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A4539FF8-F137-44CD-A009-80B08FE70F3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EC17A30B-5708-4777-964E-0933199742F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7.4514</c:v>
                </c:pt>
              </c:numCache>
            </c:numRef>
          </c:xVal>
          <c:yVal>
            <c:numRef>
              <c:f>Sheet1!$B$2:$B$2</c:f>
              <c:numCache>
                <c:formatCode>General</c:formatCode>
                <c:ptCount val="1"/>
                <c:pt idx="0">
                  <c:v>1</c:v>
                </c:pt>
              </c:numCache>
            </c:numRef>
          </c:yVal>
          <c:bubbleSize>
            <c:numRef>
              <c:f>Sheet1!$C$2:$C$2</c:f>
              <c:numCache>
                <c:formatCode>General</c:formatCode>
                <c:ptCount val="1"/>
                <c:pt idx="0">
                  <c:v>16893</c:v>
                </c:pt>
              </c:numCache>
            </c:numRef>
          </c:bubbleSize>
          <c:bubble3D val="0"/>
          <c:extLst>
            <c:ext xmlns:c15="http://schemas.microsoft.com/office/drawing/2012/chart" uri="{02D57815-91ED-43cb-92C2-25804820EDAC}">
              <c15:datalabelsRange>
                <c15:f>Sheet1!$E$2:$E$10</c15:f>
                <c15:dlblRangeCache>
                  <c:ptCount val="9"/>
                  <c:pt idx="0">
                    <c:v>Mur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
          <c:min val="1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2AE6451-E05A-4486-B259-438371C4226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493FAF79-3009-45F8-AF43-75CD62A3B14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CC228CE4-B727-4DA9-9F87-99FB376E0C5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C4133F20-A554-46B0-A209-0F172B99927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EC59EEC9-5785-4EE2-A522-FF2AFD6AC34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9DB9CC16-0818-41E6-8C35-DCE63641A49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6143B8EA-6067-4759-B0B6-BBE1A1DF59C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FA8862A6-3E2C-4F05-B822-A2095648D3F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7.843299999999999</c:v>
                </c:pt>
              </c:numCache>
            </c:numRef>
          </c:xVal>
          <c:yVal>
            <c:numRef>
              <c:f>Sheet1!$B$2:$B$2</c:f>
              <c:numCache>
                <c:formatCode>General</c:formatCode>
                <c:ptCount val="1"/>
                <c:pt idx="0">
                  <c:v>1.3560000000000001</c:v>
                </c:pt>
              </c:numCache>
            </c:numRef>
          </c:yVal>
          <c:bubbleSize>
            <c:numRef>
              <c:f>Sheet1!$C$2:$C$2</c:f>
              <c:numCache>
                <c:formatCode>General</c:formatCode>
                <c:ptCount val="1"/>
                <c:pt idx="0">
                  <c:v>21519</c:v>
                </c:pt>
              </c:numCache>
            </c:numRef>
          </c:bubbleSize>
          <c:bubble3D val="0"/>
          <c:extLst>
            <c:ext xmlns:c15="http://schemas.microsoft.com/office/drawing/2012/chart" uri="{02D57815-91ED-43cb-92C2-25804820EDAC}">
              <c15:datalabelsRange>
                <c15:f>Sheet1!$E$2:$E$10</c15:f>
                <c15:dlblRangeCache>
                  <c:ptCount val="9"/>
                  <c:pt idx="0">
                    <c:v>Mur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
          <c:min val="1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56"/>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C6493690-5856-4ECB-858E-D913374AD45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D81114E0-DE92-4D29-B4A7-AFA17C3D7A9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ABC607CF-835A-4C95-94BE-D70FE7AC327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E4104A34-232B-46D5-9A9D-60AE9F8FE25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A52FBA2E-84DA-4D1E-8B30-24560C6652E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AFD00427-839E-47CF-9AA1-DBBB4D14B32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F28F1C96-1613-4DED-A2FD-4103F922989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8C9B94F4-B109-4179-A4FC-E2DB6B6F310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6.727399999999999</c:v>
                </c:pt>
                <c:pt idx="1">
                  <c:v>30.6629</c:v>
                </c:pt>
                <c:pt idx="2">
                  <c:v>28.646999999999998</c:v>
                </c:pt>
                <c:pt idx="3">
                  <c:v>31.494800000000001</c:v>
                </c:pt>
                <c:pt idx="4">
                  <c:v>36.527700000000003</c:v>
                </c:pt>
                <c:pt idx="5">
                  <c:v>90.745199999999997</c:v>
                </c:pt>
                <c:pt idx="6">
                  <c:v>50.264200000000002</c:v>
                </c:pt>
                <c:pt idx="7">
                  <c:v>26.5242</c:v>
                </c:pt>
              </c:numCache>
            </c:numRef>
          </c:xVal>
          <c:yVal>
            <c:numRef>
              <c:f>Sheet1!$B$2:$B$9</c:f>
              <c:numCache>
                <c:formatCode>General</c:formatCode>
                <c:ptCount val="8"/>
                <c:pt idx="0">
                  <c:v>0.94799999999999995</c:v>
                </c:pt>
                <c:pt idx="1">
                  <c:v>0.95299999999999996</c:v>
                </c:pt>
                <c:pt idx="2">
                  <c:v>0.90800000000000003</c:v>
                </c:pt>
                <c:pt idx="3">
                  <c:v>0.98499999999999999</c:v>
                </c:pt>
                <c:pt idx="4">
                  <c:v>1.1579999999999999</c:v>
                </c:pt>
                <c:pt idx="5">
                  <c:v>2.8580000000000001</c:v>
                </c:pt>
                <c:pt idx="6">
                  <c:v>1.579</c:v>
                </c:pt>
                <c:pt idx="7">
                  <c:v>0.90500000000000003</c:v>
                </c:pt>
              </c:numCache>
            </c:numRef>
          </c:yVal>
          <c:bubbleSize>
            <c:numRef>
              <c:f>Sheet1!$C$2:$C$9</c:f>
              <c:numCache>
                <c:formatCode>General</c:formatCode>
                <c:ptCount val="8"/>
                <c:pt idx="0">
                  <c:v>11833795</c:v>
                </c:pt>
                <c:pt idx="1">
                  <c:v>3875602</c:v>
                </c:pt>
                <c:pt idx="2">
                  <c:v>3306117</c:v>
                </c:pt>
                <c:pt idx="3">
                  <c:v>3231524</c:v>
                </c:pt>
                <c:pt idx="4">
                  <c:v>2420106</c:v>
                </c:pt>
                <c:pt idx="5">
                  <c:v>2145762</c:v>
                </c:pt>
                <c:pt idx="6">
                  <c:v>2058218</c:v>
                </c:pt>
                <c:pt idx="7">
                  <c:v>412478</c:v>
                </c:pt>
              </c:numCache>
            </c:numRef>
          </c:bubbleSize>
          <c:bubble3D val="0"/>
          <c:extLst>
            <c:ext xmlns:c15="http://schemas.microsoft.com/office/drawing/2012/chart" uri="{02D57815-91ED-43cb-92C2-25804820EDAC}">
              <c15:datalabelsRange>
                <c15:f>Sheet1!$E$2:$E$10</c15:f>
                <c15:dlblRangeCache>
                  <c:ptCount val="9"/>
                  <c:pt idx="0">
                    <c:v>Nicolas Feuillatte</c:v>
                  </c:pt>
                  <c:pt idx="1">
                    <c:v>Demoiselle</c:v>
                  </c:pt>
                  <c:pt idx="2">
                    <c:v>Canard Duchêne</c:v>
                  </c:pt>
                  <c:pt idx="3">
                    <c:v>Tsarine</c:v>
                  </c:pt>
                  <c:pt idx="4">
                    <c:v>Mumm</c:v>
                  </c:pt>
                  <c:pt idx="5">
                    <c:v>Ruinart</c:v>
                  </c:pt>
                  <c:pt idx="6">
                    <c:v>Moët &amp; Chandon</c:v>
                  </c:pt>
                  <c:pt idx="7">
                    <c:v>Nicolas</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09"/>
          <c:min val="21"/>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29DEFD9-6149-441E-86D7-6DE6F5B1729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C848A07D-58E9-4CD8-9058-9C982BE05EB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8CEA9EA4-4940-4F30-83A8-F3365A88CA0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FC6A05F3-E1BD-406D-BC00-1F4A0358141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F5EA57FA-C349-4CA4-8CF6-4E16F487A51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CB4113D8-8C8C-4A3D-920C-EB13D43872D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D6456C32-BFB6-47B5-87F5-59C8E3DD6BB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50F02407-9681-4C14-9A2A-A6B794C9F2C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7.389700000000001</c:v>
                </c:pt>
              </c:numCache>
            </c:numRef>
          </c:xVal>
          <c:yVal>
            <c:numRef>
              <c:f>Sheet1!$B$2:$B$2</c:f>
              <c:numCache>
                <c:formatCode>General</c:formatCode>
                <c:ptCount val="1"/>
                <c:pt idx="0">
                  <c:v>1</c:v>
                </c:pt>
              </c:numCache>
            </c:numRef>
          </c:yVal>
          <c:bubbleSize>
            <c:numRef>
              <c:f>Sheet1!$C$2:$C$2</c:f>
              <c:numCache>
                <c:formatCode>General</c:formatCode>
                <c:ptCount val="1"/>
                <c:pt idx="0">
                  <c:v>237909</c:v>
                </c:pt>
              </c:numCache>
            </c:numRef>
          </c:bubbleSize>
          <c:bubble3D val="0"/>
          <c:extLst>
            <c:ext xmlns:c15="http://schemas.microsoft.com/office/drawing/2012/chart" uri="{02D57815-91ED-43cb-92C2-25804820EDAC}">
              <c15:datalabelsRange>
                <c15:f>Sheet1!$E$2:$E$10</c15:f>
                <c15:dlblRangeCache>
                  <c:ptCount val="9"/>
                  <c:pt idx="0">
                    <c:v>Mur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
          <c:min val="1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E1D3EC6-A6A9-4EB1-9AE4-CE4DAE9488A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2C5F6AA3-B655-4B72-A302-121637DBBC5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354C5701-2628-4BC5-9AD2-680A09C1FB1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29D00D33-56EF-4145-AA61-16ACF59D8EC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670CF30F-1E24-4278-8292-5F2936B6609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8D102383-6E2D-4B1A-AF71-2BD948D6153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7E9B8592-E86D-46F6-916E-255F8B8CDDB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539799D9-35DC-4FF9-A2BA-071B13D4125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7.518999999999998</c:v>
                </c:pt>
              </c:numCache>
            </c:numRef>
          </c:xVal>
          <c:yVal>
            <c:numRef>
              <c:f>Sheet1!$B$2:$B$2</c:f>
              <c:numCache>
                <c:formatCode>General</c:formatCode>
                <c:ptCount val="1"/>
                <c:pt idx="0">
                  <c:v>1</c:v>
                </c:pt>
              </c:numCache>
            </c:numRef>
          </c:yVal>
          <c:bubbleSize>
            <c:numRef>
              <c:f>Sheet1!$C$2:$C$2</c:f>
              <c:numCache>
                <c:formatCode>General</c:formatCode>
                <c:ptCount val="1"/>
                <c:pt idx="0">
                  <c:v>22179</c:v>
                </c:pt>
              </c:numCache>
            </c:numRef>
          </c:bubbleSize>
          <c:bubble3D val="0"/>
          <c:extLst>
            <c:ext xmlns:c15="http://schemas.microsoft.com/office/drawing/2012/chart" uri="{02D57815-91ED-43cb-92C2-25804820EDAC}">
              <c15:datalabelsRange>
                <c15:f>Sheet1!$E$2:$E$10</c15:f>
                <c15:dlblRangeCache>
                  <c:ptCount val="9"/>
                  <c:pt idx="0">
                    <c:v>Mur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
          <c:min val="1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3FB3220-4FE6-4886-8F2A-4479B8D190A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29398037-C425-45DD-B5C6-0CB8DFB7DB2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18BC8843-0418-4C63-9814-0F387F105E7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14DEA791-E59F-452A-B739-2BED1EC621E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456F6544-A1AA-4BE9-AD4A-423F4C9C392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3C7F5213-9B6F-4BC1-8046-E2D14DC5F04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D90986C4-83D4-494F-A7DC-902A7F153B8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50C4E8EA-1143-4D5B-8B52-1817137FC71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7.562100000000001</c:v>
                </c:pt>
              </c:numCache>
            </c:numRef>
          </c:xVal>
          <c:yVal>
            <c:numRef>
              <c:f>Sheet1!$B$2:$B$2</c:f>
              <c:numCache>
                <c:formatCode>General</c:formatCode>
                <c:ptCount val="1"/>
                <c:pt idx="0">
                  <c:v>1</c:v>
                </c:pt>
              </c:numCache>
            </c:numRef>
          </c:yVal>
          <c:bubbleSize>
            <c:numRef>
              <c:f>Sheet1!$C$2:$C$2</c:f>
              <c:numCache>
                <c:formatCode>General</c:formatCode>
                <c:ptCount val="1"/>
                <c:pt idx="0">
                  <c:v>13997</c:v>
                </c:pt>
              </c:numCache>
            </c:numRef>
          </c:bubbleSize>
          <c:bubble3D val="0"/>
          <c:extLst>
            <c:ext xmlns:c15="http://schemas.microsoft.com/office/drawing/2012/chart" uri="{02D57815-91ED-43cb-92C2-25804820EDAC}">
              <c15:datalabelsRange>
                <c15:f>Sheet1!$E$2:$E$10</c15:f>
                <c15:dlblRangeCache>
                  <c:ptCount val="9"/>
                  <c:pt idx="0">
                    <c:v>Mur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
          <c:min val="1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0FB14E5-7595-4684-BC3F-16A3C29E005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142DDFC1-0224-41FB-A786-31B02D64AEA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F8AAE243-F8EB-4205-B0ED-E67B0EDF9E8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586FD83F-70ED-4CDE-854B-A7131D3BFBF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BE0E932D-110C-4FF1-A0BC-9AC7E78371D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849805AE-21A9-43DC-9EA6-996678DEF88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179C910E-B288-4E3B-9CFE-C722A75E53F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B9F5B25D-A034-45A8-968B-793D3E22E7D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7.4818</c:v>
                </c:pt>
              </c:numCache>
            </c:numRef>
          </c:xVal>
          <c:yVal>
            <c:numRef>
              <c:f>Sheet1!$B$2:$B$2</c:f>
              <c:numCache>
                <c:formatCode>General</c:formatCode>
                <c:ptCount val="1"/>
                <c:pt idx="0">
                  <c:v>1</c:v>
                </c:pt>
              </c:numCache>
            </c:numRef>
          </c:yVal>
          <c:bubbleSize>
            <c:numRef>
              <c:f>Sheet1!$C$2:$C$2</c:f>
              <c:numCache>
                <c:formatCode>General</c:formatCode>
                <c:ptCount val="1"/>
                <c:pt idx="0">
                  <c:v>9615</c:v>
                </c:pt>
              </c:numCache>
            </c:numRef>
          </c:bubbleSize>
          <c:bubble3D val="0"/>
          <c:extLst>
            <c:ext xmlns:c15="http://schemas.microsoft.com/office/drawing/2012/chart" uri="{02D57815-91ED-43cb-92C2-25804820EDAC}">
              <c15:datalabelsRange>
                <c15:f>Sheet1!$E$2:$E$10</c15:f>
                <c15:dlblRangeCache>
                  <c:ptCount val="9"/>
                  <c:pt idx="0">
                    <c:v>Mur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
          <c:min val="1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E579283-010C-49E5-A6A6-7358AD25B35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5D3E6C3D-BA5F-465A-84B4-F499421E515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489218CC-C805-4004-8B0C-C4736915FF2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B11418C5-8DD3-4AF3-B41F-2A63A0D045D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B79AE92E-578D-4033-B3AB-A3432705E3D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37B01D2B-8798-497E-8AB4-40FA1E57027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DDAD4394-FAAC-431D-A8C5-A39042C74CD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55EB8011-28AB-4085-9F5C-FABF39FE2CE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7.333100000000002</c:v>
                </c:pt>
              </c:numCache>
            </c:numRef>
          </c:xVal>
          <c:yVal>
            <c:numRef>
              <c:f>Sheet1!$B$2:$B$2</c:f>
              <c:numCache>
                <c:formatCode>General</c:formatCode>
                <c:ptCount val="1"/>
                <c:pt idx="0">
                  <c:v>1.5169999999999999</c:v>
                </c:pt>
              </c:numCache>
            </c:numRef>
          </c:yVal>
          <c:bubbleSize>
            <c:numRef>
              <c:f>Sheet1!$C$2:$C$2</c:f>
              <c:numCache>
                <c:formatCode>General</c:formatCode>
                <c:ptCount val="1"/>
                <c:pt idx="0">
                  <c:v>68483</c:v>
                </c:pt>
              </c:numCache>
            </c:numRef>
          </c:bubbleSize>
          <c:bubble3D val="0"/>
          <c:extLst>
            <c:ext xmlns:c15="http://schemas.microsoft.com/office/drawing/2012/chart" uri="{02D57815-91ED-43cb-92C2-25804820EDAC}">
              <c15:datalabelsRange>
                <c15:f>Sheet1!$E$2:$E$10</c15:f>
                <c15:dlblRangeCache>
                  <c:ptCount val="9"/>
                  <c:pt idx="0">
                    <c:v>Mur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
          <c:min val="1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716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FF040D1-8425-4948-B7F2-460D70F7E19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B2E1D2A3-9373-4CE4-87F7-BFD1EE06BEF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A0AFC573-DBC7-46DB-B89F-88E677C8848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6EF48FE0-8392-4AC3-8007-84B51920B18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FA4EE5FC-67F9-4C6B-A393-4DED301069E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953FB25C-DB26-4321-B8D0-136D126F4E4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98ACCE45-E7A7-46EE-BB22-4B1A151E847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9F4FEC18-004E-4F6A-9654-F919A30C22D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7.377600000000001</c:v>
                </c:pt>
              </c:numCache>
            </c:numRef>
          </c:xVal>
          <c:yVal>
            <c:numRef>
              <c:f>Sheet1!$B$2:$B$2</c:f>
              <c:numCache>
                <c:formatCode>General</c:formatCode>
                <c:ptCount val="1"/>
                <c:pt idx="0">
                  <c:v>1</c:v>
                </c:pt>
              </c:numCache>
            </c:numRef>
          </c:yVal>
          <c:bubbleSize>
            <c:numRef>
              <c:f>Sheet1!$C$2:$C$2</c:f>
              <c:numCache>
                <c:formatCode>General</c:formatCode>
                <c:ptCount val="1"/>
                <c:pt idx="0">
                  <c:v>78512</c:v>
                </c:pt>
              </c:numCache>
            </c:numRef>
          </c:bubbleSize>
          <c:bubble3D val="0"/>
          <c:extLst>
            <c:ext xmlns:c15="http://schemas.microsoft.com/office/drawing/2012/chart" uri="{02D57815-91ED-43cb-92C2-25804820EDAC}">
              <c15:datalabelsRange>
                <c15:f>Sheet1!$E$2:$E$10</c15:f>
                <c15:dlblRangeCache>
                  <c:ptCount val="9"/>
                  <c:pt idx="0">
                    <c:v>Mur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
          <c:min val="1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1A1C360-29BC-4306-9840-81A95196F72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9B6ECFA7-191C-4640-B982-E25A7187F06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222B408F-8B66-4757-BFB6-678D3CEA715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56AD7F5C-D3C9-4984-BCE2-374C0A875BC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98EB355B-398E-45F6-815E-AE421221275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0BCBEEAF-6C0B-4422-8137-4EB522ECBB2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499F7EF3-8D98-4937-8462-EAC18CBD310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31B910DC-2884-4498-9ED6-DB86A5CAD92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7.365600000000001</c:v>
                </c:pt>
              </c:numCache>
            </c:numRef>
          </c:xVal>
          <c:yVal>
            <c:numRef>
              <c:f>Sheet1!$B$2:$B$2</c:f>
              <c:numCache>
                <c:formatCode>General</c:formatCode>
                <c:ptCount val="1"/>
                <c:pt idx="0">
                  <c:v>1.224</c:v>
                </c:pt>
              </c:numCache>
            </c:numRef>
          </c:yVal>
          <c:bubbleSize>
            <c:numRef>
              <c:f>Sheet1!$C$2:$C$2</c:f>
              <c:numCache>
                <c:formatCode>General</c:formatCode>
                <c:ptCount val="1"/>
                <c:pt idx="0">
                  <c:v>70435</c:v>
                </c:pt>
              </c:numCache>
            </c:numRef>
          </c:bubbleSize>
          <c:bubble3D val="0"/>
          <c:extLst>
            <c:ext xmlns:c15="http://schemas.microsoft.com/office/drawing/2012/chart" uri="{02D57815-91ED-43cb-92C2-25804820EDAC}">
              <c15:datalabelsRange>
                <c15:f>Sheet1!$E$2:$E$10</c15:f>
                <c15:dlblRangeCache>
                  <c:ptCount val="9"/>
                  <c:pt idx="0">
                    <c:v>Mur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
          <c:min val="1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423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ECA18C8-88D7-4E63-ABA7-4C7D586E2A6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98167CE4-578E-49CF-BA11-3AACF82C10F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ABCA2DF6-457B-4EC3-BC89-6D720EA29AE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EB3CB3A5-CEE0-4A80-B9FF-1E42AA99EFA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BD4AD74B-BD1F-43A6-A889-60AD60DEB18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998F3F86-3C3E-4DF3-BAB1-336E7452651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7F1EF1A8-68DD-4B10-BA47-196AC95B4AE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EB17DB5A-FC04-44C7-BFA7-09384CF644B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7.397300000000001</c:v>
                </c:pt>
              </c:numCache>
            </c:numRef>
          </c:xVal>
          <c:yVal>
            <c:numRef>
              <c:f>Sheet1!$B$2:$B$2</c:f>
              <c:numCache>
                <c:formatCode>General</c:formatCode>
                <c:ptCount val="1"/>
                <c:pt idx="0">
                  <c:v>1.0489999999999999</c:v>
                </c:pt>
              </c:numCache>
            </c:numRef>
          </c:yVal>
          <c:bubbleSize>
            <c:numRef>
              <c:f>Sheet1!$C$2:$C$2</c:f>
              <c:numCache>
                <c:formatCode>General</c:formatCode>
                <c:ptCount val="1"/>
                <c:pt idx="0">
                  <c:v>76009</c:v>
                </c:pt>
              </c:numCache>
            </c:numRef>
          </c:bubbleSize>
          <c:bubble3D val="0"/>
          <c:extLst>
            <c:ext xmlns:c15="http://schemas.microsoft.com/office/drawing/2012/chart" uri="{02D57815-91ED-43cb-92C2-25804820EDAC}">
              <c15:datalabelsRange>
                <c15:f>Sheet1!$E$2:$E$10</c15:f>
                <c15:dlblRangeCache>
                  <c:ptCount val="9"/>
                  <c:pt idx="0">
                    <c:v>Mur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
          <c:min val="1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48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A7DD44B-5239-4BAE-B67B-8E090BFAFBB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AB367AF6-7741-4D54-8343-B5186B0845E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1F5D5993-BE77-42B0-B9DA-3369BBAFDA9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3251DD50-4D43-4283-AEC6-44D55A857EA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5242CFE8-6939-4DCC-A7E6-AC72C7745E4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921F10BA-B89C-40AC-8594-EE8AEC5542A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0DBCE6C1-28F9-4CC5-8196-BA12F70E235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CCCC33E9-86F5-4647-802A-EA13B6512DA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7.6111</c:v>
                </c:pt>
              </c:numCache>
            </c:numRef>
          </c:xVal>
          <c:yVal>
            <c:numRef>
              <c:f>Sheet1!$B$2:$B$2</c:f>
              <c:numCache>
                <c:formatCode>General</c:formatCode>
                <c:ptCount val="1"/>
                <c:pt idx="0">
                  <c:v>1.2490000000000001</c:v>
                </c:pt>
              </c:numCache>
            </c:numRef>
          </c:yVal>
          <c:bubbleSize>
            <c:numRef>
              <c:f>Sheet1!$C$2:$C$2</c:f>
              <c:numCache>
                <c:formatCode>General</c:formatCode>
                <c:ptCount val="1"/>
                <c:pt idx="0">
                  <c:v>82244</c:v>
                </c:pt>
              </c:numCache>
            </c:numRef>
          </c:bubbleSize>
          <c:bubble3D val="0"/>
          <c:extLst>
            <c:ext xmlns:c15="http://schemas.microsoft.com/office/drawing/2012/chart" uri="{02D57815-91ED-43cb-92C2-25804820EDAC}">
              <c15:datalabelsRange>
                <c15:f>Sheet1!$E$2:$E$10</c15:f>
                <c15:dlblRangeCache>
                  <c:ptCount val="9"/>
                  <c:pt idx="0">
                    <c:v>Mur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
          <c:min val="1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4490000000000001"/>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8F5F57B-5935-4BBB-A17D-28BB8354ACF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E95ED553-1250-4B5E-AC18-9CC59DA6192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FBA4C302-9AB4-4044-9A4F-BE7A97CB66C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03A4333D-AE10-4F68-8842-3F1BE1DB1E2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E642A518-42AC-4417-B62C-8FB542F7FD2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50B4FCC6-DB1A-412D-AA19-46EDE627CB8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FE3C1BB0-D8DE-4CC0-A3CB-F64BD7527CD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E7108C21-BFC7-4849-8C13-8ADD900055E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7.286000000000001</c:v>
                </c:pt>
              </c:numCache>
            </c:numRef>
          </c:xVal>
          <c:yVal>
            <c:numRef>
              <c:f>Sheet1!$B$2:$B$2</c:f>
              <c:numCache>
                <c:formatCode>General</c:formatCode>
                <c:ptCount val="1"/>
                <c:pt idx="0">
                  <c:v>1.224</c:v>
                </c:pt>
              </c:numCache>
            </c:numRef>
          </c:yVal>
          <c:bubbleSize>
            <c:numRef>
              <c:f>Sheet1!$C$2:$C$2</c:f>
              <c:numCache>
                <c:formatCode>General</c:formatCode>
                <c:ptCount val="1"/>
                <c:pt idx="0">
                  <c:v>81175</c:v>
                </c:pt>
              </c:numCache>
            </c:numRef>
          </c:bubbleSize>
          <c:bubble3D val="0"/>
          <c:extLst>
            <c:ext xmlns:c15="http://schemas.microsoft.com/office/drawing/2012/chart" uri="{02D57815-91ED-43cb-92C2-25804820EDAC}">
              <c15:datalabelsRange>
                <c15:f>Sheet1!$E$2:$E$10</c15:f>
                <c15:dlblRangeCache>
                  <c:ptCount val="9"/>
                  <c:pt idx="0">
                    <c:v>Mur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
          <c:min val="1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423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FA982C84-F850-4D62-8DBF-8BF8BD46782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769966F9-E525-4F5E-8436-FE242423113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71-46D6-BBFE-7C00E0D51738}"/>
                </c:ext>
              </c:extLst>
            </c:dLbl>
            <c:dLbl>
              <c:idx val="3"/>
              <c:tx>
                <c:rich>
                  <a:bodyPr/>
                  <a:lstStyle/>
                  <a:p>
                    <a:fld id="{9C4AD5AE-963A-45FB-B088-3249A9A06DE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71-46D6-BBFE-7C00E0D51738}"/>
                </c:ext>
              </c:extLst>
            </c:dLbl>
            <c:dLbl>
              <c:idx val="4"/>
              <c:tx>
                <c:rich>
                  <a:bodyPr/>
                  <a:lstStyle/>
                  <a:p>
                    <a:fld id="{340B42F3-CFB4-4EDB-AB97-DB6F4A16591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871-46D6-BBFE-7C00E0D51738}"/>
                </c:ext>
              </c:extLst>
            </c:dLbl>
            <c:dLbl>
              <c:idx val="5"/>
              <c:tx>
                <c:rich>
                  <a:bodyPr/>
                  <a:lstStyle/>
                  <a:p>
                    <a:fld id="{B5664549-1D3E-4EA3-96E8-0A7316E4D49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D871-46D6-BBFE-7C00E0D51738}"/>
                </c:ext>
              </c:extLst>
            </c:dLbl>
            <c:dLbl>
              <c:idx val="6"/>
              <c:tx>
                <c:rich>
                  <a:bodyPr/>
                  <a:lstStyle/>
                  <a:p>
                    <a:fld id="{57923D29-08F8-4F0D-9CC6-B2F915CDE3B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D871-46D6-BBFE-7C00E0D51738}"/>
                </c:ext>
              </c:extLst>
            </c:dLbl>
            <c:dLbl>
              <c:idx val="7"/>
              <c:tx>
                <c:rich>
                  <a:bodyPr/>
                  <a:lstStyle/>
                  <a:p>
                    <a:fld id="{10498515-A164-4617-AF5E-0DF913A64B3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D871-46D6-BBFE-7C00E0D51738}"/>
                </c:ext>
              </c:extLst>
            </c:dLbl>
            <c:dLbl>
              <c:idx val="8"/>
              <c:tx>
                <c:rich>
                  <a:bodyPr/>
                  <a:lstStyle/>
                  <a:p>
                    <a:fld id="{221C4897-A8F7-46FD-997D-5B662BAFBF3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8.1654999999999998</c:v>
                </c:pt>
                <c:pt idx="1">
                  <c:v>7.0598000000000001</c:v>
                </c:pt>
                <c:pt idx="2">
                  <c:v>8.4002999999999997</c:v>
                </c:pt>
                <c:pt idx="3">
                  <c:v>7.6973000000000003</c:v>
                </c:pt>
                <c:pt idx="4">
                  <c:v>9.7827999999999999</c:v>
                </c:pt>
                <c:pt idx="5">
                  <c:v>7.3342999999999998</c:v>
                </c:pt>
                <c:pt idx="6">
                  <c:v>7.7112999999999996</c:v>
                </c:pt>
                <c:pt idx="7">
                  <c:v>12.7386</c:v>
                </c:pt>
              </c:numCache>
            </c:numRef>
          </c:xVal>
          <c:yVal>
            <c:numRef>
              <c:f>Sheet1!$B$2:$B$9</c:f>
              <c:numCache>
                <c:formatCode>General</c:formatCode>
                <c:ptCount val="8"/>
                <c:pt idx="0">
                  <c:v>0.995</c:v>
                </c:pt>
                <c:pt idx="1">
                  <c:v>0.95799999999999996</c:v>
                </c:pt>
                <c:pt idx="2">
                  <c:v>1.0389999999999999</c:v>
                </c:pt>
                <c:pt idx="3">
                  <c:v>1.0349999999999999</c:v>
                </c:pt>
                <c:pt idx="4">
                  <c:v>1.1910000000000001</c:v>
                </c:pt>
                <c:pt idx="5">
                  <c:v>1.0309999999999999</c:v>
                </c:pt>
                <c:pt idx="6">
                  <c:v>1.0840000000000001</c:v>
                </c:pt>
                <c:pt idx="7">
                  <c:v>1.792</c:v>
                </c:pt>
              </c:numCache>
            </c:numRef>
          </c:yVal>
          <c:bubbleSize>
            <c:numRef>
              <c:f>Sheet1!$C$2:$C$9</c:f>
              <c:numCache>
                <c:formatCode>General</c:formatCode>
                <c:ptCount val="8"/>
                <c:pt idx="0">
                  <c:v>15897650</c:v>
                </c:pt>
                <c:pt idx="1">
                  <c:v>12258120</c:v>
                </c:pt>
                <c:pt idx="2">
                  <c:v>4177323</c:v>
                </c:pt>
                <c:pt idx="3">
                  <c:v>3025266</c:v>
                </c:pt>
                <c:pt idx="4">
                  <c:v>1797924</c:v>
                </c:pt>
                <c:pt idx="5">
                  <c:v>932508</c:v>
                </c:pt>
                <c:pt idx="6">
                  <c:v>550341</c:v>
                </c:pt>
                <c:pt idx="7">
                  <c:v>506817</c:v>
                </c:pt>
              </c:numCache>
            </c:numRef>
          </c:bubbleSize>
          <c:bubble3D val="0"/>
          <c:extLst>
            <c:ext xmlns:c15="http://schemas.microsoft.com/office/drawing/2012/chart" uri="{02D57815-91ED-43cb-92C2-25804820EDAC}">
              <c15:datalabelsRange>
                <c15:f>Sheet1!$E$2:$E$10</c15:f>
                <c15:dlblRangeCache>
                  <c:ptCount val="9"/>
                  <c:pt idx="0">
                    <c:v>Veuve Ambal</c:v>
                  </c:pt>
                  <c:pt idx="1">
                    <c:v>Mdd</c:v>
                  </c:pt>
                  <c:pt idx="2">
                    <c:v>Couvent Des Visitandines</c:v>
                  </c:pt>
                  <c:pt idx="3">
                    <c:v>Moillard</c:v>
                  </c:pt>
                  <c:pt idx="4">
                    <c:v>Louis Bouillot</c:v>
                  </c:pt>
                  <c:pt idx="5">
                    <c:v>Valenger</c:v>
                  </c:pt>
                  <c:pt idx="6">
                    <c:v>Caves De Lugny</c:v>
                  </c:pt>
                  <c:pt idx="7">
                    <c:v>Patriarche</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5"/>
          <c:min val="6"/>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9E0DB34-A6DE-49AE-AD7B-9F7BAEC0CA3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851713C-2A8F-40D3-B852-D9957206286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0D7E20F-E7E1-4D3D-AA82-395D8437768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15C0B16-F4BE-4616-8434-0014CE26CB8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D5DBF09-AA23-4754-8099-32A4BC2FF12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CE67643-2364-47E1-9A94-15A9C645244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56C6BEA9-2EA7-4D14-998E-4DA3EAA8DF5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7CAE37EE-8CED-42DC-BF1B-FB361631748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5.3131000000000004</c:v>
                </c:pt>
                <c:pt idx="1">
                  <c:v>7.2641</c:v>
                </c:pt>
                <c:pt idx="2">
                  <c:v>6.9162999999999997</c:v>
                </c:pt>
                <c:pt idx="3">
                  <c:v>6.5225999999999997</c:v>
                </c:pt>
                <c:pt idx="4">
                  <c:v>7.99</c:v>
                </c:pt>
                <c:pt idx="5">
                  <c:v>7.0077999999999996</c:v>
                </c:pt>
                <c:pt idx="6">
                  <c:v>5.8705999999999996</c:v>
                </c:pt>
              </c:numCache>
            </c:numRef>
          </c:xVal>
          <c:yVal>
            <c:numRef>
              <c:f>Sheet1!$B$2:$B$8</c:f>
              <c:numCache>
                <c:formatCode>General</c:formatCode>
                <c:ptCount val="7"/>
                <c:pt idx="0">
                  <c:v>0.92200000000000004</c:v>
                </c:pt>
                <c:pt idx="1">
                  <c:v>1.083</c:v>
                </c:pt>
                <c:pt idx="2">
                  <c:v>1.22</c:v>
                </c:pt>
                <c:pt idx="3">
                  <c:v>0.96299999999999997</c:v>
                </c:pt>
                <c:pt idx="4">
                  <c:v>1.373</c:v>
                </c:pt>
                <c:pt idx="5">
                  <c:v>1.2350000000000001</c:v>
                </c:pt>
                <c:pt idx="6">
                  <c:v>0.29699999999999999</c:v>
                </c:pt>
              </c:numCache>
            </c:numRef>
          </c:yVal>
          <c:bubbleSize>
            <c:numRef>
              <c:f>Sheet1!$C$2:$C$8</c:f>
              <c:numCache>
                <c:formatCode>General</c:formatCode>
                <c:ptCount val="7"/>
                <c:pt idx="0">
                  <c:v>3233122</c:v>
                </c:pt>
                <c:pt idx="1">
                  <c:v>2298436</c:v>
                </c:pt>
                <c:pt idx="2">
                  <c:v>2130700</c:v>
                </c:pt>
                <c:pt idx="3">
                  <c:v>1540334</c:v>
                </c:pt>
                <c:pt idx="4">
                  <c:v>1026974</c:v>
                </c:pt>
                <c:pt idx="5">
                  <c:v>477794</c:v>
                </c:pt>
                <c:pt idx="6">
                  <c:v>162181</c:v>
                </c:pt>
              </c:numCache>
            </c:numRef>
          </c:bubbleSize>
          <c:bubble3D val="0"/>
          <c:extLst>
            <c:ext xmlns:c15="http://schemas.microsoft.com/office/drawing/2012/chart" uri="{02D57815-91ED-43cb-92C2-25804820EDAC}">
              <c15:datalabelsRange>
                <c15:f>Sheet1!$E$2:$E$10</c15:f>
                <c15:dlblRangeCache>
                  <c:ptCount val="9"/>
                  <c:pt idx="0">
                    <c:v>Mdd</c:v>
                  </c:pt>
                  <c:pt idx="1">
                    <c:v>Celene Bordeaux</c:v>
                  </c:pt>
                  <c:pt idx="2">
                    <c:v>Castel</c:v>
                  </c:pt>
                  <c:pt idx="3">
                    <c:v>Jaillance</c:v>
                  </c:pt>
                  <c:pt idx="4">
                    <c:v>Sieur Gaillard</c:v>
                  </c:pt>
                  <c:pt idx="5">
                    <c:v>Les Cordeliers</c:v>
                  </c:pt>
                  <c:pt idx="6">
                    <c:v>Calvet</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0"/>
          <c:min val="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73"/>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C3414AC-EA0E-41D0-BFEB-A3B3BA4D355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03256A4-285F-43FC-BF86-701C8EB0A46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B683D973-8EB9-4C05-BA00-E462B5250CD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9158303F-865A-4025-903C-9419212CE83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FB2B248F-330A-4159-B6BF-FB740132232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15B1D2DF-F9A6-4D17-811C-FE15F6448AC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B051ACAE-D1EC-4252-BED4-0AAB19FFA4D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FD9A8F98-27BA-4316-B67F-E3A79D00EC1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10.8071</c:v>
                </c:pt>
                <c:pt idx="1">
                  <c:v>9.6836000000000002</c:v>
                </c:pt>
              </c:numCache>
            </c:numRef>
          </c:xVal>
          <c:yVal>
            <c:numRef>
              <c:f>Sheet1!$B$2:$B$3</c:f>
              <c:numCache>
                <c:formatCode>General</c:formatCode>
                <c:ptCount val="2"/>
                <c:pt idx="0">
                  <c:v>1.014</c:v>
                </c:pt>
                <c:pt idx="1">
                  <c:v>0.84799999999999998</c:v>
                </c:pt>
              </c:numCache>
            </c:numRef>
          </c:yVal>
          <c:bubbleSize>
            <c:numRef>
              <c:f>Sheet1!$C$2:$C$3</c:f>
              <c:numCache>
                <c:formatCode>General</c:formatCode>
                <c:ptCount val="2"/>
                <c:pt idx="0">
                  <c:v>59904</c:v>
                </c:pt>
                <c:pt idx="1">
                  <c:v>9364</c:v>
                </c:pt>
              </c:numCache>
            </c:numRef>
          </c:bubbleSize>
          <c:bubble3D val="0"/>
          <c:extLst>
            <c:ext xmlns:c15="http://schemas.microsoft.com/office/drawing/2012/chart" uri="{02D57815-91ED-43cb-92C2-25804820EDAC}">
              <c15:datalabelsRange>
                <c15:f>Sheet1!$E$2:$E$10</c15:f>
                <c15:dlblRangeCache>
                  <c:ptCount val="9"/>
                  <c:pt idx="0">
                    <c:v>Cru La Maqueline</c:v>
                  </c:pt>
                  <c:pt idx="1">
                    <c:v>Celen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3"/>
          <c:min val="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14"/>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EECB9C2-BB35-41C4-B710-5CA90E394DF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59F20F2-2E5B-4631-B452-C1825B07FF4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BDE8C91-7E10-44DC-810A-437C9F21049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D992470-73CE-436B-AD5A-FA65BB38904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BDA3ACF-9640-4F70-B40A-4564047536B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A8ABFE2-853A-4FF3-A278-A5565646883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3852157A-64F1-4AC5-8BB2-F1D89D5431C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932CCC19-2704-4F2A-A804-8F999B2E35B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5.3131000000000004</c:v>
                </c:pt>
                <c:pt idx="1">
                  <c:v>7.2641</c:v>
                </c:pt>
                <c:pt idx="2">
                  <c:v>6.9162999999999997</c:v>
                </c:pt>
                <c:pt idx="3">
                  <c:v>6.5225999999999997</c:v>
                </c:pt>
                <c:pt idx="4">
                  <c:v>7.99</c:v>
                </c:pt>
                <c:pt idx="5">
                  <c:v>7.0077999999999996</c:v>
                </c:pt>
                <c:pt idx="6">
                  <c:v>5.8705999999999996</c:v>
                </c:pt>
              </c:numCache>
            </c:numRef>
          </c:xVal>
          <c:yVal>
            <c:numRef>
              <c:f>Sheet1!$B$2:$B$8</c:f>
              <c:numCache>
                <c:formatCode>General</c:formatCode>
                <c:ptCount val="7"/>
                <c:pt idx="0">
                  <c:v>0.92500000000000004</c:v>
                </c:pt>
                <c:pt idx="1">
                  <c:v>1.0860000000000001</c:v>
                </c:pt>
                <c:pt idx="2">
                  <c:v>1.224</c:v>
                </c:pt>
                <c:pt idx="3">
                  <c:v>0.96599999999999997</c:v>
                </c:pt>
                <c:pt idx="4">
                  <c:v>1.377</c:v>
                </c:pt>
                <c:pt idx="5">
                  <c:v>1.2390000000000001</c:v>
                </c:pt>
                <c:pt idx="6">
                  <c:v>0.29799999999999999</c:v>
                </c:pt>
              </c:numCache>
            </c:numRef>
          </c:yVal>
          <c:bubbleSize>
            <c:numRef>
              <c:f>Sheet1!$C$2:$C$8</c:f>
              <c:numCache>
                <c:formatCode>General</c:formatCode>
                <c:ptCount val="7"/>
                <c:pt idx="0">
                  <c:v>3233122</c:v>
                </c:pt>
                <c:pt idx="1">
                  <c:v>2298436</c:v>
                </c:pt>
                <c:pt idx="2">
                  <c:v>2130700</c:v>
                </c:pt>
                <c:pt idx="3">
                  <c:v>1540327</c:v>
                </c:pt>
                <c:pt idx="4">
                  <c:v>1026974</c:v>
                </c:pt>
                <c:pt idx="5">
                  <c:v>477794</c:v>
                </c:pt>
                <c:pt idx="6">
                  <c:v>162181</c:v>
                </c:pt>
              </c:numCache>
            </c:numRef>
          </c:bubbleSize>
          <c:bubble3D val="0"/>
          <c:extLst>
            <c:ext xmlns:c15="http://schemas.microsoft.com/office/drawing/2012/chart" uri="{02D57815-91ED-43cb-92C2-25804820EDAC}">
              <c15:datalabelsRange>
                <c15:f>Sheet1!$E$2:$E$10</c15:f>
                <c15:dlblRangeCache>
                  <c:ptCount val="9"/>
                  <c:pt idx="0">
                    <c:v>Mdd</c:v>
                  </c:pt>
                  <c:pt idx="1">
                    <c:v>Celene Bordeaux</c:v>
                  </c:pt>
                  <c:pt idx="2">
                    <c:v>Castel</c:v>
                  </c:pt>
                  <c:pt idx="3">
                    <c:v>Jaillance</c:v>
                  </c:pt>
                  <c:pt idx="4">
                    <c:v>Sieur Gaillard</c:v>
                  </c:pt>
                  <c:pt idx="5">
                    <c:v>Les Cordeliers</c:v>
                  </c:pt>
                  <c:pt idx="6">
                    <c:v>Calvet</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0"/>
          <c:min val="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77"/>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2A5255B-89E2-4201-A6EC-314C846C4FF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8E1CCA1-1085-4B7B-8EDB-C528BA4115C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2E99E2FE-BA3A-43AF-B627-ED909864B4D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8E2FB186-5DCC-4ECC-AAD4-406BCCE4C7D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DEE98DAA-A92A-482B-A903-BC557D78C5F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355C02E9-76AF-4249-ADE2-BC9E74305EE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EBA1782F-C2AA-4ED4-AD1A-B85B5BCEC65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4824914C-9124-4F65-95F9-4B32CD748AD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10.7256</c:v>
                </c:pt>
                <c:pt idx="1">
                  <c:v>9.5991</c:v>
                </c:pt>
              </c:numCache>
            </c:numRef>
          </c:xVal>
          <c:yVal>
            <c:numRef>
              <c:f>Sheet1!$B$2:$B$3</c:f>
              <c:numCache>
                <c:formatCode>General</c:formatCode>
                <c:ptCount val="2"/>
                <c:pt idx="0">
                  <c:v>1.014</c:v>
                </c:pt>
                <c:pt idx="1">
                  <c:v>0.89500000000000002</c:v>
                </c:pt>
              </c:numCache>
            </c:numRef>
          </c:yVal>
          <c:bubbleSize>
            <c:numRef>
              <c:f>Sheet1!$C$2:$C$3</c:f>
              <c:numCache>
                <c:formatCode>General</c:formatCode>
                <c:ptCount val="2"/>
                <c:pt idx="0">
                  <c:v>30525</c:v>
                </c:pt>
                <c:pt idx="1">
                  <c:v>4118</c:v>
                </c:pt>
              </c:numCache>
            </c:numRef>
          </c:bubbleSize>
          <c:bubble3D val="0"/>
          <c:extLst>
            <c:ext xmlns:c15="http://schemas.microsoft.com/office/drawing/2012/chart" uri="{02D57815-91ED-43cb-92C2-25804820EDAC}">
              <c15:datalabelsRange>
                <c15:f>Sheet1!$E$2:$E$10</c15:f>
                <c15:dlblRangeCache>
                  <c:ptCount val="9"/>
                  <c:pt idx="0">
                    <c:v>Cru La Maqueline</c:v>
                  </c:pt>
                  <c:pt idx="1">
                    <c:v>Celen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3"/>
          <c:min val="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14"/>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AC5CDE3-FC66-42A9-871E-9A06E8C45B7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E7E8F2E-2AB3-42A4-9D97-F282828F062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D191889C-C709-4637-A806-9A0DBF1F7E4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2B651D84-823D-4D35-BA57-7EA0C3B23E3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77F94167-E4A5-432C-B0F7-56DB6CD61E5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FE0A1B5A-2F9E-41DB-81E6-BA6D23C3BCE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FEC771A2-DF4D-4879-B992-F23A888E895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35F88441-A5D9-46A6-A780-E9B7F8991CC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10.711</c:v>
                </c:pt>
                <c:pt idx="1">
                  <c:v>9.48</c:v>
                </c:pt>
              </c:numCache>
            </c:numRef>
          </c:xVal>
          <c:yVal>
            <c:numRef>
              <c:f>Sheet1!$B$2:$B$3</c:f>
              <c:numCache>
                <c:formatCode>General</c:formatCode>
                <c:ptCount val="2"/>
                <c:pt idx="0">
                  <c:v>1.0289999999999999</c:v>
                </c:pt>
                <c:pt idx="1">
                  <c:v>0.84799999999999998</c:v>
                </c:pt>
              </c:numCache>
            </c:numRef>
          </c:yVal>
          <c:bubbleSize>
            <c:numRef>
              <c:f>Sheet1!$C$2:$C$3</c:f>
              <c:numCache>
                <c:formatCode>General</c:formatCode>
                <c:ptCount val="2"/>
                <c:pt idx="0">
                  <c:v>13303</c:v>
                </c:pt>
                <c:pt idx="1">
                  <c:v>2607</c:v>
                </c:pt>
              </c:numCache>
            </c:numRef>
          </c:bubbleSize>
          <c:bubble3D val="0"/>
          <c:extLst>
            <c:ext xmlns:c15="http://schemas.microsoft.com/office/drawing/2012/chart" uri="{02D57815-91ED-43cb-92C2-25804820EDAC}">
              <c15:datalabelsRange>
                <c15:f>Sheet1!$E$2:$E$10</c15:f>
                <c15:dlblRangeCache>
                  <c:ptCount val="9"/>
                  <c:pt idx="0">
                    <c:v>Cru La Maqueline</c:v>
                  </c:pt>
                  <c:pt idx="1">
                    <c:v>Celen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3"/>
          <c:min val="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28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6BF4121-8275-4A02-BDED-F575B1C1B38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AC94A01-7189-4B8A-A8A6-7932C092A6F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CA04F1EE-B10D-422E-98F3-098CDED1FC7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249523AE-2EFF-4D26-8A91-9B4FBA45CA0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8E77CFB6-0A42-4D76-AFF6-8B635B7AB77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339412F3-E64B-4032-ABD9-985397341C8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8EB466FD-670F-4D41-A559-C080B4CE779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1B24AF9A-CA7D-4B9A-96EF-DE690E8F1CD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10.9194</c:v>
                </c:pt>
                <c:pt idx="1">
                  <c:v>9.7117000000000004</c:v>
                </c:pt>
              </c:numCache>
            </c:numRef>
          </c:xVal>
          <c:yVal>
            <c:numRef>
              <c:f>Sheet1!$B$2:$B$3</c:f>
              <c:numCache>
                <c:formatCode>General</c:formatCode>
                <c:ptCount val="2"/>
                <c:pt idx="0">
                  <c:v>1.034</c:v>
                </c:pt>
                <c:pt idx="1">
                  <c:v>0.82399999999999995</c:v>
                </c:pt>
              </c:numCache>
            </c:numRef>
          </c:yVal>
          <c:bubbleSize>
            <c:numRef>
              <c:f>Sheet1!$C$2:$C$3</c:f>
              <c:numCache>
                <c:formatCode>General</c:formatCode>
                <c:ptCount val="2"/>
                <c:pt idx="0">
                  <c:v>7043</c:v>
                </c:pt>
                <c:pt idx="1">
                  <c:v>1078</c:v>
                </c:pt>
              </c:numCache>
            </c:numRef>
          </c:bubbleSize>
          <c:bubble3D val="0"/>
          <c:extLst>
            <c:ext xmlns:c15="http://schemas.microsoft.com/office/drawing/2012/chart" uri="{02D57815-91ED-43cb-92C2-25804820EDAC}">
              <c15:datalabelsRange>
                <c15:f>Sheet1!$E$2:$E$10</c15:f>
                <c15:dlblRangeCache>
                  <c:ptCount val="9"/>
                  <c:pt idx="0">
                    <c:v>Cru La Maqueline</c:v>
                  </c:pt>
                  <c:pt idx="1">
                    <c:v>Celen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3"/>
          <c:min val="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34"/>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E9B4BE1-9D8E-45AB-98DE-C0E9CE5291A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1707401-39C3-416B-ABC2-3ADBB73373E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BE2A2F4C-1A2C-481B-ADF9-DABC35F26B8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C6D79204-6CBA-4980-81F2-C0F51AB7AB0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E05E2EE1-E701-46CD-B9D2-2A4D7316DAB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16C94CB9-2777-4D08-B028-2DBE9AA1D4B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79BD5272-1C8D-49D8-B7FB-E66C553B9D3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7D015F59-0002-4F2D-A084-F911CA09348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10.9282</c:v>
                </c:pt>
                <c:pt idx="1">
                  <c:v>10.235300000000001</c:v>
                </c:pt>
              </c:numCache>
            </c:numRef>
          </c:xVal>
          <c:yVal>
            <c:numRef>
              <c:f>Sheet1!$B$2:$B$3</c:f>
              <c:numCache>
                <c:formatCode>General</c:formatCode>
                <c:ptCount val="2"/>
                <c:pt idx="0">
                  <c:v>1.0429999999999999</c:v>
                </c:pt>
                <c:pt idx="1">
                  <c:v>0.80900000000000005</c:v>
                </c:pt>
              </c:numCache>
            </c:numRef>
          </c:yVal>
          <c:bubbleSize>
            <c:numRef>
              <c:f>Sheet1!$C$2:$C$3</c:f>
              <c:numCache>
                <c:formatCode>General</c:formatCode>
                <c:ptCount val="2"/>
                <c:pt idx="0">
                  <c:v>1978</c:v>
                </c:pt>
                <c:pt idx="1">
                  <c:v>348</c:v>
                </c:pt>
              </c:numCache>
            </c:numRef>
          </c:bubbleSize>
          <c:bubble3D val="0"/>
          <c:extLst>
            <c:ext xmlns:c15="http://schemas.microsoft.com/office/drawing/2012/chart" uri="{02D57815-91ED-43cb-92C2-25804820EDAC}">
              <c15:datalabelsRange>
                <c15:f>Sheet1!$E$2:$E$10</c15:f>
                <c15:dlblRangeCache>
                  <c:ptCount val="9"/>
                  <c:pt idx="0">
                    <c:v>Cru La Maqueline</c:v>
                  </c:pt>
                  <c:pt idx="1">
                    <c:v>Celen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3"/>
          <c:min val="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42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6420C8F-8C3C-4705-9E22-135C9BAE74C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80A8BE1-3C72-48D4-A541-EAE74AE7C07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A6CD22FD-2E4C-4EDC-A830-B6D0CF572A5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F4AC3B03-BE40-4A5F-B200-353A8B3FFFF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DA4B737C-6D15-4293-A70B-0640F19A439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CD5439D3-80C0-4724-BB93-CE229504B3C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4723E5EA-579E-4997-B570-BA4761F5FEE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61A67FFD-9719-4891-A9E2-3984B1848C0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11.115</c:v>
                </c:pt>
                <c:pt idx="1">
                  <c:v>10.521699999999999</c:v>
                </c:pt>
              </c:numCache>
            </c:numRef>
          </c:xVal>
          <c:yVal>
            <c:numRef>
              <c:f>Sheet1!$B$2:$B$3</c:f>
              <c:numCache>
                <c:formatCode>General</c:formatCode>
                <c:ptCount val="2"/>
                <c:pt idx="0">
                  <c:v>1.0229999999999999</c:v>
                </c:pt>
                <c:pt idx="1">
                  <c:v>0.80800000000000005</c:v>
                </c:pt>
              </c:numCache>
            </c:numRef>
          </c:yVal>
          <c:bubbleSize>
            <c:numRef>
              <c:f>Sheet1!$C$2:$C$3</c:f>
              <c:numCache>
                <c:formatCode>General</c:formatCode>
                <c:ptCount val="2"/>
                <c:pt idx="0">
                  <c:v>2512</c:v>
                </c:pt>
                <c:pt idx="1">
                  <c:v>242</c:v>
                </c:pt>
              </c:numCache>
            </c:numRef>
          </c:bubbleSize>
          <c:bubble3D val="0"/>
          <c:extLst>
            <c:ext xmlns:c15="http://schemas.microsoft.com/office/drawing/2012/chart" uri="{02D57815-91ED-43cb-92C2-25804820EDAC}">
              <c15:datalabelsRange>
                <c15:f>Sheet1!$E$2:$E$10</c15:f>
                <c15:dlblRangeCache>
                  <c:ptCount val="9"/>
                  <c:pt idx="0">
                    <c:v>Cru La Maqueline</c:v>
                  </c:pt>
                  <c:pt idx="1">
                    <c:v>Celen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3"/>
          <c:min val="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22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F441309-BCCA-4182-9AD6-5C4B9AEB900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23BFE89-4C1F-4B5D-8A5B-295B39BE673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063F6BCD-E67C-4E08-904F-602D2926CA4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2E993508-2C88-4D95-94F9-2298A702FF9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964B130A-D601-4F9D-BA84-1AA2AA5863D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6ADC8ED8-B3DE-47F0-A1DA-A7EC3C9B92C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FE3DD076-489D-4ADB-9175-B59A4A16B5E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7073B4DA-EA04-43EF-A5E5-1C6998A3BFB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10.7323</c:v>
                </c:pt>
                <c:pt idx="1">
                  <c:v>9.3663000000000007</c:v>
                </c:pt>
              </c:numCache>
            </c:numRef>
          </c:xVal>
          <c:yVal>
            <c:numRef>
              <c:f>Sheet1!$B$2:$B$3</c:f>
              <c:numCache>
                <c:formatCode>General</c:formatCode>
                <c:ptCount val="2"/>
                <c:pt idx="0">
                  <c:v>1.018</c:v>
                </c:pt>
                <c:pt idx="1">
                  <c:v>0.88700000000000001</c:v>
                </c:pt>
              </c:numCache>
            </c:numRef>
          </c:yVal>
          <c:bubbleSize>
            <c:numRef>
              <c:f>Sheet1!$C$2:$C$3</c:f>
              <c:numCache>
                <c:formatCode>General</c:formatCode>
                <c:ptCount val="2"/>
                <c:pt idx="0">
                  <c:v>42865</c:v>
                </c:pt>
                <c:pt idx="1">
                  <c:v>5779</c:v>
                </c:pt>
              </c:numCache>
            </c:numRef>
          </c:bubbleSize>
          <c:bubble3D val="0"/>
          <c:extLst>
            <c:ext xmlns:c15="http://schemas.microsoft.com/office/drawing/2012/chart" uri="{02D57815-91ED-43cb-92C2-25804820EDAC}">
              <c15:datalabelsRange>
                <c15:f>Sheet1!$E$2:$E$10</c15:f>
                <c15:dlblRangeCache>
                  <c:ptCount val="9"/>
                  <c:pt idx="0">
                    <c:v>Cru La Maqueline</c:v>
                  </c:pt>
                  <c:pt idx="1">
                    <c:v>Celen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3"/>
          <c:min val="7"/>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18"/>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E8DDC0A-2BAF-4E5A-898B-5DD333737BB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2C36552-37C2-453C-B86E-41DBA220B82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C3C2CE9B-8ED4-417A-85CE-055C84EE632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5AFCFD28-E60E-43F4-AC55-E862CD74150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EC9B9EB9-BBC4-4A5A-9C77-B3A42B9E9CE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C43E084B-127C-43C7-85B6-803B93EEE27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D8E65347-05B9-4872-BFDD-97758B2BE0C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C58C185C-66A1-4F77-9EFF-B4D6089DCE1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10.8147</c:v>
                </c:pt>
                <c:pt idx="1">
                  <c:v>10.1408</c:v>
                </c:pt>
              </c:numCache>
            </c:numRef>
          </c:xVal>
          <c:yVal>
            <c:numRef>
              <c:f>Sheet1!$B$2:$B$3</c:f>
              <c:numCache>
                <c:formatCode>General</c:formatCode>
                <c:ptCount val="2"/>
                <c:pt idx="0">
                  <c:v>1.028</c:v>
                </c:pt>
                <c:pt idx="1">
                  <c:v>0.84599999999999997</c:v>
                </c:pt>
              </c:numCache>
            </c:numRef>
          </c:yVal>
          <c:bubbleSize>
            <c:numRef>
              <c:f>Sheet1!$C$2:$C$3</c:f>
              <c:numCache>
                <c:formatCode>General</c:formatCode>
                <c:ptCount val="2"/>
                <c:pt idx="0">
                  <c:v>4845</c:v>
                </c:pt>
                <c:pt idx="1">
                  <c:v>720</c:v>
                </c:pt>
              </c:numCache>
            </c:numRef>
          </c:bubbleSize>
          <c:bubble3D val="0"/>
          <c:extLst>
            <c:ext xmlns:c15="http://schemas.microsoft.com/office/drawing/2012/chart" uri="{02D57815-91ED-43cb-92C2-25804820EDAC}">
              <c15:datalabelsRange>
                <c15:f>Sheet1!$E$2:$E$10</c15:f>
                <c15:dlblRangeCache>
                  <c:ptCount val="9"/>
                  <c:pt idx="0">
                    <c:v>Cru La Maqueline</c:v>
                  </c:pt>
                  <c:pt idx="1">
                    <c:v>Celen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3"/>
          <c:min val="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28"/>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769F82C-444C-4CA6-805C-D5DF02E690C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44C8281-8D31-4245-941B-8B78CC00FB3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86BDBD9-B441-473F-8E83-94AA8D8B3A8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A4656C5-D4A5-402F-9B7F-B2442E9447C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C76F889-1684-49F4-A983-7D95219F64F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B1B10023-A4BD-4D4E-9C9B-639D5CC8DCB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AC541DE-7430-44CD-989C-84D641B8C00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677966E2-2AEA-44C2-9909-0E50AECD382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72.245000000000005</c:v>
                </c:pt>
                <c:pt idx="1">
                  <c:v>23.982600000000001</c:v>
                </c:pt>
                <c:pt idx="2">
                  <c:v>53.209800000000001</c:v>
                </c:pt>
                <c:pt idx="3">
                  <c:v>31.915800000000001</c:v>
                </c:pt>
                <c:pt idx="4">
                  <c:v>56.263100000000001</c:v>
                </c:pt>
                <c:pt idx="5">
                  <c:v>33.282400000000003</c:v>
                </c:pt>
                <c:pt idx="6">
                  <c:v>58.168599999999998</c:v>
                </c:pt>
                <c:pt idx="7">
                  <c:v>74.187700000000007</c:v>
                </c:pt>
              </c:numCache>
            </c:numRef>
          </c:xVal>
          <c:yVal>
            <c:numRef>
              <c:f>Sheet1!$B$2:$B$9</c:f>
              <c:numCache>
                <c:formatCode>General</c:formatCode>
                <c:ptCount val="8"/>
                <c:pt idx="0">
                  <c:v>1.9259999999999999</c:v>
                </c:pt>
                <c:pt idx="1">
                  <c:v>0.63600000000000001</c:v>
                </c:pt>
                <c:pt idx="2">
                  <c:v>1.3460000000000001</c:v>
                </c:pt>
                <c:pt idx="3">
                  <c:v>0.84699999999999998</c:v>
                </c:pt>
                <c:pt idx="4">
                  <c:v>1.28</c:v>
                </c:pt>
                <c:pt idx="5">
                  <c:v>0.86199999999999999</c:v>
                </c:pt>
                <c:pt idx="6">
                  <c:v>1.28</c:v>
                </c:pt>
                <c:pt idx="7">
                  <c:v>1.907</c:v>
                </c:pt>
              </c:numCache>
            </c:numRef>
          </c:yVal>
          <c:bubbleSize>
            <c:numRef>
              <c:f>Sheet1!$C$2:$C$9</c:f>
              <c:numCache>
                <c:formatCode>General</c:formatCode>
                <c:ptCount val="8"/>
                <c:pt idx="0">
                  <c:v>1098847</c:v>
                </c:pt>
                <c:pt idx="1">
                  <c:v>246085</c:v>
                </c:pt>
                <c:pt idx="2">
                  <c:v>239125</c:v>
                </c:pt>
                <c:pt idx="3">
                  <c:v>135355</c:v>
                </c:pt>
                <c:pt idx="4">
                  <c:v>127436</c:v>
                </c:pt>
                <c:pt idx="5">
                  <c:v>107702</c:v>
                </c:pt>
                <c:pt idx="6">
                  <c:v>98654</c:v>
                </c:pt>
                <c:pt idx="7">
                  <c:v>98002</c:v>
                </c:pt>
              </c:numCache>
            </c:numRef>
          </c:bubbleSize>
          <c:bubble3D val="0"/>
          <c:extLst>
            <c:ext xmlns:c15="http://schemas.microsoft.com/office/drawing/2012/chart" uri="{02D57815-91ED-43cb-92C2-25804820EDAC}">
              <c15:datalabelsRange>
                <c15:f>Sheet1!$E$2:$E$10</c15:f>
                <c15:dlblRangeCache>
                  <c:ptCount val="9"/>
                  <c:pt idx="0">
                    <c:v>Ruinart</c:v>
                  </c:pt>
                  <c:pt idx="1">
                    <c:v>Nicolas</c:v>
                  </c:pt>
                  <c:pt idx="2">
                    <c:v>Deutz</c:v>
                  </c:pt>
                  <c:pt idx="3">
                    <c:v>Malard</c:v>
                  </c:pt>
                  <c:pt idx="4">
                    <c:v>Laurent Perrier</c:v>
                  </c:pt>
                  <c:pt idx="5">
                    <c:v>Nicolas Feuillatte</c:v>
                  </c:pt>
                  <c:pt idx="6">
                    <c:v>Taittinger</c:v>
                  </c:pt>
                  <c:pt idx="7">
                    <c:v>Roederer</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9"/>
          <c:min val="19"/>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CA-4C16-90F6-A0D9A3D8DA8E}"/>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CA-4C16-90F6-A0D9A3D8DA8E}"/>
                </c:ext>
              </c:extLst>
            </c:dLbl>
            <c:dLbl>
              <c:idx val="1"/>
              <c:tx>
                <c:rich>
                  <a:bodyPr/>
                  <a:lstStyle/>
                  <a:p>
                    <a:fld id="{93219931-7482-4DAC-9F64-46F94A3B90F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CA-4C16-90F6-A0D9A3D8DA8E}"/>
                </c:ext>
              </c:extLst>
            </c:dLbl>
            <c:dLbl>
              <c:idx val="2"/>
              <c:tx>
                <c:rich>
                  <a:bodyPr/>
                  <a:lstStyle/>
                  <a:p>
                    <a:fld id="{78238CB1-841E-4860-B3CC-ADCC0AF7AE0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CA-4C16-90F6-A0D9A3D8DA8E}"/>
                </c:ext>
              </c:extLst>
            </c:dLbl>
            <c:dLbl>
              <c:idx val="3"/>
              <c:tx>
                <c:rich>
                  <a:bodyPr/>
                  <a:lstStyle/>
                  <a:p>
                    <a:fld id="{FEA2EA44-6DAE-49FD-97E9-32F65E9DEA2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CA-4C16-90F6-A0D9A3D8DA8E}"/>
                </c:ext>
              </c:extLst>
            </c:dLbl>
            <c:dLbl>
              <c:idx val="4"/>
              <c:tx>
                <c:rich>
                  <a:bodyPr/>
                  <a:lstStyle/>
                  <a:p>
                    <a:fld id="{44F444C5-7211-49D9-ACFB-8B02F4DE678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8CA-4C16-90F6-A0D9A3D8DA8E}"/>
                </c:ext>
              </c:extLst>
            </c:dLbl>
            <c:dLbl>
              <c:idx val="5"/>
              <c:tx>
                <c:rich>
                  <a:bodyPr/>
                  <a:lstStyle/>
                  <a:p>
                    <a:fld id="{804FFF2F-3F57-4818-BC21-04B424D4473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D8CA-4C16-90F6-A0D9A3D8DA8E}"/>
                </c:ext>
              </c:extLst>
            </c:dLbl>
            <c:dLbl>
              <c:idx val="6"/>
              <c:tx>
                <c:rich>
                  <a:bodyPr/>
                  <a:lstStyle/>
                  <a:p>
                    <a:fld id="{BF92D7D3-63C3-4A20-8946-344553A11CE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D8CA-4C16-90F6-A0D9A3D8DA8E}"/>
                </c:ext>
              </c:extLst>
            </c:dLbl>
            <c:dLbl>
              <c:idx val="7"/>
              <c:tx>
                <c:rich>
                  <a:bodyPr/>
                  <a:lstStyle/>
                  <a:p>
                    <a:fld id="{987A3D85-B45C-4C5E-A9B4-CAEAEDFD7EF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D8CA-4C16-90F6-A0D9A3D8DA8E}"/>
                </c:ext>
              </c:extLst>
            </c:dLbl>
            <c:dLbl>
              <c:idx val="8"/>
              <c:tx>
                <c:rich>
                  <a:bodyPr/>
                  <a:lstStyle/>
                  <a:p>
                    <a:fld id="{F5FDF237-149E-44BE-A7DC-B7C9D45D429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CA-4C16-90F6-A0D9A3D8DA8E}"/>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6.9976000000000003</c:v>
                </c:pt>
                <c:pt idx="1">
                  <c:v>5.4188999999999998</c:v>
                </c:pt>
                <c:pt idx="2">
                  <c:v>6.3528000000000002</c:v>
                </c:pt>
                <c:pt idx="3">
                  <c:v>6.7249999999999996</c:v>
                </c:pt>
                <c:pt idx="4">
                  <c:v>7.1329000000000002</c:v>
                </c:pt>
                <c:pt idx="5">
                  <c:v>6.0354999999999999</c:v>
                </c:pt>
                <c:pt idx="6">
                  <c:v>7.5696000000000003</c:v>
                </c:pt>
                <c:pt idx="7">
                  <c:v>5.5134999999999996</c:v>
                </c:pt>
              </c:numCache>
            </c:numRef>
          </c:xVal>
          <c:yVal>
            <c:numRef>
              <c:f>Sheet1!$B$2:$B$9</c:f>
              <c:numCache>
                <c:formatCode>General</c:formatCode>
                <c:ptCount val="8"/>
                <c:pt idx="0">
                  <c:v>1.149</c:v>
                </c:pt>
                <c:pt idx="1">
                  <c:v>0.82099999999999995</c:v>
                </c:pt>
                <c:pt idx="2">
                  <c:v>0.97099999999999997</c:v>
                </c:pt>
                <c:pt idx="3">
                  <c:v>1.097</c:v>
                </c:pt>
                <c:pt idx="4">
                  <c:v>1.0580000000000001</c:v>
                </c:pt>
                <c:pt idx="5">
                  <c:v>0.95699999999999996</c:v>
                </c:pt>
                <c:pt idx="6">
                  <c:v>1.0629999999999999</c:v>
                </c:pt>
                <c:pt idx="7">
                  <c:v>0.89300000000000002</c:v>
                </c:pt>
              </c:numCache>
            </c:numRef>
          </c:yVal>
          <c:bubbleSize>
            <c:numRef>
              <c:f>Sheet1!$C$2:$C$9</c:f>
              <c:numCache>
                <c:formatCode>General</c:formatCode>
                <c:ptCount val="8"/>
                <c:pt idx="0">
                  <c:v>26217786</c:v>
                </c:pt>
                <c:pt idx="1">
                  <c:v>25627765</c:v>
                </c:pt>
                <c:pt idx="2">
                  <c:v>21170443</c:v>
                </c:pt>
                <c:pt idx="3">
                  <c:v>15294585</c:v>
                </c:pt>
                <c:pt idx="4">
                  <c:v>12946978</c:v>
                </c:pt>
                <c:pt idx="5">
                  <c:v>5219639</c:v>
                </c:pt>
                <c:pt idx="6">
                  <c:v>3730611</c:v>
                </c:pt>
                <c:pt idx="7">
                  <c:v>3036504</c:v>
                </c:pt>
              </c:numCache>
            </c:numRef>
          </c:bubbleSize>
          <c:bubble3D val="0"/>
          <c:extLst>
            <c:ext xmlns:c15="http://schemas.microsoft.com/office/drawing/2012/chart" uri="{02D57815-91ED-43cb-92C2-25804820EDAC}">
              <c15:datalabelsRange>
                <c15:f>Sheet1!$E$2:$E$10</c15:f>
                <c15:dlblRangeCache>
                  <c:ptCount val="9"/>
                  <c:pt idx="0">
                    <c:v>Riccadonna</c:v>
                  </c:pt>
                  <c:pt idx="1">
                    <c:v>Mdd</c:v>
                  </c:pt>
                  <c:pt idx="2">
                    <c:v>Vilaveroni</c:v>
                  </c:pt>
                  <c:pt idx="3">
                    <c:v>Perlino</c:v>
                  </c:pt>
                  <c:pt idx="4">
                    <c:v>Mionetto</c:v>
                  </c:pt>
                  <c:pt idx="5">
                    <c:v>Signore Giuseppe</c:v>
                  </c:pt>
                  <c:pt idx="6">
                    <c:v>Maschio</c:v>
                  </c:pt>
                  <c:pt idx="7">
                    <c:v>Nobrand</c:v>
                  </c:pt>
                </c15:dlblRangeCache>
              </c15:datalabelsRange>
            </c:ext>
            <c:ext xmlns:c16="http://schemas.microsoft.com/office/drawing/2014/chart" uri="{C3380CC4-5D6E-409C-BE32-E72D297353CC}">
              <c16:uniqueId val="{00000009-D8CA-4C16-90F6-A0D9A3D8DA8E}"/>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9"/>
          <c:min val="4"/>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812A94A-18B2-45E2-BE44-347841BE8DA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E171B8B-65EF-48DD-B7EC-95A5A71D6CF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000A2E27-DFC2-4B10-B5FA-D1DDF11FF87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57012396-0687-484A-A9B4-03A619606B1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CEEC37B3-16FE-431F-A61F-BDBC7896F75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A02910A6-06E6-4C2C-91C4-57A9BFDA93D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69E1E890-EBEF-4C13-917F-D2874196212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BE7AC998-6E99-4CE8-919F-11D6B06F0BF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11.1875</c:v>
                </c:pt>
                <c:pt idx="1">
                  <c:v>10.392200000000001</c:v>
                </c:pt>
              </c:numCache>
            </c:numRef>
          </c:xVal>
          <c:yVal>
            <c:numRef>
              <c:f>Sheet1!$B$2:$B$3</c:f>
              <c:numCache>
                <c:formatCode>General</c:formatCode>
                <c:ptCount val="2"/>
                <c:pt idx="0">
                  <c:v>1.046</c:v>
                </c:pt>
                <c:pt idx="1">
                  <c:v>0.83699999999999997</c:v>
                </c:pt>
              </c:numCache>
            </c:numRef>
          </c:yVal>
          <c:bubbleSize>
            <c:numRef>
              <c:f>Sheet1!$C$2:$C$3</c:f>
              <c:numCache>
                <c:formatCode>General</c:formatCode>
                <c:ptCount val="2"/>
                <c:pt idx="0">
                  <c:v>2327</c:v>
                </c:pt>
                <c:pt idx="1">
                  <c:v>530</c:v>
                </c:pt>
              </c:numCache>
            </c:numRef>
          </c:bubbleSize>
          <c:bubble3D val="0"/>
          <c:extLst>
            <c:ext xmlns:c15="http://schemas.microsoft.com/office/drawing/2012/chart" uri="{02D57815-91ED-43cb-92C2-25804820EDAC}">
              <c15:datalabelsRange>
                <c15:f>Sheet1!$E$2:$E$10</c15:f>
                <c15:dlblRangeCache>
                  <c:ptCount val="9"/>
                  <c:pt idx="0">
                    <c:v>Cru La Maqueline</c:v>
                  </c:pt>
                  <c:pt idx="1">
                    <c:v>Celen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3"/>
          <c:min val="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46"/>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45F89AD-3D08-4675-A8D6-BFD5113785E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0EBC6AA-ACA7-4A92-BD7F-AE66D0D5F45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B3A4C05D-EF37-4F1B-8844-4805E12033B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9CA2C512-5334-43F3-82A5-8BF7C3258E3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219D26B5-0DDA-49BA-83E6-DE71D5EF550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DB32B102-706E-404E-8722-B87D5536B6F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0F6B1CAA-C39A-48C6-8C49-9B0C4546AB5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079685D5-57DC-42B3-BB46-E923911DAC0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10.9453</c:v>
                </c:pt>
                <c:pt idx="1">
                  <c:v>10.7027</c:v>
                </c:pt>
              </c:numCache>
            </c:numRef>
          </c:xVal>
          <c:yVal>
            <c:numRef>
              <c:f>Sheet1!$B$2:$B$3</c:f>
              <c:numCache>
                <c:formatCode>General</c:formatCode>
                <c:ptCount val="2"/>
                <c:pt idx="0">
                  <c:v>0.9</c:v>
                </c:pt>
                <c:pt idx="1">
                  <c:v>0.81599999999999995</c:v>
                </c:pt>
              </c:numCache>
            </c:numRef>
          </c:yVal>
          <c:bubbleSize>
            <c:numRef>
              <c:f>Sheet1!$C$2:$C$3</c:f>
              <c:numCache>
                <c:formatCode>General</c:formatCode>
                <c:ptCount val="2"/>
                <c:pt idx="0">
                  <c:v>2200</c:v>
                </c:pt>
                <c:pt idx="1">
                  <c:v>396</c:v>
                </c:pt>
              </c:numCache>
            </c:numRef>
          </c:bubbleSize>
          <c:bubble3D val="0"/>
          <c:extLst>
            <c:ext xmlns:c15="http://schemas.microsoft.com/office/drawing/2012/chart" uri="{02D57815-91ED-43cb-92C2-25804820EDAC}">
              <c15:datalabelsRange>
                <c15:f>Sheet1!$E$2:$E$10</c15:f>
                <c15:dlblRangeCache>
                  <c:ptCount val="9"/>
                  <c:pt idx="0">
                    <c:v>Cru La Maqueline</c:v>
                  </c:pt>
                  <c:pt idx="1">
                    <c:v>Celen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3"/>
          <c:min val="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1000000000000001"/>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0A18B6B-67C3-4C62-B1D4-0A9FEF9FE21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59D5FD7-E16E-4B63-9171-08C40F401DA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4CF096D8-8C52-4712-BBEC-D1328A09974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A45692E9-3B05-4EE7-8489-910587A50BE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CCAE9D38-9918-4C49-961D-C0D9FA97F5C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1ECB75A3-CBDF-4126-A10D-FD1418DED85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1CEBA8D1-B9B2-4C8A-88F4-41A22FAC4D7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4FD17491-F9F8-4C65-AB95-75AA45C9FEF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11.212400000000001</c:v>
                </c:pt>
                <c:pt idx="1">
                  <c:v>9.5396999999999998</c:v>
                </c:pt>
              </c:numCache>
            </c:numRef>
          </c:xVal>
          <c:yVal>
            <c:numRef>
              <c:f>Sheet1!$B$2:$B$3</c:f>
              <c:numCache>
                <c:formatCode>General</c:formatCode>
                <c:ptCount val="2"/>
                <c:pt idx="0">
                  <c:v>1.097</c:v>
                </c:pt>
                <c:pt idx="1">
                  <c:v>0.84199999999999997</c:v>
                </c:pt>
              </c:numCache>
            </c:numRef>
          </c:yVal>
          <c:bubbleSize>
            <c:numRef>
              <c:f>Sheet1!$C$2:$C$3</c:f>
              <c:numCache>
                <c:formatCode>General</c:formatCode>
                <c:ptCount val="2"/>
                <c:pt idx="0">
                  <c:v>1267</c:v>
                </c:pt>
                <c:pt idx="1">
                  <c:v>601</c:v>
                </c:pt>
              </c:numCache>
            </c:numRef>
          </c:bubbleSize>
          <c:bubble3D val="0"/>
          <c:extLst>
            <c:ext xmlns:c15="http://schemas.microsoft.com/office/drawing/2012/chart" uri="{02D57815-91ED-43cb-92C2-25804820EDAC}">
              <c15:datalabelsRange>
                <c15:f>Sheet1!$E$2:$E$10</c15:f>
                <c15:dlblRangeCache>
                  <c:ptCount val="9"/>
                  <c:pt idx="0">
                    <c:v>Cru La Maqueline</c:v>
                  </c:pt>
                  <c:pt idx="1">
                    <c:v>Celen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3"/>
          <c:min val="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96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DDEA066-3FA4-4A61-86A0-61A9E534A7F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96F60C7-BABB-4B1D-B57E-DB3B8D0CE9F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789F1CC3-4700-48DF-A52A-6775B106EDD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80FE202F-BF36-4BAA-BD06-0C82E5684C9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C7708A52-3599-493D-B009-C83B1E60E0B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E565C3D6-BF58-49FE-A6D5-ADF8C63A663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477AFF14-E3AE-43EF-B416-1910A94F855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937DAC9B-2A81-4170-B67D-87C35FC0380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10.751099999999999</c:v>
                </c:pt>
                <c:pt idx="1">
                  <c:v>9.6081000000000003</c:v>
                </c:pt>
              </c:numCache>
            </c:numRef>
          </c:xVal>
          <c:yVal>
            <c:numRef>
              <c:f>Sheet1!$B$2:$B$3</c:f>
              <c:numCache>
                <c:formatCode>General</c:formatCode>
                <c:ptCount val="2"/>
                <c:pt idx="0">
                  <c:v>1.014</c:v>
                </c:pt>
                <c:pt idx="1">
                  <c:v>0.78600000000000003</c:v>
                </c:pt>
              </c:numCache>
            </c:numRef>
          </c:yVal>
          <c:bubbleSize>
            <c:numRef>
              <c:f>Sheet1!$C$2:$C$3</c:f>
              <c:numCache>
                <c:formatCode>General</c:formatCode>
                <c:ptCount val="2"/>
                <c:pt idx="0">
                  <c:v>14041</c:v>
                </c:pt>
                <c:pt idx="1">
                  <c:v>711</c:v>
                </c:pt>
              </c:numCache>
            </c:numRef>
          </c:bubbleSize>
          <c:bubble3D val="0"/>
          <c:extLst>
            <c:ext xmlns:c15="http://schemas.microsoft.com/office/drawing/2012/chart" uri="{02D57815-91ED-43cb-92C2-25804820EDAC}">
              <c15:datalabelsRange>
                <c15:f>Sheet1!$E$2:$E$10</c15:f>
                <c15:dlblRangeCache>
                  <c:ptCount val="9"/>
                  <c:pt idx="0">
                    <c:v>Cru La Maqueline</c:v>
                  </c:pt>
                  <c:pt idx="1">
                    <c:v>Celen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3"/>
          <c:min val="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14"/>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6FC9371-7EA4-40D6-BAC1-04DA3E7C60A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FF89D83-B122-449B-9188-30D07304D01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49E9FC12-0C3F-432B-94A2-30A0FC0DA02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116E1E4A-EF71-478A-9B26-2BD20986AF8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0EC9FEE2-0539-478A-B2F3-51B423461B4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6EDE636D-AC01-422D-A7AF-0C59350850D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4A300D55-417D-4235-83C0-6E2266A8F29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E3321379-CEA3-47CB-9B2B-267EC5991A5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10.6694</c:v>
                </c:pt>
                <c:pt idx="1">
                  <c:v>10.2857</c:v>
                </c:pt>
              </c:numCache>
            </c:numRef>
          </c:xVal>
          <c:yVal>
            <c:numRef>
              <c:f>Sheet1!$B$2:$B$3</c:f>
              <c:numCache>
                <c:formatCode>General</c:formatCode>
                <c:ptCount val="2"/>
                <c:pt idx="0">
                  <c:v>1.0129999999999999</c:v>
                </c:pt>
                <c:pt idx="1">
                  <c:v>0.81699999999999995</c:v>
                </c:pt>
              </c:numCache>
            </c:numRef>
          </c:yVal>
          <c:bubbleSize>
            <c:numRef>
              <c:f>Sheet1!$C$2:$C$3</c:f>
              <c:numCache>
                <c:formatCode>General</c:formatCode>
                <c:ptCount val="2"/>
                <c:pt idx="0">
                  <c:v>10392</c:v>
                </c:pt>
                <c:pt idx="1">
                  <c:v>576</c:v>
                </c:pt>
              </c:numCache>
            </c:numRef>
          </c:bubbleSize>
          <c:bubble3D val="0"/>
          <c:extLst>
            <c:ext xmlns:c15="http://schemas.microsoft.com/office/drawing/2012/chart" uri="{02D57815-91ED-43cb-92C2-25804820EDAC}">
              <c15:datalabelsRange>
                <c15:f>Sheet1!$E$2:$E$10</c15:f>
                <c15:dlblRangeCache>
                  <c:ptCount val="9"/>
                  <c:pt idx="0">
                    <c:v>Cru La Maqueline</c:v>
                  </c:pt>
                  <c:pt idx="1">
                    <c:v>Celen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3"/>
          <c:min val="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12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5EB83A8-0B4E-4CEF-A25B-C38E49AA27F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0373648-C091-4DB5-B68F-BC44F76ADD2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9B70F599-62BF-4517-BD88-A6236104185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F13A5971-C211-4243-BCBD-01764EA33D5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47989EF0-BB22-4893-B90D-2D29473AE6C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0DCFD32E-A6A5-4E9E-97CA-137998DBDC6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057FC907-C5E3-495D-B0E4-6C1453740FD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C81B1F3F-1DEA-47E4-8B73-A9E0276186B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10.7494</c:v>
                </c:pt>
                <c:pt idx="1">
                  <c:v>9.81</c:v>
                </c:pt>
              </c:numCache>
            </c:numRef>
          </c:xVal>
          <c:yVal>
            <c:numRef>
              <c:f>Sheet1!$B$2:$B$3</c:f>
              <c:numCache>
                <c:formatCode>General</c:formatCode>
                <c:ptCount val="2"/>
                <c:pt idx="0">
                  <c:v>0.98399999999999999</c:v>
                </c:pt>
                <c:pt idx="1">
                  <c:v>0.84399999999999997</c:v>
                </c:pt>
              </c:numCache>
            </c:numRef>
          </c:yVal>
          <c:bubbleSize>
            <c:numRef>
              <c:f>Sheet1!$C$2:$C$3</c:f>
              <c:numCache>
                <c:formatCode>General</c:formatCode>
                <c:ptCount val="2"/>
                <c:pt idx="0">
                  <c:v>13985</c:v>
                </c:pt>
                <c:pt idx="1">
                  <c:v>1962</c:v>
                </c:pt>
              </c:numCache>
            </c:numRef>
          </c:bubbleSize>
          <c:bubble3D val="0"/>
          <c:extLst>
            <c:ext xmlns:c15="http://schemas.microsoft.com/office/drawing/2012/chart" uri="{02D57815-91ED-43cb-92C2-25804820EDAC}">
              <c15:datalabelsRange>
                <c15:f>Sheet1!$E$2:$E$10</c15:f>
                <c15:dlblRangeCache>
                  <c:ptCount val="9"/>
                  <c:pt idx="0">
                    <c:v>Cru La Maqueline</c:v>
                  </c:pt>
                  <c:pt idx="1">
                    <c:v>Celen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3"/>
          <c:min val="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183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5AA85DD-8ED6-4138-A08E-0621385ECCC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4D9E297-E7A8-4800-A478-9B377715C05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6555A153-BD1A-426B-9F1D-8D4DF549367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8D1CA463-FB5B-430C-9C70-D5BBE190F26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08D1196A-0DAF-4ACA-8846-EDFEFC88837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7004E4ED-2C61-4FEB-BCF7-2808F5148A2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72B46128-2E94-4E5A-B5BF-50D1A9BAD73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5CF0E74C-E8FA-4954-951C-FEF0E2761A0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10.7454</c:v>
                </c:pt>
                <c:pt idx="1">
                  <c:v>9.6069999999999993</c:v>
                </c:pt>
              </c:numCache>
            </c:numRef>
          </c:xVal>
          <c:yVal>
            <c:numRef>
              <c:f>Sheet1!$B$2:$B$3</c:f>
              <c:numCache>
                <c:formatCode>General</c:formatCode>
                <c:ptCount val="2"/>
                <c:pt idx="0">
                  <c:v>1.036</c:v>
                </c:pt>
                <c:pt idx="1">
                  <c:v>0.84399999999999997</c:v>
                </c:pt>
              </c:numCache>
            </c:numRef>
          </c:yVal>
          <c:bubbleSize>
            <c:numRef>
              <c:f>Sheet1!$C$2:$C$3</c:f>
              <c:numCache>
                <c:formatCode>General</c:formatCode>
                <c:ptCount val="2"/>
                <c:pt idx="0">
                  <c:v>10509</c:v>
                </c:pt>
                <c:pt idx="1">
                  <c:v>1931</c:v>
                </c:pt>
              </c:numCache>
            </c:numRef>
          </c:bubbleSize>
          <c:bubble3D val="0"/>
          <c:extLst>
            <c:ext xmlns:c15="http://schemas.microsoft.com/office/drawing/2012/chart" uri="{02D57815-91ED-43cb-92C2-25804820EDAC}">
              <c15:datalabelsRange>
                <c15:f>Sheet1!$E$2:$E$10</c15:f>
                <c15:dlblRangeCache>
                  <c:ptCount val="9"/>
                  <c:pt idx="0">
                    <c:v>Cru La Maqueline</c:v>
                  </c:pt>
                  <c:pt idx="1">
                    <c:v>Celen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3"/>
          <c:min val="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36"/>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A81ED1F-A846-4AF6-96C8-E4946ABA228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2EB8CAD-CDDA-4C2D-9BF0-C65AB54E4BD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ED0728DF-047D-4735-9478-C2AB8256A6F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91A3514E-EFDF-45B5-B001-5104EA0FFB6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6884A1CD-4670-4568-BD51-E65575002C4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8D55F3B0-888C-46CB-8A6B-03EF0807813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AC3EFC66-9E8A-4A23-A7D5-EBA673B2C9E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337A904C-569A-4754-9255-CC08B0C3B4F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10.889099999999999</c:v>
                </c:pt>
                <c:pt idx="1">
                  <c:v>9.4672999999999998</c:v>
                </c:pt>
              </c:numCache>
            </c:numRef>
          </c:xVal>
          <c:yVal>
            <c:numRef>
              <c:f>Sheet1!$B$2:$B$3</c:f>
              <c:numCache>
                <c:formatCode>General</c:formatCode>
                <c:ptCount val="2"/>
                <c:pt idx="0">
                  <c:v>1.0269999999999999</c:v>
                </c:pt>
                <c:pt idx="1">
                  <c:v>0.90300000000000002</c:v>
                </c:pt>
              </c:numCache>
            </c:numRef>
          </c:yVal>
          <c:bubbleSize>
            <c:numRef>
              <c:f>Sheet1!$C$2:$C$3</c:f>
              <c:numCache>
                <c:formatCode>General</c:formatCode>
                <c:ptCount val="2"/>
                <c:pt idx="0">
                  <c:v>10998</c:v>
                </c:pt>
                <c:pt idx="1">
                  <c:v>4194</c:v>
                </c:pt>
              </c:numCache>
            </c:numRef>
          </c:bubbleSize>
          <c:bubble3D val="0"/>
          <c:extLst>
            <c:ext xmlns:c15="http://schemas.microsoft.com/office/drawing/2012/chart" uri="{02D57815-91ED-43cb-92C2-25804820EDAC}">
              <c15:datalabelsRange>
                <c15:f>Sheet1!$E$2:$E$10</c15:f>
                <c15:dlblRangeCache>
                  <c:ptCount val="9"/>
                  <c:pt idx="0">
                    <c:v>Cru La Maqueline</c:v>
                  </c:pt>
                  <c:pt idx="1">
                    <c:v>Celen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3"/>
          <c:min val="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26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0"/>
            <c:bubble3D val="0"/>
            <c:spPr>
              <a:solidFill>
                <a:srgbClr val="AEABAB"/>
              </a:solidFill>
              <a:ln>
                <a:noFill/>
              </a:ln>
              <a:effectLst/>
            </c:spPr>
            <c:extLst>
              <c:ext xmlns:c16="http://schemas.microsoft.com/office/drawing/2014/chart" uri="{C3380CC4-5D6E-409C-BE32-E72D297353CC}">
                <c16:uniqueId val="{00000026-4B23-4768-AE96-7AAF69EC1929}"/>
              </c:ext>
            </c:extLst>
          </c:dPt>
          <c:dPt>
            <c:idx val="5"/>
            <c:invertIfNegative val="0"/>
            <c:bubble3D val="0"/>
            <c:spPr>
              <a:solidFill>
                <a:srgbClr val="CBEAE7"/>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AEABA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AEABA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AEABA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AEABA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AEABA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AEABA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AEABA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AEABA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AEABA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AEABA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AEABA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AEABA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AEABA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3</c:f>
              <c:multiLvlStrCache>
                <c:ptCount val="12"/>
                <c:lvl>
                  <c:pt idx="0">
                    <c:v>Total</c:v>
                  </c:pt>
                  <c:pt idx="1">
                    <c:v>Malard Nicolas</c:v>
                  </c:pt>
                  <c:pt idx="2">
                    <c:v>Total</c:v>
                  </c:pt>
                  <c:pt idx="3">
                    <c:v>Malard Nicolas</c:v>
                  </c:pt>
                  <c:pt idx="4">
                    <c:v>Total</c:v>
                  </c:pt>
                  <c:pt idx="5">
                    <c:v>Malard Nicolas</c:v>
                  </c:pt>
                  <c:pt idx="6">
                    <c:v>Total</c:v>
                  </c:pt>
                  <c:pt idx="7">
                    <c:v>Malard Nicolas</c:v>
                  </c:pt>
                  <c:pt idx="8">
                    <c:v>Total</c:v>
                  </c:pt>
                  <c:pt idx="9">
                    <c:v>Malard Nicolas</c:v>
                  </c:pt>
                  <c:pt idx="10">
                    <c:v>Total</c:v>
                  </c:pt>
                  <c:pt idx="11">
                    <c:v>Malard Nicolas</c:v>
                  </c:pt>
                </c:lvl>
                <c:lvl>
                  <c:pt idx="0">
                    <c:v>Bruts</c:v>
                  </c:pt>
                  <c:pt idx="2">
                    <c:v>Rosés</c:v>
                  </c:pt>
                  <c:pt idx="4">
                    <c:v>Mousseux Italiens</c:v>
                  </c:pt>
                  <c:pt idx="6">
                    <c:v>Mousseux Alsace</c:v>
                  </c:pt>
                  <c:pt idx="8">
                    <c:v>Mousseux Val De Loire</c:v>
                  </c:pt>
                  <c:pt idx="10">
                    <c:v>Mousseux Bourgogne</c:v>
                  </c:pt>
                </c:lvl>
                <c:lvl>
                  <c:pt idx="0">
                    <c:v>Champagnes</c:v>
                  </c:pt>
                  <c:pt idx="4">
                    <c:v>Mousseux</c:v>
                  </c:pt>
                </c:lvl>
              </c:multiLvlStrCache>
            </c:multiLvlStrRef>
          </c:cat>
          <c:val>
            <c:numRef>
              <c:f>Sheet1!$D$2:$D$13</c:f>
              <c:numCache>
                <c:formatCode>General</c:formatCode>
                <c:ptCount val="12"/>
                <c:pt idx="0">
                  <c:v>475.5</c:v>
                </c:pt>
                <c:pt idx="1">
                  <c:v>4.5999999999999996</c:v>
                </c:pt>
                <c:pt idx="2">
                  <c:v>43.9</c:v>
                </c:pt>
                <c:pt idx="3">
                  <c:v>0.4</c:v>
                </c:pt>
                <c:pt idx="4">
                  <c:v>131.1</c:v>
                </c:pt>
                <c:pt idx="5">
                  <c:v>0</c:v>
                </c:pt>
                <c:pt idx="6">
                  <c:v>103.8</c:v>
                </c:pt>
                <c:pt idx="7">
                  <c:v>0</c:v>
                </c:pt>
                <c:pt idx="8">
                  <c:v>70.3</c:v>
                </c:pt>
                <c:pt idx="9">
                  <c:v>0</c:v>
                </c:pt>
                <c:pt idx="10">
                  <c:v>41.2</c:v>
                </c:pt>
                <c:pt idx="11">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26.3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29.5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41.9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37.9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8.2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64A4-4039-B2C2-0A2263E9C06B}"/>
                </c:ext>
              </c:extLst>
            </c:dLbl>
            <c:dLbl>
              <c:idx val="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64A4-4039-B2C2-0A2263E9C06B}"/>
                </c:ext>
              </c:extLst>
            </c:dLbl>
            <c:dLbl>
              <c:idx val="6"/>
              <c:tx>
                <c:rich>
                  <a:bodyPr/>
                  <a:lstStyle/>
                  <a:p>
                    <a:r>
                      <a:t>6.9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64A4-4039-B2C2-0A2263E9C06B}"/>
                </c:ext>
              </c:extLst>
            </c:dLbl>
            <c:dLbl>
              <c:idx val="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64A4-4039-B2C2-0A2263E9C06B}"/>
                </c:ext>
              </c:extLst>
            </c:dLbl>
            <c:dLbl>
              <c:idx val="8"/>
              <c:tx>
                <c:rich>
                  <a:bodyPr/>
                  <a:lstStyle/>
                  <a:p>
                    <a:r>
                      <a:t>7.1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64A4-4039-B2C2-0A2263E9C06B}"/>
                </c:ext>
              </c:extLst>
            </c:dLbl>
            <c:dLbl>
              <c:idx val="9"/>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64A4-4039-B2C2-0A2263E9C06B}"/>
                </c:ext>
              </c:extLst>
            </c:dLbl>
            <c:dLbl>
              <c:idx val="10"/>
              <c:tx>
                <c:rich>
                  <a:bodyPr/>
                  <a:lstStyle/>
                  <a:p>
                    <a:r>
                      <a:t>9.4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64A4-4039-B2C2-0A2263E9C06B}"/>
                </c:ext>
              </c:extLst>
            </c:dLbl>
            <c:dLbl>
              <c:idx val="1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64A4-4039-B2C2-0A2263E9C06B}"/>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3</c:f>
              <c:multiLvlStrCache>
                <c:ptCount val="12"/>
                <c:lvl>
                  <c:pt idx="0">
                    <c:v>Total</c:v>
                  </c:pt>
                  <c:pt idx="1">
                    <c:v>Malard Nicolas</c:v>
                  </c:pt>
                  <c:pt idx="2">
                    <c:v>Total</c:v>
                  </c:pt>
                  <c:pt idx="3">
                    <c:v>Malard Nicolas</c:v>
                  </c:pt>
                  <c:pt idx="4">
                    <c:v>Total</c:v>
                  </c:pt>
                  <c:pt idx="5">
                    <c:v>Malard Nicolas</c:v>
                  </c:pt>
                  <c:pt idx="6">
                    <c:v>Total</c:v>
                  </c:pt>
                  <c:pt idx="7">
                    <c:v>Malard Nicolas</c:v>
                  </c:pt>
                  <c:pt idx="8">
                    <c:v>Total</c:v>
                  </c:pt>
                  <c:pt idx="9">
                    <c:v>Malard Nicolas</c:v>
                  </c:pt>
                  <c:pt idx="10">
                    <c:v>Total</c:v>
                  </c:pt>
                  <c:pt idx="11">
                    <c:v>Malard Nicolas</c:v>
                  </c:pt>
                </c:lvl>
                <c:lvl>
                  <c:pt idx="0">
                    <c:v>Bruts</c:v>
                  </c:pt>
                  <c:pt idx="2">
                    <c:v>Rosés</c:v>
                  </c:pt>
                  <c:pt idx="4">
                    <c:v>Mousseux Italiens</c:v>
                  </c:pt>
                  <c:pt idx="6">
                    <c:v>Mousseux Alsace</c:v>
                  </c:pt>
                  <c:pt idx="8">
                    <c:v>Mousseux Val De Loire</c:v>
                  </c:pt>
                  <c:pt idx="10">
                    <c:v>Mousseux Bourgogne</c:v>
                  </c:pt>
                </c:lvl>
                <c:lvl>
                  <c:pt idx="0">
                    <c:v>Champagnes</c:v>
                  </c:pt>
                  <c:pt idx="4">
                    <c:v>Mousseux</c:v>
                  </c:pt>
                </c:lvl>
              </c:multiLvlStrCache>
            </c:multiLvlStrRef>
          </c:cat>
          <c:val>
            <c:numRef>
              <c:f>Sheet1!$E$2:$E$13</c:f>
              <c:numCache>
                <c:formatCode>General</c:formatCode>
                <c:ptCount val="12"/>
                <c:pt idx="0">
                  <c:v>26.361699999999999</c:v>
                </c:pt>
                <c:pt idx="1">
                  <c:v>29.526199999999999</c:v>
                </c:pt>
                <c:pt idx="2">
                  <c:v>41.983699999999999</c:v>
                </c:pt>
                <c:pt idx="3">
                  <c:v>37.991900000000001</c:v>
                </c:pt>
                <c:pt idx="4">
                  <c:v>8.2279999999999998</c:v>
                </c:pt>
                <c:pt idx="5">
                  <c:v>0</c:v>
                </c:pt>
                <c:pt idx="6">
                  <c:v>6.9306000000000001</c:v>
                </c:pt>
                <c:pt idx="7">
                  <c:v>0</c:v>
                </c:pt>
                <c:pt idx="8">
                  <c:v>7.1753</c:v>
                </c:pt>
                <c:pt idx="9">
                  <c:v>0</c:v>
                </c:pt>
                <c:pt idx="10">
                  <c:v>9.4803999999999995</c:v>
                </c:pt>
                <c:pt idx="11">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0"/>
            <c:bubble3D val="0"/>
            <c:spPr>
              <a:solidFill>
                <a:srgbClr val="AEABAB"/>
              </a:solidFill>
              <a:ln>
                <a:noFill/>
              </a:ln>
              <a:effectLst/>
            </c:spPr>
            <c:extLst>
              <c:ext xmlns:c16="http://schemas.microsoft.com/office/drawing/2014/chart" uri="{C3380CC4-5D6E-409C-BE32-E72D297353CC}">
                <c16:uniqueId val="{00000026-4B23-4768-AE96-7AAF69EC1929}"/>
              </c:ext>
            </c:extLst>
          </c:dPt>
          <c:dPt>
            <c:idx val="5"/>
            <c:invertIfNegative val="0"/>
            <c:bubble3D val="0"/>
            <c:spPr>
              <a:solidFill>
                <a:srgbClr val="CBEAE7"/>
              </a:solidFill>
              <a:ln>
                <a:noFill/>
              </a:ln>
              <a:effectLst/>
            </c:spPr>
            <c:extLst>
              <c:ext xmlns:c16="http://schemas.microsoft.com/office/drawing/2014/chart" uri="{C3380CC4-5D6E-409C-BE32-E72D297353CC}">
                <c16:uniqueId val="{00000006-C486-4167-8002-0794DD94CC5C}"/>
              </c:ext>
            </c:extLst>
          </c:dPt>
          <c:dPt>
            <c:idx val="6"/>
            <c:invertIfNegative val="1"/>
            <c:bubble3D val="0"/>
            <c:spPr>
              <a:solidFill>
                <a:srgbClr val="AEABAB"/>
              </a:solidFill>
              <a:ln>
                <a:noFill/>
              </a:ln>
              <a:effectLst/>
            </c:spPr>
            <c:extLst>
              <c:ext xmlns:c16="http://schemas.microsoft.com/office/drawing/2014/chart" uri="{C3380CC4-5D6E-409C-BE32-E72D297353CC}">
                <c16:uniqueId val="{00000029-065B-4D93-8010-20AC8467F111}"/>
              </c:ext>
            </c:extLst>
          </c:dPt>
          <c:dPt>
            <c:idx val="7"/>
            <c:invertIfNegative val="0"/>
            <c:bubble3D val="0"/>
            <c:spPr>
              <a:solidFill>
                <a:srgbClr val="CBEAE7"/>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AEABA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AEABA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AEABA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AEABA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AEABA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AEABA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AEABA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AEABA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AEABA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AEABA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AEABA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AEABA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AEABA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7</c:f>
              <c:multiLvlStrCache>
                <c:ptCount val="16"/>
                <c:lvl>
                  <c:pt idx="0">
                    <c:v>Total</c:v>
                  </c:pt>
                  <c:pt idx="1">
                    <c:v>Malard Nicolas</c:v>
                  </c:pt>
                  <c:pt idx="2">
                    <c:v>Total</c:v>
                  </c:pt>
                  <c:pt idx="3">
                    <c:v>Malard Nicolas</c:v>
                  </c:pt>
                  <c:pt idx="4">
                    <c:v>Total</c:v>
                  </c:pt>
                  <c:pt idx="5">
                    <c:v>Malard Nicolas</c:v>
                  </c:pt>
                  <c:pt idx="6">
                    <c:v>Total</c:v>
                  </c:pt>
                  <c:pt idx="7">
                    <c:v>Malard Nicolas</c:v>
                  </c:pt>
                  <c:pt idx="8">
                    <c:v>Total</c:v>
                  </c:pt>
                  <c:pt idx="9">
                    <c:v>Malard Nicolas</c:v>
                  </c:pt>
                  <c:pt idx="10">
                    <c:v>Total</c:v>
                  </c:pt>
                  <c:pt idx="11">
                    <c:v>Malard Nicolas</c:v>
                  </c:pt>
                  <c:pt idx="12">
                    <c:v>Total</c:v>
                  </c:pt>
                  <c:pt idx="13">
                    <c:v>Malard Nicolas</c:v>
                  </c:pt>
                  <c:pt idx="14">
                    <c:v>Total</c:v>
                  </c:pt>
                  <c:pt idx="15">
                    <c:v>Malard Nicolas</c:v>
                  </c:pt>
                </c:lvl>
                <c:lvl>
                  <c:pt idx="0">
                    <c:v>Bruts</c:v>
                  </c:pt>
                  <c:pt idx="2">
                    <c:v>Blanc De Blancs</c:v>
                  </c:pt>
                  <c:pt idx="4">
                    <c:v>Rosés</c:v>
                  </c:pt>
                  <c:pt idx="6">
                    <c:v>Crus</c:v>
                  </c:pt>
                  <c:pt idx="8">
                    <c:v>Millesimes</c:v>
                  </c:pt>
                  <c:pt idx="10">
                    <c:v>Extra Brut</c:v>
                  </c:pt>
                  <c:pt idx="12">
                    <c:v>Mousseux Italiens</c:v>
                  </c:pt>
                  <c:pt idx="14">
                    <c:v>Mousseux Val De Loire</c:v>
                  </c:pt>
                </c:lvl>
                <c:lvl>
                  <c:pt idx="0">
                    <c:v>Champagnes</c:v>
                  </c:pt>
                  <c:pt idx="12">
                    <c:v>Mousseux</c:v>
                  </c:pt>
                </c:lvl>
              </c:multiLvlStrCache>
            </c:multiLvlStrRef>
          </c:cat>
          <c:val>
            <c:numRef>
              <c:f>Sheet1!$D$2:$D$17</c:f>
              <c:numCache>
                <c:formatCode>General</c:formatCode>
                <c:ptCount val="16"/>
                <c:pt idx="0">
                  <c:v>42</c:v>
                </c:pt>
                <c:pt idx="1">
                  <c:v>4.5999999999999996</c:v>
                </c:pt>
                <c:pt idx="2">
                  <c:v>8.1</c:v>
                </c:pt>
                <c:pt idx="3">
                  <c:v>0.5</c:v>
                </c:pt>
                <c:pt idx="4">
                  <c:v>4.3</c:v>
                </c:pt>
                <c:pt idx="5">
                  <c:v>0.4</c:v>
                </c:pt>
                <c:pt idx="6">
                  <c:v>2.9</c:v>
                </c:pt>
                <c:pt idx="7">
                  <c:v>0.1</c:v>
                </c:pt>
                <c:pt idx="8">
                  <c:v>2.5</c:v>
                </c:pt>
                <c:pt idx="9">
                  <c:v>0</c:v>
                </c:pt>
                <c:pt idx="10">
                  <c:v>2.2999999999999998</c:v>
                </c:pt>
                <c:pt idx="11">
                  <c:v>0</c:v>
                </c:pt>
                <c:pt idx="12">
                  <c:v>1.7</c:v>
                </c:pt>
                <c:pt idx="13">
                  <c:v>0</c:v>
                </c:pt>
                <c:pt idx="14">
                  <c:v>1.1000000000000001</c:v>
                </c:pt>
                <c:pt idx="15">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52.4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29.5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97.5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53.5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75.7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065B-4D93-8010-20AC8467F111}"/>
                </c:ext>
              </c:extLst>
            </c:dLbl>
            <c:dLbl>
              <c:idx val="5"/>
              <c:tx>
                <c:rich>
                  <a:bodyPr/>
                  <a:lstStyle/>
                  <a:p>
                    <a:r>
                      <a:t>38.1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065B-4D93-8010-20AC8467F111}"/>
                </c:ext>
              </c:extLst>
            </c:dLbl>
            <c:dLbl>
              <c:idx val="6"/>
              <c:tx>
                <c:rich>
                  <a:bodyPr/>
                  <a:lstStyle/>
                  <a:p>
                    <a:r>
                      <a:t>39.9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065B-4D93-8010-20AC8467F111}"/>
                </c:ext>
              </c:extLst>
            </c:dLbl>
            <c:dLbl>
              <c:idx val="7"/>
              <c:tx>
                <c:rich>
                  <a:bodyPr/>
                  <a:lstStyle/>
                  <a:p>
                    <a:r>
                      <a:t>43.0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065B-4D93-8010-20AC8467F111}"/>
                </c:ext>
              </c:extLst>
            </c:dLbl>
            <c:dLbl>
              <c:idx val="8"/>
              <c:tx>
                <c:rich>
                  <a:bodyPr/>
                  <a:lstStyle/>
                  <a:p>
                    <a:r>
                      <a:t>180.0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065B-4D93-8010-20AC8467F111}"/>
                </c:ext>
              </c:extLst>
            </c:dLbl>
            <c:dLbl>
              <c:idx val="9"/>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065B-4D93-8010-20AC8467F111}"/>
                </c:ext>
              </c:extLst>
            </c:dLbl>
            <c:dLbl>
              <c:idx val="10"/>
              <c:tx>
                <c:rich>
                  <a:bodyPr/>
                  <a:lstStyle/>
                  <a:p>
                    <a:r>
                      <a:t>44.3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065B-4D93-8010-20AC8467F111}"/>
                </c:ext>
              </c:extLst>
            </c:dLbl>
            <c:dLbl>
              <c:idx val="1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065B-4D93-8010-20AC8467F111}"/>
                </c:ext>
              </c:extLst>
            </c:dLbl>
            <c:dLbl>
              <c:idx val="12"/>
              <c:tx>
                <c:rich>
                  <a:bodyPr/>
                  <a:lstStyle/>
                  <a:p>
                    <a:r>
                      <a:t>11.9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065B-4D93-8010-20AC8467F111}"/>
                </c:ext>
              </c:extLst>
            </c:dLbl>
            <c:dLbl>
              <c:idx val="1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065B-4D93-8010-20AC8467F111}"/>
                </c:ext>
              </c:extLst>
            </c:dLbl>
            <c:dLbl>
              <c:idx val="14"/>
              <c:tx>
                <c:rich>
                  <a:bodyPr/>
                  <a:lstStyle/>
                  <a:p>
                    <a:r>
                      <a:t>15.4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065B-4D93-8010-20AC8467F111}"/>
                </c:ext>
              </c:extLst>
            </c:dLbl>
            <c:dLbl>
              <c:idx val="1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065B-4D93-8010-20AC8467F111}"/>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7</c:f>
              <c:multiLvlStrCache>
                <c:ptCount val="16"/>
                <c:lvl>
                  <c:pt idx="0">
                    <c:v>Total</c:v>
                  </c:pt>
                  <c:pt idx="1">
                    <c:v>Malard Nicolas</c:v>
                  </c:pt>
                  <c:pt idx="2">
                    <c:v>Total</c:v>
                  </c:pt>
                  <c:pt idx="3">
                    <c:v>Malard Nicolas</c:v>
                  </c:pt>
                  <c:pt idx="4">
                    <c:v>Total</c:v>
                  </c:pt>
                  <c:pt idx="5">
                    <c:v>Malard Nicolas</c:v>
                  </c:pt>
                  <c:pt idx="6">
                    <c:v>Total</c:v>
                  </c:pt>
                  <c:pt idx="7">
                    <c:v>Malard Nicolas</c:v>
                  </c:pt>
                  <c:pt idx="8">
                    <c:v>Total</c:v>
                  </c:pt>
                  <c:pt idx="9">
                    <c:v>Malard Nicolas</c:v>
                  </c:pt>
                  <c:pt idx="10">
                    <c:v>Total</c:v>
                  </c:pt>
                  <c:pt idx="11">
                    <c:v>Malard Nicolas</c:v>
                  </c:pt>
                  <c:pt idx="12">
                    <c:v>Total</c:v>
                  </c:pt>
                  <c:pt idx="13">
                    <c:v>Malard Nicolas</c:v>
                  </c:pt>
                  <c:pt idx="14">
                    <c:v>Total</c:v>
                  </c:pt>
                  <c:pt idx="15">
                    <c:v>Malard Nicolas</c:v>
                  </c:pt>
                </c:lvl>
                <c:lvl>
                  <c:pt idx="0">
                    <c:v>Bruts</c:v>
                  </c:pt>
                  <c:pt idx="2">
                    <c:v>Blanc De Blancs</c:v>
                  </c:pt>
                  <c:pt idx="4">
                    <c:v>Rosés</c:v>
                  </c:pt>
                  <c:pt idx="6">
                    <c:v>Crus</c:v>
                  </c:pt>
                  <c:pt idx="8">
                    <c:v>Millesimes</c:v>
                  </c:pt>
                  <c:pt idx="10">
                    <c:v>Extra Brut</c:v>
                  </c:pt>
                  <c:pt idx="12">
                    <c:v>Mousseux Italiens</c:v>
                  </c:pt>
                  <c:pt idx="14">
                    <c:v>Mousseux Val De Loire</c:v>
                  </c:pt>
                </c:lvl>
                <c:lvl>
                  <c:pt idx="0">
                    <c:v>Champagnes</c:v>
                  </c:pt>
                  <c:pt idx="12">
                    <c:v>Mousseux</c:v>
                  </c:pt>
                </c:lvl>
              </c:multiLvlStrCache>
            </c:multiLvlStrRef>
          </c:cat>
          <c:val>
            <c:numRef>
              <c:f>Sheet1!$E$2:$E$17</c:f>
              <c:numCache>
                <c:formatCode>General</c:formatCode>
                <c:ptCount val="16"/>
                <c:pt idx="0">
                  <c:v>52.466700000000003</c:v>
                </c:pt>
                <c:pt idx="1">
                  <c:v>29.543600000000001</c:v>
                </c:pt>
                <c:pt idx="2">
                  <c:v>97.591700000000003</c:v>
                </c:pt>
                <c:pt idx="3">
                  <c:v>53.555700000000002</c:v>
                </c:pt>
                <c:pt idx="4">
                  <c:v>75.725800000000007</c:v>
                </c:pt>
                <c:pt idx="5">
                  <c:v>38.1937</c:v>
                </c:pt>
                <c:pt idx="6">
                  <c:v>39.992199999999997</c:v>
                </c:pt>
                <c:pt idx="7">
                  <c:v>43.083599999999997</c:v>
                </c:pt>
                <c:pt idx="8">
                  <c:v>180.0427</c:v>
                </c:pt>
                <c:pt idx="9">
                  <c:v>0</c:v>
                </c:pt>
                <c:pt idx="10">
                  <c:v>44.387300000000003</c:v>
                </c:pt>
                <c:pt idx="11">
                  <c:v>0</c:v>
                </c:pt>
                <c:pt idx="12">
                  <c:v>11.944100000000001</c:v>
                </c:pt>
                <c:pt idx="13">
                  <c:v>0</c:v>
                </c:pt>
                <c:pt idx="14">
                  <c:v>15.4686</c:v>
                </c:pt>
                <c:pt idx="15">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81CCE7B-0D05-4361-8C95-9B5A5810B6A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BF6CC7D-272A-4CD5-AD48-8E8125911EB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83E693F-C3D4-486B-9BE5-841BED2AAE6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EC2FDDE-F2DE-4E7E-81C6-7392D3F58DF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ACCD413-D7AD-4E89-B066-02D4EF40AB5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37BC618-BED5-42C2-A431-79E0128DE36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6CBFF29-0CC9-4340-A9AE-F935BA16B9A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59AAE0B1-5040-4B5E-893B-509C767BACC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5.3677000000000001</c:v>
                </c:pt>
                <c:pt idx="1">
                  <c:v>6.4625000000000004</c:v>
                </c:pt>
                <c:pt idx="2">
                  <c:v>6.7061999999999999</c:v>
                </c:pt>
                <c:pt idx="3">
                  <c:v>6.0472000000000001</c:v>
                </c:pt>
                <c:pt idx="4">
                  <c:v>7.4202000000000004</c:v>
                </c:pt>
                <c:pt idx="5">
                  <c:v>6.5438000000000001</c:v>
                </c:pt>
                <c:pt idx="6">
                  <c:v>6.5370999999999997</c:v>
                </c:pt>
                <c:pt idx="7">
                  <c:v>6.8582000000000001</c:v>
                </c:pt>
              </c:numCache>
            </c:numRef>
          </c:xVal>
          <c:yVal>
            <c:numRef>
              <c:f>Sheet1!$B$2:$B$9</c:f>
              <c:numCache>
                <c:formatCode>General</c:formatCode>
                <c:ptCount val="8"/>
                <c:pt idx="0">
                  <c:v>0.99199999999999999</c:v>
                </c:pt>
                <c:pt idx="1">
                  <c:v>1.012</c:v>
                </c:pt>
                <c:pt idx="2">
                  <c:v>0.77200000000000002</c:v>
                </c:pt>
                <c:pt idx="3">
                  <c:v>0.92300000000000004</c:v>
                </c:pt>
                <c:pt idx="4">
                  <c:v>1.202</c:v>
                </c:pt>
                <c:pt idx="5">
                  <c:v>1.1759999999999999</c:v>
                </c:pt>
                <c:pt idx="6">
                  <c:v>0.74199999999999999</c:v>
                </c:pt>
                <c:pt idx="7">
                  <c:v>1.306</c:v>
                </c:pt>
              </c:numCache>
            </c:numRef>
          </c:yVal>
          <c:bubbleSize>
            <c:numRef>
              <c:f>Sheet1!$C$2:$C$9</c:f>
              <c:numCache>
                <c:formatCode>General</c:formatCode>
                <c:ptCount val="8"/>
                <c:pt idx="0">
                  <c:v>26939241</c:v>
                </c:pt>
                <c:pt idx="1">
                  <c:v>11877367</c:v>
                </c:pt>
                <c:pt idx="2">
                  <c:v>6775215</c:v>
                </c:pt>
                <c:pt idx="3">
                  <c:v>5266419</c:v>
                </c:pt>
                <c:pt idx="4">
                  <c:v>3181796</c:v>
                </c:pt>
                <c:pt idx="5">
                  <c:v>2333478</c:v>
                </c:pt>
                <c:pt idx="6">
                  <c:v>964260</c:v>
                </c:pt>
                <c:pt idx="7">
                  <c:v>953391</c:v>
                </c:pt>
              </c:numCache>
            </c:numRef>
          </c:bubbleSize>
          <c:bubble3D val="0"/>
          <c:extLst>
            <c:ext xmlns:c15="http://schemas.microsoft.com/office/drawing/2012/chart" uri="{02D57815-91ED-43cb-92C2-25804820EDAC}">
              <c15:datalabelsRange>
                <c15:f>Sheet1!$E$2:$E$10</c15:f>
                <c15:dlblRangeCache>
                  <c:ptCount val="9"/>
                  <c:pt idx="0">
                    <c:v>Mdd</c:v>
                  </c:pt>
                  <c:pt idx="1">
                    <c:v>Ackerman</c:v>
                  </c:pt>
                  <c:pt idx="2">
                    <c:v>Melle Ladubay</c:v>
                  </c:pt>
                  <c:pt idx="3">
                    <c:v>Gratien Et Meyer</c:v>
                  </c:pt>
                  <c:pt idx="4">
                    <c:v>Chateau Moncontour</c:v>
                  </c:pt>
                  <c:pt idx="5">
                    <c:v>Lacheteau</c:v>
                  </c:pt>
                  <c:pt idx="6">
                    <c:v>Jean Marc Toussaint</c:v>
                  </c:pt>
                  <c:pt idx="7">
                    <c:v>Sca Gd Vin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9"/>
          <c:min val="4"/>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0"/>
            <c:bubble3D val="0"/>
            <c:spPr>
              <a:solidFill>
                <a:srgbClr val="AEABAB"/>
              </a:solidFill>
              <a:ln>
                <a:noFill/>
              </a:ln>
              <a:effectLst/>
            </c:spPr>
            <c:extLst>
              <c:ext xmlns:c16="http://schemas.microsoft.com/office/drawing/2014/chart" uri="{C3380CC4-5D6E-409C-BE32-E72D297353CC}">
                <c16:uniqueId val="{00000026-4B23-4768-AE96-7AAF69EC1929}"/>
              </c:ext>
            </c:extLst>
          </c:dPt>
          <c:dPt>
            <c:idx val="5"/>
            <c:invertIfNegative val="0"/>
            <c:bubble3D val="0"/>
            <c:spPr>
              <a:solidFill>
                <a:srgbClr val="CBEAE7"/>
              </a:solidFill>
              <a:ln>
                <a:noFill/>
              </a:ln>
              <a:effectLst/>
            </c:spPr>
            <c:extLst>
              <c:ext xmlns:c16="http://schemas.microsoft.com/office/drawing/2014/chart" uri="{C3380CC4-5D6E-409C-BE32-E72D297353CC}">
                <c16:uniqueId val="{00000006-C486-4167-8002-0794DD94CC5C}"/>
              </c:ext>
            </c:extLst>
          </c:dPt>
          <c:dPt>
            <c:idx val="6"/>
            <c:invertIfNegative val="1"/>
            <c:bubble3D val="0"/>
            <c:spPr>
              <a:solidFill>
                <a:srgbClr val="AEABAB"/>
              </a:solidFill>
              <a:ln>
                <a:noFill/>
              </a:ln>
              <a:effectLst/>
            </c:spPr>
            <c:extLst>
              <c:ext xmlns:c16="http://schemas.microsoft.com/office/drawing/2014/chart" uri="{C3380CC4-5D6E-409C-BE32-E72D297353CC}">
                <c16:uniqueId val="{00000029-3161-4B6A-843F-F907B73A5C21}"/>
              </c:ext>
            </c:extLst>
          </c:dPt>
          <c:dPt>
            <c:idx val="7"/>
            <c:invertIfNegative val="0"/>
            <c:bubble3D val="0"/>
            <c:spPr>
              <a:solidFill>
                <a:srgbClr val="CBEAE7"/>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AEABA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AEABA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AEABA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AEABA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AEABA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AEABA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AEABA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AEABA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AEABA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AEABA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AEABA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AEABA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AEABA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7</c:f>
              <c:multiLvlStrCache>
                <c:ptCount val="16"/>
                <c:lvl>
                  <c:pt idx="0">
                    <c:v>Total</c:v>
                  </c:pt>
                  <c:pt idx="1">
                    <c:v>Malard Nicolas</c:v>
                  </c:pt>
                  <c:pt idx="2">
                    <c:v>Total</c:v>
                  </c:pt>
                  <c:pt idx="3">
                    <c:v>Malard Nicolas</c:v>
                  </c:pt>
                  <c:pt idx="4">
                    <c:v>Total</c:v>
                  </c:pt>
                  <c:pt idx="5">
                    <c:v>Malard Nicolas</c:v>
                  </c:pt>
                  <c:pt idx="6">
                    <c:v>Total</c:v>
                  </c:pt>
                  <c:pt idx="7">
                    <c:v>Malard Nicolas</c:v>
                  </c:pt>
                  <c:pt idx="8">
                    <c:v>Total</c:v>
                  </c:pt>
                  <c:pt idx="9">
                    <c:v>Malard Nicolas</c:v>
                  </c:pt>
                  <c:pt idx="10">
                    <c:v>Total</c:v>
                  </c:pt>
                  <c:pt idx="11">
                    <c:v>Malard Nicolas</c:v>
                  </c:pt>
                  <c:pt idx="12">
                    <c:v>Total</c:v>
                  </c:pt>
                  <c:pt idx="13">
                    <c:v>Malard Nicolas</c:v>
                  </c:pt>
                  <c:pt idx="14">
                    <c:v>Total</c:v>
                  </c:pt>
                  <c:pt idx="15">
                    <c:v>Malard Nicolas</c:v>
                  </c:pt>
                </c:lvl>
                <c:lvl>
                  <c:pt idx="0">
                    <c:v>Bruts</c:v>
                  </c:pt>
                  <c:pt idx="2">
                    <c:v>Blanc De Blancs</c:v>
                  </c:pt>
                  <c:pt idx="4">
                    <c:v>Rosés</c:v>
                  </c:pt>
                  <c:pt idx="6">
                    <c:v>Crus</c:v>
                  </c:pt>
                  <c:pt idx="8">
                    <c:v>Extra Brut</c:v>
                  </c:pt>
                  <c:pt idx="10">
                    <c:v>Millesimes</c:v>
                  </c:pt>
                  <c:pt idx="12">
                    <c:v>Mousseux Italiens</c:v>
                  </c:pt>
                  <c:pt idx="14">
                    <c:v>Mousseux Val De Loire</c:v>
                  </c:pt>
                </c:lvl>
                <c:lvl>
                  <c:pt idx="0">
                    <c:v>Champagnes</c:v>
                  </c:pt>
                  <c:pt idx="12">
                    <c:v>Mousseux</c:v>
                  </c:pt>
                </c:lvl>
              </c:multiLvlStrCache>
            </c:multiLvlStrRef>
          </c:cat>
          <c:val>
            <c:numRef>
              <c:f>Sheet1!$D$2:$D$17</c:f>
              <c:numCache>
                <c:formatCode>General</c:formatCode>
                <c:ptCount val="16"/>
                <c:pt idx="0">
                  <c:v>18.8</c:v>
                </c:pt>
                <c:pt idx="1">
                  <c:v>2.1</c:v>
                </c:pt>
                <c:pt idx="2">
                  <c:v>2.8</c:v>
                </c:pt>
                <c:pt idx="3">
                  <c:v>0.2</c:v>
                </c:pt>
                <c:pt idx="4">
                  <c:v>1.8</c:v>
                </c:pt>
                <c:pt idx="5">
                  <c:v>0.2</c:v>
                </c:pt>
                <c:pt idx="6">
                  <c:v>1.4</c:v>
                </c:pt>
                <c:pt idx="7">
                  <c:v>0</c:v>
                </c:pt>
                <c:pt idx="8">
                  <c:v>1.1000000000000001</c:v>
                </c:pt>
                <c:pt idx="9">
                  <c:v>0</c:v>
                </c:pt>
                <c:pt idx="10">
                  <c:v>0.9</c:v>
                </c:pt>
                <c:pt idx="11">
                  <c:v>0</c:v>
                </c:pt>
                <c:pt idx="12">
                  <c:v>0.8</c:v>
                </c:pt>
                <c:pt idx="13">
                  <c:v>0</c:v>
                </c:pt>
                <c:pt idx="14">
                  <c:v>0.6</c:v>
                </c:pt>
                <c:pt idx="15">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52.0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29.6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93.4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53.3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74.9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3161-4B6A-843F-F907B73A5C21}"/>
                </c:ext>
              </c:extLst>
            </c:dLbl>
            <c:dLbl>
              <c:idx val="5"/>
              <c:tx>
                <c:rich>
                  <a:bodyPr/>
                  <a:lstStyle/>
                  <a:p>
                    <a:r>
                      <a:t>38.4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3161-4B6A-843F-F907B73A5C21}"/>
                </c:ext>
              </c:extLst>
            </c:dLbl>
            <c:dLbl>
              <c:idx val="6"/>
              <c:tx>
                <c:rich>
                  <a:bodyPr/>
                  <a:lstStyle/>
                  <a:p>
                    <a:r>
                      <a:t>40.0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3161-4B6A-843F-F907B73A5C21}"/>
                </c:ext>
              </c:extLst>
            </c:dLbl>
            <c:dLbl>
              <c:idx val="7"/>
              <c:tx>
                <c:rich>
                  <a:bodyPr/>
                  <a:lstStyle/>
                  <a:p>
                    <a:r>
                      <a:t>43.5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3161-4B6A-843F-F907B73A5C21}"/>
                </c:ext>
              </c:extLst>
            </c:dLbl>
            <c:dLbl>
              <c:idx val="8"/>
              <c:tx>
                <c:rich>
                  <a:bodyPr/>
                  <a:lstStyle/>
                  <a:p>
                    <a:r>
                      <a:t>44.2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3161-4B6A-843F-F907B73A5C21}"/>
                </c:ext>
              </c:extLst>
            </c:dLbl>
            <c:dLbl>
              <c:idx val="9"/>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3161-4B6A-843F-F907B73A5C21}"/>
                </c:ext>
              </c:extLst>
            </c:dLbl>
            <c:dLbl>
              <c:idx val="10"/>
              <c:tx>
                <c:rich>
                  <a:bodyPr/>
                  <a:lstStyle/>
                  <a:p>
                    <a:r>
                      <a:t>162.9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3161-4B6A-843F-F907B73A5C21}"/>
                </c:ext>
              </c:extLst>
            </c:dLbl>
            <c:dLbl>
              <c:idx val="1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3161-4B6A-843F-F907B73A5C21}"/>
                </c:ext>
              </c:extLst>
            </c:dLbl>
            <c:dLbl>
              <c:idx val="12"/>
              <c:tx>
                <c:rich>
                  <a:bodyPr/>
                  <a:lstStyle/>
                  <a:p>
                    <a:r>
                      <a:t>11.9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3161-4B6A-843F-F907B73A5C21}"/>
                </c:ext>
              </c:extLst>
            </c:dLbl>
            <c:dLbl>
              <c:idx val="1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3161-4B6A-843F-F907B73A5C21}"/>
                </c:ext>
              </c:extLst>
            </c:dLbl>
            <c:dLbl>
              <c:idx val="14"/>
              <c:tx>
                <c:rich>
                  <a:bodyPr/>
                  <a:lstStyle/>
                  <a:p>
                    <a:r>
                      <a:t>15.5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3161-4B6A-843F-F907B73A5C21}"/>
                </c:ext>
              </c:extLst>
            </c:dLbl>
            <c:dLbl>
              <c:idx val="1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3161-4B6A-843F-F907B73A5C21}"/>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7</c:f>
              <c:multiLvlStrCache>
                <c:ptCount val="16"/>
                <c:lvl>
                  <c:pt idx="0">
                    <c:v>Total</c:v>
                  </c:pt>
                  <c:pt idx="1">
                    <c:v>Malard Nicolas</c:v>
                  </c:pt>
                  <c:pt idx="2">
                    <c:v>Total</c:v>
                  </c:pt>
                  <c:pt idx="3">
                    <c:v>Malard Nicolas</c:v>
                  </c:pt>
                  <c:pt idx="4">
                    <c:v>Total</c:v>
                  </c:pt>
                  <c:pt idx="5">
                    <c:v>Malard Nicolas</c:v>
                  </c:pt>
                  <c:pt idx="6">
                    <c:v>Total</c:v>
                  </c:pt>
                  <c:pt idx="7">
                    <c:v>Malard Nicolas</c:v>
                  </c:pt>
                  <c:pt idx="8">
                    <c:v>Total</c:v>
                  </c:pt>
                  <c:pt idx="9">
                    <c:v>Malard Nicolas</c:v>
                  </c:pt>
                  <c:pt idx="10">
                    <c:v>Total</c:v>
                  </c:pt>
                  <c:pt idx="11">
                    <c:v>Malard Nicolas</c:v>
                  </c:pt>
                  <c:pt idx="12">
                    <c:v>Total</c:v>
                  </c:pt>
                  <c:pt idx="13">
                    <c:v>Malard Nicolas</c:v>
                  </c:pt>
                  <c:pt idx="14">
                    <c:v>Total</c:v>
                  </c:pt>
                  <c:pt idx="15">
                    <c:v>Malard Nicolas</c:v>
                  </c:pt>
                </c:lvl>
                <c:lvl>
                  <c:pt idx="0">
                    <c:v>Bruts</c:v>
                  </c:pt>
                  <c:pt idx="2">
                    <c:v>Blanc De Blancs</c:v>
                  </c:pt>
                  <c:pt idx="4">
                    <c:v>Rosés</c:v>
                  </c:pt>
                  <c:pt idx="6">
                    <c:v>Crus</c:v>
                  </c:pt>
                  <c:pt idx="8">
                    <c:v>Extra Brut</c:v>
                  </c:pt>
                  <c:pt idx="10">
                    <c:v>Millesimes</c:v>
                  </c:pt>
                  <c:pt idx="12">
                    <c:v>Mousseux Italiens</c:v>
                  </c:pt>
                  <c:pt idx="14">
                    <c:v>Mousseux Val De Loire</c:v>
                  </c:pt>
                </c:lvl>
                <c:lvl>
                  <c:pt idx="0">
                    <c:v>Champagnes</c:v>
                  </c:pt>
                  <c:pt idx="12">
                    <c:v>Mousseux</c:v>
                  </c:pt>
                </c:lvl>
              </c:multiLvlStrCache>
            </c:multiLvlStrRef>
          </c:cat>
          <c:val>
            <c:numRef>
              <c:f>Sheet1!$E$2:$E$17</c:f>
              <c:numCache>
                <c:formatCode>General</c:formatCode>
                <c:ptCount val="16"/>
                <c:pt idx="0">
                  <c:v>52.0747</c:v>
                </c:pt>
                <c:pt idx="1">
                  <c:v>29.639299999999999</c:v>
                </c:pt>
                <c:pt idx="2">
                  <c:v>93.406300000000002</c:v>
                </c:pt>
                <c:pt idx="3">
                  <c:v>53.369700000000002</c:v>
                </c:pt>
                <c:pt idx="4">
                  <c:v>74.968500000000006</c:v>
                </c:pt>
                <c:pt idx="5">
                  <c:v>38.447499999999998</c:v>
                </c:pt>
                <c:pt idx="6">
                  <c:v>40.025500000000001</c:v>
                </c:pt>
                <c:pt idx="7">
                  <c:v>43.528599999999997</c:v>
                </c:pt>
                <c:pt idx="8">
                  <c:v>44.255899999999997</c:v>
                </c:pt>
                <c:pt idx="9">
                  <c:v>0</c:v>
                </c:pt>
                <c:pt idx="10">
                  <c:v>162.9813</c:v>
                </c:pt>
                <c:pt idx="11">
                  <c:v>0</c:v>
                </c:pt>
                <c:pt idx="12">
                  <c:v>11.971500000000001</c:v>
                </c:pt>
                <c:pt idx="13">
                  <c:v>0</c:v>
                </c:pt>
                <c:pt idx="14">
                  <c:v>15.5694</c:v>
                </c:pt>
                <c:pt idx="15">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0"/>
            <c:bubble3D val="0"/>
            <c:spPr>
              <a:solidFill>
                <a:srgbClr val="AEABAB"/>
              </a:solidFill>
              <a:ln>
                <a:noFill/>
              </a:ln>
              <a:effectLst/>
            </c:spPr>
            <c:extLst>
              <c:ext xmlns:c16="http://schemas.microsoft.com/office/drawing/2014/chart" uri="{C3380CC4-5D6E-409C-BE32-E72D297353CC}">
                <c16:uniqueId val="{00000026-4B23-4768-AE96-7AAF69EC1929}"/>
              </c:ext>
            </c:extLst>
          </c:dPt>
          <c:dPt>
            <c:idx val="5"/>
            <c:invertIfNegative val="0"/>
            <c:bubble3D val="0"/>
            <c:spPr>
              <a:solidFill>
                <a:srgbClr val="CBEAE7"/>
              </a:solidFill>
              <a:ln>
                <a:noFill/>
              </a:ln>
              <a:effectLst/>
            </c:spPr>
            <c:extLst>
              <c:ext xmlns:c16="http://schemas.microsoft.com/office/drawing/2014/chart" uri="{C3380CC4-5D6E-409C-BE32-E72D297353CC}">
                <c16:uniqueId val="{00000006-C486-4167-8002-0794DD94CC5C}"/>
              </c:ext>
            </c:extLst>
          </c:dPt>
          <c:dPt>
            <c:idx val="6"/>
            <c:invertIfNegative val="1"/>
            <c:bubble3D val="0"/>
            <c:spPr>
              <a:solidFill>
                <a:srgbClr val="AEABAB"/>
              </a:solidFill>
              <a:ln>
                <a:noFill/>
              </a:ln>
              <a:effectLst/>
            </c:spPr>
            <c:extLst>
              <c:ext xmlns:c16="http://schemas.microsoft.com/office/drawing/2014/chart" uri="{C3380CC4-5D6E-409C-BE32-E72D297353CC}">
                <c16:uniqueId val="{00000029-4146-4295-B899-C3ABD64D6C43}"/>
              </c:ext>
            </c:extLst>
          </c:dPt>
          <c:dPt>
            <c:idx val="7"/>
            <c:invertIfNegative val="0"/>
            <c:bubble3D val="0"/>
            <c:spPr>
              <a:solidFill>
                <a:srgbClr val="CBEAE7"/>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AEABA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AEABA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AEABA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AEABA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AEABA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AEABA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AEABA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AEABA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AEABA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AEABA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AEABA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AEABA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AEABA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7</c:f>
              <c:multiLvlStrCache>
                <c:ptCount val="16"/>
                <c:lvl>
                  <c:pt idx="0">
                    <c:v>Total</c:v>
                  </c:pt>
                  <c:pt idx="1">
                    <c:v>Malard Nicolas</c:v>
                  </c:pt>
                  <c:pt idx="2">
                    <c:v>Total</c:v>
                  </c:pt>
                  <c:pt idx="3">
                    <c:v>Malard Nicolas</c:v>
                  </c:pt>
                  <c:pt idx="4">
                    <c:v>Total</c:v>
                  </c:pt>
                  <c:pt idx="5">
                    <c:v>Malard Nicolas</c:v>
                  </c:pt>
                  <c:pt idx="6">
                    <c:v>Total</c:v>
                  </c:pt>
                  <c:pt idx="7">
                    <c:v>Malard Nicolas</c:v>
                  </c:pt>
                  <c:pt idx="8">
                    <c:v>Total</c:v>
                  </c:pt>
                  <c:pt idx="9">
                    <c:v>Malard Nicolas</c:v>
                  </c:pt>
                  <c:pt idx="10">
                    <c:v>Total</c:v>
                  </c:pt>
                  <c:pt idx="11">
                    <c:v>Malard Nicolas</c:v>
                  </c:pt>
                  <c:pt idx="12">
                    <c:v>Total</c:v>
                  </c:pt>
                  <c:pt idx="13">
                    <c:v>Malard Nicolas</c:v>
                  </c:pt>
                  <c:pt idx="14">
                    <c:v>Total</c:v>
                  </c:pt>
                  <c:pt idx="15">
                    <c:v>Malard Nicolas</c:v>
                  </c:pt>
                </c:lvl>
                <c:lvl>
                  <c:pt idx="0">
                    <c:v>Bruts</c:v>
                  </c:pt>
                  <c:pt idx="2">
                    <c:v>Blanc De Blancs</c:v>
                  </c:pt>
                  <c:pt idx="4">
                    <c:v>Rosés</c:v>
                  </c:pt>
                  <c:pt idx="6">
                    <c:v>Crus</c:v>
                  </c:pt>
                  <c:pt idx="8">
                    <c:v>Millesimes</c:v>
                  </c:pt>
                  <c:pt idx="10">
                    <c:v>Extra Brut</c:v>
                  </c:pt>
                  <c:pt idx="12">
                    <c:v>Mousseux Italiens</c:v>
                  </c:pt>
                  <c:pt idx="14">
                    <c:v>Mousseux Val De Loire</c:v>
                  </c:pt>
                </c:lvl>
                <c:lvl>
                  <c:pt idx="0">
                    <c:v>Champagnes</c:v>
                  </c:pt>
                  <c:pt idx="12">
                    <c:v>Mousseux</c:v>
                  </c:pt>
                </c:lvl>
              </c:multiLvlStrCache>
            </c:multiLvlStrRef>
          </c:cat>
          <c:val>
            <c:numRef>
              <c:f>Sheet1!$D$2:$D$17</c:f>
              <c:numCache>
                <c:formatCode>General</c:formatCode>
                <c:ptCount val="16"/>
                <c:pt idx="0">
                  <c:v>8</c:v>
                </c:pt>
                <c:pt idx="1">
                  <c:v>1</c:v>
                </c:pt>
                <c:pt idx="2">
                  <c:v>1.8</c:v>
                </c:pt>
                <c:pt idx="3">
                  <c:v>0.1</c:v>
                </c:pt>
                <c:pt idx="4">
                  <c:v>0.8</c:v>
                </c:pt>
                <c:pt idx="5">
                  <c:v>0.1</c:v>
                </c:pt>
                <c:pt idx="6">
                  <c:v>0.6</c:v>
                </c:pt>
                <c:pt idx="7">
                  <c:v>0</c:v>
                </c:pt>
                <c:pt idx="8">
                  <c:v>0.4</c:v>
                </c:pt>
                <c:pt idx="9">
                  <c:v>0</c:v>
                </c:pt>
                <c:pt idx="10">
                  <c:v>0.4</c:v>
                </c:pt>
                <c:pt idx="11">
                  <c:v>0</c:v>
                </c:pt>
                <c:pt idx="12">
                  <c:v>0.3</c:v>
                </c:pt>
                <c:pt idx="13">
                  <c:v>0</c:v>
                </c:pt>
                <c:pt idx="14">
                  <c:v>0.2</c:v>
                </c:pt>
                <c:pt idx="15">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50.8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29.4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89.9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53.1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69.4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4146-4295-B899-C3ABD64D6C43}"/>
                </c:ext>
              </c:extLst>
            </c:dLbl>
            <c:dLbl>
              <c:idx val="5"/>
              <c:tx>
                <c:rich>
                  <a:bodyPr/>
                  <a:lstStyle/>
                  <a:p>
                    <a:r>
                      <a:t>37.5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4146-4295-B899-C3ABD64D6C43}"/>
                </c:ext>
              </c:extLst>
            </c:dLbl>
            <c:dLbl>
              <c:idx val="6"/>
              <c:tx>
                <c:rich>
                  <a:bodyPr/>
                  <a:lstStyle/>
                  <a:p>
                    <a:r>
                      <a:t>39.7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4146-4295-B899-C3ABD64D6C43}"/>
                </c:ext>
              </c:extLst>
            </c:dLbl>
            <c:dLbl>
              <c:idx val="7"/>
              <c:tx>
                <c:rich>
                  <a:bodyPr/>
                  <a:lstStyle/>
                  <a:p>
                    <a:r>
                      <a:t>42.7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4146-4295-B899-C3ABD64D6C43}"/>
                </c:ext>
              </c:extLst>
            </c:dLbl>
            <c:dLbl>
              <c:idx val="8"/>
              <c:tx>
                <c:rich>
                  <a:bodyPr/>
                  <a:lstStyle/>
                  <a:p>
                    <a:r>
                      <a:t>165.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4146-4295-B899-C3ABD64D6C43}"/>
                </c:ext>
              </c:extLst>
            </c:dLbl>
            <c:dLbl>
              <c:idx val="9"/>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4146-4295-B899-C3ABD64D6C43}"/>
                </c:ext>
              </c:extLst>
            </c:dLbl>
            <c:dLbl>
              <c:idx val="10"/>
              <c:tx>
                <c:rich>
                  <a:bodyPr/>
                  <a:lstStyle/>
                  <a:p>
                    <a:r>
                      <a:t>43.8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4146-4295-B899-C3ABD64D6C43}"/>
                </c:ext>
              </c:extLst>
            </c:dLbl>
            <c:dLbl>
              <c:idx val="1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4146-4295-B899-C3ABD64D6C43}"/>
                </c:ext>
              </c:extLst>
            </c:dLbl>
            <c:dLbl>
              <c:idx val="12"/>
              <c:tx>
                <c:rich>
                  <a:bodyPr/>
                  <a:lstStyle/>
                  <a:p>
                    <a:r>
                      <a:t>11.8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4146-4295-B899-C3ABD64D6C43}"/>
                </c:ext>
              </c:extLst>
            </c:dLbl>
            <c:dLbl>
              <c:idx val="1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4146-4295-B899-C3ABD64D6C43}"/>
                </c:ext>
              </c:extLst>
            </c:dLbl>
            <c:dLbl>
              <c:idx val="14"/>
              <c:tx>
                <c:rich>
                  <a:bodyPr/>
                  <a:lstStyle/>
                  <a:p>
                    <a:r>
                      <a:t>15.2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4146-4295-B899-C3ABD64D6C43}"/>
                </c:ext>
              </c:extLst>
            </c:dLbl>
            <c:dLbl>
              <c:idx val="1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4146-4295-B899-C3ABD64D6C43}"/>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7</c:f>
              <c:multiLvlStrCache>
                <c:ptCount val="16"/>
                <c:lvl>
                  <c:pt idx="0">
                    <c:v>Total</c:v>
                  </c:pt>
                  <c:pt idx="1">
                    <c:v>Malard Nicolas</c:v>
                  </c:pt>
                  <c:pt idx="2">
                    <c:v>Total</c:v>
                  </c:pt>
                  <c:pt idx="3">
                    <c:v>Malard Nicolas</c:v>
                  </c:pt>
                  <c:pt idx="4">
                    <c:v>Total</c:v>
                  </c:pt>
                  <c:pt idx="5">
                    <c:v>Malard Nicolas</c:v>
                  </c:pt>
                  <c:pt idx="6">
                    <c:v>Total</c:v>
                  </c:pt>
                  <c:pt idx="7">
                    <c:v>Malard Nicolas</c:v>
                  </c:pt>
                  <c:pt idx="8">
                    <c:v>Total</c:v>
                  </c:pt>
                  <c:pt idx="9">
                    <c:v>Malard Nicolas</c:v>
                  </c:pt>
                  <c:pt idx="10">
                    <c:v>Total</c:v>
                  </c:pt>
                  <c:pt idx="11">
                    <c:v>Malard Nicolas</c:v>
                  </c:pt>
                  <c:pt idx="12">
                    <c:v>Total</c:v>
                  </c:pt>
                  <c:pt idx="13">
                    <c:v>Malard Nicolas</c:v>
                  </c:pt>
                  <c:pt idx="14">
                    <c:v>Total</c:v>
                  </c:pt>
                  <c:pt idx="15">
                    <c:v>Malard Nicolas</c:v>
                  </c:pt>
                </c:lvl>
                <c:lvl>
                  <c:pt idx="0">
                    <c:v>Bruts</c:v>
                  </c:pt>
                  <c:pt idx="2">
                    <c:v>Blanc De Blancs</c:v>
                  </c:pt>
                  <c:pt idx="4">
                    <c:v>Rosés</c:v>
                  </c:pt>
                  <c:pt idx="6">
                    <c:v>Crus</c:v>
                  </c:pt>
                  <c:pt idx="8">
                    <c:v>Millesimes</c:v>
                  </c:pt>
                  <c:pt idx="10">
                    <c:v>Extra Brut</c:v>
                  </c:pt>
                  <c:pt idx="12">
                    <c:v>Mousseux Italiens</c:v>
                  </c:pt>
                  <c:pt idx="14">
                    <c:v>Mousseux Val De Loire</c:v>
                  </c:pt>
                </c:lvl>
                <c:lvl>
                  <c:pt idx="0">
                    <c:v>Champagnes</c:v>
                  </c:pt>
                  <c:pt idx="12">
                    <c:v>Mousseux</c:v>
                  </c:pt>
                </c:lvl>
              </c:multiLvlStrCache>
            </c:multiLvlStrRef>
          </c:cat>
          <c:val>
            <c:numRef>
              <c:f>Sheet1!$E$2:$E$17</c:f>
              <c:numCache>
                <c:formatCode>General</c:formatCode>
                <c:ptCount val="16"/>
                <c:pt idx="0">
                  <c:v>50.809600000000003</c:v>
                </c:pt>
                <c:pt idx="1">
                  <c:v>29.407</c:v>
                </c:pt>
                <c:pt idx="2">
                  <c:v>89.915599999999998</c:v>
                </c:pt>
                <c:pt idx="3">
                  <c:v>53.1783</c:v>
                </c:pt>
                <c:pt idx="4">
                  <c:v>69.418400000000005</c:v>
                </c:pt>
                <c:pt idx="5">
                  <c:v>37.555500000000002</c:v>
                </c:pt>
                <c:pt idx="6">
                  <c:v>39.741700000000002</c:v>
                </c:pt>
                <c:pt idx="7">
                  <c:v>42.764400000000002</c:v>
                </c:pt>
                <c:pt idx="8">
                  <c:v>165.1045</c:v>
                </c:pt>
                <c:pt idx="9">
                  <c:v>0</c:v>
                </c:pt>
                <c:pt idx="10">
                  <c:v>43.831200000000003</c:v>
                </c:pt>
                <c:pt idx="11">
                  <c:v>0</c:v>
                </c:pt>
                <c:pt idx="12">
                  <c:v>11.875500000000001</c:v>
                </c:pt>
                <c:pt idx="13">
                  <c:v>0</c:v>
                </c:pt>
                <c:pt idx="14">
                  <c:v>15.2592</c:v>
                </c:pt>
                <c:pt idx="15">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0"/>
            <c:bubble3D val="0"/>
            <c:spPr>
              <a:solidFill>
                <a:srgbClr val="AEABAB"/>
              </a:solidFill>
              <a:ln>
                <a:noFill/>
              </a:ln>
              <a:effectLst/>
            </c:spPr>
            <c:extLst>
              <c:ext xmlns:c16="http://schemas.microsoft.com/office/drawing/2014/chart" uri="{C3380CC4-5D6E-409C-BE32-E72D297353CC}">
                <c16:uniqueId val="{00000026-4B23-4768-AE96-7AAF69EC1929}"/>
              </c:ext>
            </c:extLst>
          </c:dPt>
          <c:dPt>
            <c:idx val="5"/>
            <c:invertIfNegative val="0"/>
            <c:bubble3D val="0"/>
            <c:spPr>
              <a:solidFill>
                <a:srgbClr val="CBEAE7"/>
              </a:solidFill>
              <a:ln>
                <a:noFill/>
              </a:ln>
              <a:effectLst/>
            </c:spPr>
            <c:extLst>
              <c:ext xmlns:c16="http://schemas.microsoft.com/office/drawing/2014/chart" uri="{C3380CC4-5D6E-409C-BE32-E72D297353CC}">
                <c16:uniqueId val="{00000006-C486-4167-8002-0794DD94CC5C}"/>
              </c:ext>
            </c:extLst>
          </c:dPt>
          <c:dPt>
            <c:idx val="6"/>
            <c:invertIfNegative val="1"/>
            <c:bubble3D val="0"/>
            <c:spPr>
              <a:solidFill>
                <a:srgbClr val="AEABAB"/>
              </a:solidFill>
              <a:ln>
                <a:noFill/>
              </a:ln>
              <a:effectLst/>
            </c:spPr>
            <c:extLst>
              <c:ext xmlns:c16="http://schemas.microsoft.com/office/drawing/2014/chart" uri="{C3380CC4-5D6E-409C-BE32-E72D297353CC}">
                <c16:uniqueId val="{00000029-D6DD-4F78-8527-2C9F4920D90E}"/>
              </c:ext>
            </c:extLst>
          </c:dPt>
          <c:dPt>
            <c:idx val="7"/>
            <c:invertIfNegative val="0"/>
            <c:bubble3D val="0"/>
            <c:spPr>
              <a:solidFill>
                <a:srgbClr val="CBEAE7"/>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AEABA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AEABA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AEABA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AEABA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AEABA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AEABA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AEABA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AEABA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AEABA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AEABA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AEABA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AEABA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AEABA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7</c:f>
              <c:multiLvlStrCache>
                <c:ptCount val="16"/>
                <c:lvl>
                  <c:pt idx="0">
                    <c:v>Total</c:v>
                  </c:pt>
                  <c:pt idx="1">
                    <c:v>Malard Nicolas</c:v>
                  </c:pt>
                  <c:pt idx="2">
                    <c:v>Total</c:v>
                  </c:pt>
                  <c:pt idx="3">
                    <c:v>Malard Nicolas</c:v>
                  </c:pt>
                  <c:pt idx="4">
                    <c:v>Total</c:v>
                  </c:pt>
                  <c:pt idx="5">
                    <c:v>Malard Nicolas</c:v>
                  </c:pt>
                  <c:pt idx="6">
                    <c:v>Total</c:v>
                  </c:pt>
                  <c:pt idx="7">
                    <c:v>Malard Nicolas</c:v>
                  </c:pt>
                  <c:pt idx="8">
                    <c:v>Total</c:v>
                  </c:pt>
                  <c:pt idx="9">
                    <c:v>Malard Nicolas</c:v>
                  </c:pt>
                  <c:pt idx="10">
                    <c:v>Total</c:v>
                  </c:pt>
                  <c:pt idx="11">
                    <c:v>Malard Nicolas</c:v>
                  </c:pt>
                  <c:pt idx="12">
                    <c:v>Total</c:v>
                  </c:pt>
                  <c:pt idx="13">
                    <c:v>Malard Nicolas</c:v>
                  </c:pt>
                  <c:pt idx="14">
                    <c:v>Total</c:v>
                  </c:pt>
                  <c:pt idx="15">
                    <c:v>Malard Nicolas</c:v>
                  </c:pt>
                </c:lvl>
                <c:lvl>
                  <c:pt idx="0">
                    <c:v>Bruts</c:v>
                  </c:pt>
                  <c:pt idx="2">
                    <c:v>Blanc De Blancs</c:v>
                  </c:pt>
                  <c:pt idx="4">
                    <c:v>Rosés</c:v>
                  </c:pt>
                  <c:pt idx="6">
                    <c:v>Millesimes</c:v>
                  </c:pt>
                  <c:pt idx="8">
                    <c:v>Crus</c:v>
                  </c:pt>
                  <c:pt idx="10">
                    <c:v>Extra Brut</c:v>
                  </c:pt>
                  <c:pt idx="12">
                    <c:v>Mousseux Italiens</c:v>
                  </c:pt>
                  <c:pt idx="14">
                    <c:v>Mousseux Val De Loire</c:v>
                  </c:pt>
                </c:lvl>
                <c:lvl>
                  <c:pt idx="0">
                    <c:v>Champagnes</c:v>
                  </c:pt>
                  <c:pt idx="12">
                    <c:v>Mousseux</c:v>
                  </c:pt>
                </c:lvl>
              </c:multiLvlStrCache>
            </c:multiLvlStrRef>
          </c:cat>
          <c:val>
            <c:numRef>
              <c:f>Sheet1!$D$2:$D$17</c:f>
              <c:numCache>
                <c:formatCode>General</c:formatCode>
                <c:ptCount val="16"/>
                <c:pt idx="0">
                  <c:v>5</c:v>
                </c:pt>
                <c:pt idx="1">
                  <c:v>0.5</c:v>
                </c:pt>
                <c:pt idx="2">
                  <c:v>1</c:v>
                </c:pt>
                <c:pt idx="3">
                  <c:v>0</c:v>
                </c:pt>
                <c:pt idx="4">
                  <c:v>0.5</c:v>
                </c:pt>
                <c:pt idx="5">
                  <c:v>0</c:v>
                </c:pt>
                <c:pt idx="6">
                  <c:v>0.4</c:v>
                </c:pt>
                <c:pt idx="7">
                  <c:v>0</c:v>
                </c:pt>
                <c:pt idx="8">
                  <c:v>0.4</c:v>
                </c:pt>
                <c:pt idx="9">
                  <c:v>0</c:v>
                </c:pt>
                <c:pt idx="10">
                  <c:v>0.3</c:v>
                </c:pt>
                <c:pt idx="11">
                  <c:v>0</c:v>
                </c:pt>
                <c:pt idx="12">
                  <c:v>0.2</c:v>
                </c:pt>
                <c:pt idx="13">
                  <c:v>0</c:v>
                </c:pt>
                <c:pt idx="14">
                  <c:v>0.1</c:v>
                </c:pt>
                <c:pt idx="15">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54.1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29.7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105.4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53.7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77.8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D6DD-4F78-8527-2C9F4920D90E}"/>
                </c:ext>
              </c:extLst>
            </c:dLbl>
            <c:dLbl>
              <c:idx val="5"/>
              <c:tx>
                <c:rich>
                  <a:bodyPr/>
                  <a:lstStyle/>
                  <a:p>
                    <a:r>
                      <a:t>39.3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D6DD-4F78-8527-2C9F4920D90E}"/>
                </c:ext>
              </c:extLst>
            </c:dLbl>
            <c:dLbl>
              <c:idx val="6"/>
              <c:tx>
                <c:rich>
                  <a:bodyPr/>
                  <a:lstStyle/>
                  <a:p>
                    <a:r>
                      <a:t>199.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D6DD-4F78-8527-2C9F4920D90E}"/>
                </c:ext>
              </c:extLst>
            </c:dLbl>
            <c:dLbl>
              <c:idx val="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D6DD-4F78-8527-2C9F4920D90E}"/>
                </c:ext>
              </c:extLst>
            </c:dLbl>
            <c:dLbl>
              <c:idx val="8"/>
              <c:tx>
                <c:rich>
                  <a:bodyPr/>
                  <a:lstStyle/>
                  <a:p>
                    <a:r>
                      <a:t>40.2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D6DD-4F78-8527-2C9F4920D90E}"/>
                </c:ext>
              </c:extLst>
            </c:dLbl>
            <c:dLbl>
              <c:idx val="9"/>
              <c:tx>
                <c:rich>
                  <a:bodyPr/>
                  <a:lstStyle/>
                  <a:p>
                    <a:r>
                      <a:t>43.1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D6DD-4F78-8527-2C9F4920D90E}"/>
                </c:ext>
              </c:extLst>
            </c:dLbl>
            <c:dLbl>
              <c:idx val="10"/>
              <c:tx>
                <c:rich>
                  <a:bodyPr/>
                  <a:lstStyle/>
                  <a:p>
                    <a:r>
                      <a:t>44.9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D6DD-4F78-8527-2C9F4920D90E}"/>
                </c:ext>
              </c:extLst>
            </c:dLbl>
            <c:dLbl>
              <c:idx val="1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D6DD-4F78-8527-2C9F4920D90E}"/>
                </c:ext>
              </c:extLst>
            </c:dLbl>
            <c:dLbl>
              <c:idx val="12"/>
              <c:tx>
                <c:rich>
                  <a:bodyPr/>
                  <a:lstStyle/>
                  <a:p>
                    <a:r>
                      <a:t>12.1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D6DD-4F78-8527-2C9F4920D90E}"/>
                </c:ext>
              </c:extLst>
            </c:dLbl>
            <c:dLbl>
              <c:idx val="1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D6DD-4F78-8527-2C9F4920D90E}"/>
                </c:ext>
              </c:extLst>
            </c:dLbl>
            <c:dLbl>
              <c:idx val="14"/>
              <c:tx>
                <c:rich>
                  <a:bodyPr/>
                  <a:lstStyle/>
                  <a:p>
                    <a:r>
                      <a:t>15.9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D6DD-4F78-8527-2C9F4920D90E}"/>
                </c:ext>
              </c:extLst>
            </c:dLbl>
            <c:dLbl>
              <c:idx val="1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D6DD-4F78-8527-2C9F4920D90E}"/>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7</c:f>
              <c:multiLvlStrCache>
                <c:ptCount val="16"/>
                <c:lvl>
                  <c:pt idx="0">
                    <c:v>Total</c:v>
                  </c:pt>
                  <c:pt idx="1">
                    <c:v>Malard Nicolas</c:v>
                  </c:pt>
                  <c:pt idx="2">
                    <c:v>Total</c:v>
                  </c:pt>
                  <c:pt idx="3">
                    <c:v>Malard Nicolas</c:v>
                  </c:pt>
                  <c:pt idx="4">
                    <c:v>Total</c:v>
                  </c:pt>
                  <c:pt idx="5">
                    <c:v>Malard Nicolas</c:v>
                  </c:pt>
                  <c:pt idx="6">
                    <c:v>Total</c:v>
                  </c:pt>
                  <c:pt idx="7">
                    <c:v>Malard Nicolas</c:v>
                  </c:pt>
                  <c:pt idx="8">
                    <c:v>Total</c:v>
                  </c:pt>
                  <c:pt idx="9">
                    <c:v>Malard Nicolas</c:v>
                  </c:pt>
                  <c:pt idx="10">
                    <c:v>Total</c:v>
                  </c:pt>
                  <c:pt idx="11">
                    <c:v>Malard Nicolas</c:v>
                  </c:pt>
                  <c:pt idx="12">
                    <c:v>Total</c:v>
                  </c:pt>
                  <c:pt idx="13">
                    <c:v>Malard Nicolas</c:v>
                  </c:pt>
                  <c:pt idx="14">
                    <c:v>Total</c:v>
                  </c:pt>
                  <c:pt idx="15">
                    <c:v>Malard Nicolas</c:v>
                  </c:pt>
                </c:lvl>
                <c:lvl>
                  <c:pt idx="0">
                    <c:v>Bruts</c:v>
                  </c:pt>
                  <c:pt idx="2">
                    <c:v>Blanc De Blancs</c:v>
                  </c:pt>
                  <c:pt idx="4">
                    <c:v>Rosés</c:v>
                  </c:pt>
                  <c:pt idx="6">
                    <c:v>Millesimes</c:v>
                  </c:pt>
                  <c:pt idx="8">
                    <c:v>Crus</c:v>
                  </c:pt>
                  <c:pt idx="10">
                    <c:v>Extra Brut</c:v>
                  </c:pt>
                  <c:pt idx="12">
                    <c:v>Mousseux Italiens</c:v>
                  </c:pt>
                  <c:pt idx="14">
                    <c:v>Mousseux Val De Loire</c:v>
                  </c:pt>
                </c:lvl>
                <c:lvl>
                  <c:pt idx="0">
                    <c:v>Champagnes</c:v>
                  </c:pt>
                  <c:pt idx="12">
                    <c:v>Mousseux</c:v>
                  </c:pt>
                </c:lvl>
              </c:multiLvlStrCache>
            </c:multiLvlStrRef>
          </c:cat>
          <c:val>
            <c:numRef>
              <c:f>Sheet1!$E$2:$E$17</c:f>
              <c:numCache>
                <c:formatCode>General</c:formatCode>
                <c:ptCount val="16"/>
                <c:pt idx="0">
                  <c:v>54.107599999999998</c:v>
                </c:pt>
                <c:pt idx="1">
                  <c:v>29.730899999999998</c:v>
                </c:pt>
                <c:pt idx="2">
                  <c:v>105.47490000000001</c:v>
                </c:pt>
                <c:pt idx="3">
                  <c:v>53.761099999999999</c:v>
                </c:pt>
                <c:pt idx="4">
                  <c:v>77.8583</c:v>
                </c:pt>
                <c:pt idx="5">
                  <c:v>39.375799999999998</c:v>
                </c:pt>
                <c:pt idx="6">
                  <c:v>199.89930000000001</c:v>
                </c:pt>
                <c:pt idx="7">
                  <c:v>0</c:v>
                </c:pt>
                <c:pt idx="8">
                  <c:v>40.273899999999998</c:v>
                </c:pt>
                <c:pt idx="9">
                  <c:v>43.153799999999997</c:v>
                </c:pt>
                <c:pt idx="10">
                  <c:v>44.922400000000003</c:v>
                </c:pt>
                <c:pt idx="11">
                  <c:v>0</c:v>
                </c:pt>
                <c:pt idx="12">
                  <c:v>12.126799999999999</c:v>
                </c:pt>
                <c:pt idx="13">
                  <c:v>0</c:v>
                </c:pt>
                <c:pt idx="14">
                  <c:v>15.9879</c:v>
                </c:pt>
                <c:pt idx="15">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0"/>
            <c:bubble3D val="0"/>
            <c:spPr>
              <a:solidFill>
                <a:srgbClr val="AEABAB"/>
              </a:solidFill>
              <a:ln>
                <a:noFill/>
              </a:ln>
              <a:effectLst/>
            </c:spPr>
            <c:extLst>
              <c:ext xmlns:c16="http://schemas.microsoft.com/office/drawing/2014/chart" uri="{C3380CC4-5D6E-409C-BE32-E72D297353CC}">
                <c16:uniqueId val="{00000026-4B23-4768-AE96-7AAF69EC1929}"/>
              </c:ext>
            </c:extLst>
          </c:dPt>
          <c:dPt>
            <c:idx val="5"/>
            <c:invertIfNegative val="0"/>
            <c:bubble3D val="0"/>
            <c:spPr>
              <a:solidFill>
                <a:srgbClr val="CBEAE7"/>
              </a:solidFill>
              <a:ln>
                <a:noFill/>
              </a:ln>
              <a:effectLst/>
            </c:spPr>
            <c:extLst>
              <c:ext xmlns:c16="http://schemas.microsoft.com/office/drawing/2014/chart" uri="{C3380CC4-5D6E-409C-BE32-E72D297353CC}">
                <c16:uniqueId val="{00000006-C486-4167-8002-0794DD94CC5C}"/>
              </c:ext>
            </c:extLst>
          </c:dPt>
          <c:dPt>
            <c:idx val="6"/>
            <c:invertIfNegative val="1"/>
            <c:bubble3D val="0"/>
            <c:spPr>
              <a:solidFill>
                <a:srgbClr val="AEABAB"/>
              </a:solidFill>
              <a:ln>
                <a:noFill/>
              </a:ln>
              <a:effectLst/>
            </c:spPr>
            <c:extLst>
              <c:ext xmlns:c16="http://schemas.microsoft.com/office/drawing/2014/chart" uri="{C3380CC4-5D6E-409C-BE32-E72D297353CC}">
                <c16:uniqueId val="{00000029-A654-4B21-8256-6A2669E7354A}"/>
              </c:ext>
            </c:extLst>
          </c:dPt>
          <c:dPt>
            <c:idx val="7"/>
            <c:invertIfNegative val="0"/>
            <c:bubble3D val="0"/>
            <c:spPr>
              <a:solidFill>
                <a:srgbClr val="AEABA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AEABA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AEABA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AEABA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AEABA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AEABA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AEABA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AEABA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AEABA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AEABA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AEABA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AEABA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AEABA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AEABA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5</c:f>
              <c:multiLvlStrCache>
                <c:ptCount val="14"/>
                <c:lvl>
                  <c:pt idx="0">
                    <c:v>Total</c:v>
                  </c:pt>
                  <c:pt idx="1">
                    <c:v>Malard Nicolas</c:v>
                  </c:pt>
                  <c:pt idx="2">
                    <c:v>Total</c:v>
                  </c:pt>
                  <c:pt idx="3">
                    <c:v>Malard Nicolas</c:v>
                  </c:pt>
                  <c:pt idx="4">
                    <c:v>Total</c:v>
                  </c:pt>
                  <c:pt idx="5">
                    <c:v>Malard Nicolas</c:v>
                  </c:pt>
                  <c:pt idx="6">
                    <c:v>Total</c:v>
                  </c:pt>
                  <c:pt idx="7">
                    <c:v>Malard Nicolas</c:v>
                  </c:pt>
                  <c:pt idx="8">
                    <c:v>Total</c:v>
                  </c:pt>
                  <c:pt idx="9">
                    <c:v>Malard Nicolas</c:v>
                  </c:pt>
                  <c:pt idx="10">
                    <c:v>Total</c:v>
                  </c:pt>
                  <c:pt idx="11">
                    <c:v>Malard Nicolas</c:v>
                  </c:pt>
                  <c:pt idx="12">
                    <c:v>Total</c:v>
                  </c:pt>
                  <c:pt idx="13">
                    <c:v>Malard Nicolas</c:v>
                  </c:pt>
                </c:lvl>
                <c:lvl>
                  <c:pt idx="0">
                    <c:v>Bruts</c:v>
                  </c:pt>
                  <c:pt idx="2">
                    <c:v>Blanc De Blancs</c:v>
                  </c:pt>
                  <c:pt idx="4">
                    <c:v>Rosés</c:v>
                  </c:pt>
                  <c:pt idx="6">
                    <c:v>Millesimes</c:v>
                  </c:pt>
                  <c:pt idx="8">
                    <c:v>Extra Brut</c:v>
                  </c:pt>
                  <c:pt idx="10">
                    <c:v>Crus</c:v>
                  </c:pt>
                  <c:pt idx="12">
                    <c:v>Mousseux Italiens</c:v>
                  </c:pt>
                </c:lvl>
                <c:lvl>
                  <c:pt idx="0">
                    <c:v>Champagnes</c:v>
                  </c:pt>
                  <c:pt idx="12">
                    <c:v>Mousseux</c:v>
                  </c:pt>
                </c:lvl>
              </c:multiLvlStrCache>
            </c:multiLvlStrRef>
          </c:cat>
          <c:val>
            <c:numRef>
              <c:f>Sheet1!$D$2:$D$15</c:f>
              <c:numCache>
                <c:formatCode>General</c:formatCode>
                <c:ptCount val="14"/>
                <c:pt idx="0">
                  <c:v>3.3</c:v>
                </c:pt>
                <c:pt idx="1">
                  <c:v>0.3</c:v>
                </c:pt>
                <c:pt idx="2">
                  <c:v>1</c:v>
                </c:pt>
                <c:pt idx="3">
                  <c:v>0</c:v>
                </c:pt>
                <c:pt idx="4">
                  <c:v>0.4</c:v>
                </c:pt>
                <c:pt idx="5">
                  <c:v>0</c:v>
                </c:pt>
                <c:pt idx="6">
                  <c:v>0.3</c:v>
                </c:pt>
                <c:pt idx="7">
                  <c:v>0</c:v>
                </c:pt>
                <c:pt idx="8">
                  <c:v>0.2</c:v>
                </c:pt>
                <c:pt idx="9">
                  <c:v>0</c:v>
                </c:pt>
                <c:pt idx="10">
                  <c:v>0.2</c:v>
                </c:pt>
                <c:pt idx="11">
                  <c:v>0</c:v>
                </c:pt>
                <c:pt idx="12">
                  <c:v>0.1</c:v>
                </c:pt>
                <c:pt idx="13">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55.9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29.5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111.7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54.2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93.7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A654-4B21-8256-6A2669E7354A}"/>
                </c:ext>
              </c:extLst>
            </c:dLbl>
            <c:dLbl>
              <c:idx val="5"/>
              <c:tx>
                <c:rich>
                  <a:bodyPr/>
                  <a:lstStyle/>
                  <a:p>
                    <a:r>
                      <a:t>38.3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A654-4B21-8256-6A2669E7354A}"/>
                </c:ext>
              </c:extLst>
            </c:dLbl>
            <c:dLbl>
              <c:idx val="6"/>
              <c:tx>
                <c:rich>
                  <a:bodyPr/>
                  <a:lstStyle/>
                  <a:p>
                    <a:r>
                      <a:t>215.5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A654-4B21-8256-6A2669E7354A}"/>
                </c:ext>
              </c:extLst>
            </c:dLbl>
            <c:dLbl>
              <c:idx val="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A654-4B21-8256-6A2669E7354A}"/>
                </c:ext>
              </c:extLst>
            </c:dLbl>
            <c:dLbl>
              <c:idx val="8"/>
              <c:tx>
                <c:rich>
                  <a:bodyPr/>
                  <a:lstStyle/>
                  <a:p>
                    <a:r>
                      <a:t>45.1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A654-4B21-8256-6A2669E7354A}"/>
                </c:ext>
              </c:extLst>
            </c:dLbl>
            <c:dLbl>
              <c:idx val="9"/>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A654-4B21-8256-6A2669E7354A}"/>
                </c:ext>
              </c:extLst>
            </c:dLbl>
            <c:dLbl>
              <c:idx val="10"/>
              <c:tx>
                <c:rich>
                  <a:bodyPr/>
                  <a:lstStyle/>
                  <a:p>
                    <a:r>
                      <a:t>40.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A654-4B21-8256-6A2669E7354A}"/>
                </c:ext>
              </c:extLst>
            </c:dLbl>
            <c:dLbl>
              <c:idx val="11"/>
              <c:tx>
                <c:rich>
                  <a:bodyPr/>
                  <a:lstStyle/>
                  <a:p>
                    <a:r>
                      <a:t>42.8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A654-4B21-8256-6A2669E7354A}"/>
                </c:ext>
              </c:extLst>
            </c:dLbl>
            <c:dLbl>
              <c:idx val="12"/>
              <c:tx>
                <c:rich>
                  <a:bodyPr/>
                  <a:lstStyle/>
                  <a:p>
                    <a:r>
                      <a:t>12.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A654-4B21-8256-6A2669E7354A}"/>
                </c:ext>
              </c:extLst>
            </c:dLbl>
            <c:dLbl>
              <c:idx val="1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A654-4B21-8256-6A2669E7354A}"/>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5</c:f>
              <c:multiLvlStrCache>
                <c:ptCount val="14"/>
                <c:lvl>
                  <c:pt idx="0">
                    <c:v>Total</c:v>
                  </c:pt>
                  <c:pt idx="1">
                    <c:v>Malard Nicolas</c:v>
                  </c:pt>
                  <c:pt idx="2">
                    <c:v>Total</c:v>
                  </c:pt>
                  <c:pt idx="3">
                    <c:v>Malard Nicolas</c:v>
                  </c:pt>
                  <c:pt idx="4">
                    <c:v>Total</c:v>
                  </c:pt>
                  <c:pt idx="5">
                    <c:v>Malard Nicolas</c:v>
                  </c:pt>
                  <c:pt idx="6">
                    <c:v>Total</c:v>
                  </c:pt>
                  <c:pt idx="7">
                    <c:v>Malard Nicolas</c:v>
                  </c:pt>
                  <c:pt idx="8">
                    <c:v>Total</c:v>
                  </c:pt>
                  <c:pt idx="9">
                    <c:v>Malard Nicolas</c:v>
                  </c:pt>
                  <c:pt idx="10">
                    <c:v>Total</c:v>
                  </c:pt>
                  <c:pt idx="11">
                    <c:v>Malard Nicolas</c:v>
                  </c:pt>
                  <c:pt idx="12">
                    <c:v>Total</c:v>
                  </c:pt>
                  <c:pt idx="13">
                    <c:v>Malard Nicolas</c:v>
                  </c:pt>
                </c:lvl>
                <c:lvl>
                  <c:pt idx="0">
                    <c:v>Bruts</c:v>
                  </c:pt>
                  <c:pt idx="2">
                    <c:v>Blanc De Blancs</c:v>
                  </c:pt>
                  <c:pt idx="4">
                    <c:v>Rosés</c:v>
                  </c:pt>
                  <c:pt idx="6">
                    <c:v>Millesimes</c:v>
                  </c:pt>
                  <c:pt idx="8">
                    <c:v>Extra Brut</c:v>
                  </c:pt>
                  <c:pt idx="10">
                    <c:v>Crus</c:v>
                  </c:pt>
                  <c:pt idx="12">
                    <c:v>Mousseux Italiens</c:v>
                  </c:pt>
                </c:lvl>
                <c:lvl>
                  <c:pt idx="0">
                    <c:v>Champagnes</c:v>
                  </c:pt>
                  <c:pt idx="12">
                    <c:v>Mousseux</c:v>
                  </c:pt>
                </c:lvl>
              </c:multiLvlStrCache>
            </c:multiLvlStrRef>
          </c:cat>
          <c:val>
            <c:numRef>
              <c:f>Sheet1!$E$2:$E$15</c:f>
              <c:numCache>
                <c:formatCode>General</c:formatCode>
                <c:ptCount val="14"/>
                <c:pt idx="0">
                  <c:v>55.952300000000001</c:v>
                </c:pt>
                <c:pt idx="1">
                  <c:v>29.520299999999999</c:v>
                </c:pt>
                <c:pt idx="2">
                  <c:v>111.7274</c:v>
                </c:pt>
                <c:pt idx="3">
                  <c:v>54.277799999999999</c:v>
                </c:pt>
                <c:pt idx="4">
                  <c:v>93.713300000000004</c:v>
                </c:pt>
                <c:pt idx="5">
                  <c:v>38.324199999999998</c:v>
                </c:pt>
                <c:pt idx="6">
                  <c:v>215.56800000000001</c:v>
                </c:pt>
                <c:pt idx="7">
                  <c:v>0</c:v>
                </c:pt>
                <c:pt idx="8">
                  <c:v>45.168300000000002</c:v>
                </c:pt>
                <c:pt idx="9">
                  <c:v>0</c:v>
                </c:pt>
                <c:pt idx="10">
                  <c:v>40.239899999999999</c:v>
                </c:pt>
                <c:pt idx="11">
                  <c:v>42.831899999999997</c:v>
                </c:pt>
                <c:pt idx="12">
                  <c:v>12.2026</c:v>
                </c:pt>
                <c:pt idx="13">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0"/>
            <c:bubble3D val="0"/>
            <c:spPr>
              <a:solidFill>
                <a:srgbClr val="AEABAB"/>
              </a:solidFill>
              <a:ln>
                <a:noFill/>
              </a:ln>
              <a:effectLst/>
            </c:spPr>
            <c:extLst>
              <c:ext xmlns:c16="http://schemas.microsoft.com/office/drawing/2014/chart" uri="{C3380CC4-5D6E-409C-BE32-E72D297353CC}">
                <c16:uniqueId val="{00000026-4B23-4768-AE96-7AAF69EC1929}"/>
              </c:ext>
            </c:extLst>
          </c:dPt>
          <c:dPt>
            <c:idx val="5"/>
            <c:invertIfNegative val="0"/>
            <c:bubble3D val="0"/>
            <c:spPr>
              <a:solidFill>
                <a:srgbClr val="CBEAE7"/>
              </a:solidFill>
              <a:ln>
                <a:noFill/>
              </a:ln>
              <a:effectLst/>
            </c:spPr>
            <c:extLst>
              <c:ext xmlns:c16="http://schemas.microsoft.com/office/drawing/2014/chart" uri="{C3380CC4-5D6E-409C-BE32-E72D297353CC}">
                <c16:uniqueId val="{00000006-C486-4167-8002-0794DD94CC5C}"/>
              </c:ext>
            </c:extLst>
          </c:dPt>
          <c:dPt>
            <c:idx val="6"/>
            <c:invertIfNegative val="1"/>
            <c:bubble3D val="0"/>
            <c:spPr>
              <a:solidFill>
                <a:srgbClr val="AEABAB"/>
              </a:solidFill>
              <a:ln>
                <a:noFill/>
              </a:ln>
              <a:effectLst/>
            </c:spPr>
            <c:extLst>
              <c:ext xmlns:c16="http://schemas.microsoft.com/office/drawing/2014/chart" uri="{C3380CC4-5D6E-409C-BE32-E72D297353CC}">
                <c16:uniqueId val="{00000029-B69D-4891-95F3-0D47E4091DC6}"/>
              </c:ext>
            </c:extLst>
          </c:dPt>
          <c:dPt>
            <c:idx val="7"/>
            <c:invertIfNegative val="0"/>
            <c:bubble3D val="0"/>
            <c:spPr>
              <a:solidFill>
                <a:srgbClr val="CBEAE7"/>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AEABA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AEABA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AEABA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AEABA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AEABA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AEABA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AEABA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AEABA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AEABA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AEABA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AEABA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AEABA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AEABA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9</c:f>
              <c:multiLvlStrCache>
                <c:ptCount val="18"/>
                <c:lvl>
                  <c:pt idx="0">
                    <c:v>Total</c:v>
                  </c:pt>
                  <c:pt idx="1">
                    <c:v>Malard Nicolas</c:v>
                  </c:pt>
                  <c:pt idx="2">
                    <c:v>Total</c:v>
                  </c:pt>
                  <c:pt idx="3">
                    <c:v>Malard Nicolas</c:v>
                  </c:pt>
                  <c:pt idx="4">
                    <c:v>Total</c:v>
                  </c:pt>
                  <c:pt idx="5">
                    <c:v>Malard Nicolas</c:v>
                  </c:pt>
                  <c:pt idx="6">
                    <c:v>Total</c:v>
                  </c:pt>
                  <c:pt idx="7">
                    <c:v>Malard Nicolas</c:v>
                  </c:pt>
                  <c:pt idx="8">
                    <c:v>Total</c:v>
                  </c:pt>
                  <c:pt idx="9">
                    <c:v>Malard Nicolas</c:v>
                  </c:pt>
                  <c:pt idx="10">
                    <c:v>Total</c:v>
                  </c:pt>
                  <c:pt idx="11">
                    <c:v>Malard Nicolas</c:v>
                  </c:pt>
                  <c:pt idx="12">
                    <c:v>Total</c:v>
                  </c:pt>
                  <c:pt idx="13">
                    <c:v>Malard Nicolas</c:v>
                  </c:pt>
                  <c:pt idx="14">
                    <c:v>Total</c:v>
                  </c:pt>
                  <c:pt idx="15">
                    <c:v>Malard Nicolas</c:v>
                  </c:pt>
                  <c:pt idx="16">
                    <c:v>Total</c:v>
                  </c:pt>
                  <c:pt idx="17">
                    <c:v>Malard Nicolas</c:v>
                  </c:pt>
                </c:lvl>
                <c:lvl>
                  <c:pt idx="0">
                    <c:v>Bruts</c:v>
                  </c:pt>
                  <c:pt idx="2">
                    <c:v>Blanc De Blancs</c:v>
                  </c:pt>
                  <c:pt idx="4">
                    <c:v>Rosés</c:v>
                  </c:pt>
                  <c:pt idx="6">
                    <c:v>Millesimes</c:v>
                  </c:pt>
                  <c:pt idx="8">
                    <c:v>Extra Brut</c:v>
                  </c:pt>
                  <c:pt idx="10">
                    <c:v>Crus</c:v>
                  </c:pt>
                  <c:pt idx="12">
                    <c:v>Mousseux Italiens</c:v>
                  </c:pt>
                  <c:pt idx="14">
                    <c:v>Mousseux Val De Loire</c:v>
                  </c:pt>
                  <c:pt idx="16">
                    <c:v>Mousseux Alsace</c:v>
                  </c:pt>
                </c:lvl>
                <c:lvl>
                  <c:pt idx="0">
                    <c:v>Champagnes</c:v>
                  </c:pt>
                  <c:pt idx="12">
                    <c:v>Mousseux</c:v>
                  </c:pt>
                </c:lvl>
              </c:multiLvlStrCache>
            </c:multiLvlStrRef>
          </c:cat>
          <c:val>
            <c:numRef>
              <c:f>Sheet1!$D$2:$D$19</c:f>
              <c:numCache>
                <c:formatCode>General</c:formatCode>
                <c:ptCount val="18"/>
                <c:pt idx="0">
                  <c:v>2</c:v>
                </c:pt>
                <c:pt idx="1">
                  <c:v>0.2</c:v>
                </c:pt>
                <c:pt idx="2">
                  <c:v>0.6</c:v>
                </c:pt>
                <c:pt idx="3">
                  <c:v>0</c:v>
                </c:pt>
                <c:pt idx="4">
                  <c:v>0.2</c:v>
                </c:pt>
                <c:pt idx="5">
                  <c:v>0</c:v>
                </c:pt>
                <c:pt idx="6">
                  <c:v>0.2</c:v>
                </c:pt>
                <c:pt idx="7">
                  <c:v>0</c:v>
                </c:pt>
                <c:pt idx="8">
                  <c:v>0.1</c:v>
                </c:pt>
                <c:pt idx="9">
                  <c:v>0</c:v>
                </c:pt>
                <c:pt idx="10">
                  <c:v>0.1</c:v>
                </c:pt>
                <c:pt idx="11">
                  <c:v>0</c:v>
                </c:pt>
                <c:pt idx="12">
                  <c:v>0.1</c:v>
                </c:pt>
                <c:pt idx="13">
                  <c:v>0</c:v>
                </c:pt>
                <c:pt idx="14">
                  <c:v>0</c:v>
                </c:pt>
                <c:pt idx="15">
                  <c:v>0</c:v>
                </c:pt>
                <c:pt idx="16">
                  <c:v>0</c:v>
                </c:pt>
                <c:pt idx="17">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54.5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29.3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106.9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54.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77.2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B69D-4891-95F3-0D47E4091DC6}"/>
                </c:ext>
              </c:extLst>
            </c:dLbl>
            <c:dLbl>
              <c:idx val="5"/>
              <c:tx>
                <c:rich>
                  <a:bodyPr/>
                  <a:lstStyle/>
                  <a:p>
                    <a:r>
                      <a:t>38.1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B69D-4891-95F3-0D47E4091DC6}"/>
                </c:ext>
              </c:extLst>
            </c:dLbl>
            <c:dLbl>
              <c:idx val="6"/>
              <c:tx>
                <c:rich>
                  <a:bodyPr/>
                  <a:lstStyle/>
                  <a:p>
                    <a:r>
                      <a:t>184.5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B69D-4891-95F3-0D47E4091DC6}"/>
                </c:ext>
              </c:extLst>
            </c:dLbl>
            <c:dLbl>
              <c:idx val="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B69D-4891-95F3-0D47E4091DC6}"/>
                </c:ext>
              </c:extLst>
            </c:dLbl>
            <c:dLbl>
              <c:idx val="8"/>
              <c:tx>
                <c:rich>
                  <a:bodyPr/>
                  <a:lstStyle/>
                  <a:p>
                    <a:r>
                      <a:t>44.2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B69D-4891-95F3-0D47E4091DC6}"/>
                </c:ext>
              </c:extLst>
            </c:dLbl>
            <c:dLbl>
              <c:idx val="9"/>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B69D-4891-95F3-0D47E4091DC6}"/>
                </c:ext>
              </c:extLst>
            </c:dLbl>
            <c:dLbl>
              <c:idx val="10"/>
              <c:tx>
                <c:rich>
                  <a:bodyPr/>
                  <a:lstStyle/>
                  <a:p>
                    <a:r>
                      <a:t>39.7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B69D-4891-95F3-0D47E4091DC6}"/>
                </c:ext>
              </c:extLst>
            </c:dLbl>
            <c:dLbl>
              <c:idx val="11"/>
              <c:tx>
                <c:rich>
                  <a:bodyPr/>
                  <a:lstStyle/>
                  <a:p>
                    <a:r>
                      <a:t>40.9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B69D-4891-95F3-0D47E4091DC6}"/>
                </c:ext>
              </c:extLst>
            </c:dLbl>
            <c:dLbl>
              <c:idx val="12"/>
              <c:tx>
                <c:rich>
                  <a:bodyPr/>
                  <a:lstStyle/>
                  <a:p>
                    <a:r>
                      <a:t>11.5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B69D-4891-95F3-0D47E4091DC6}"/>
                </c:ext>
              </c:extLst>
            </c:dLbl>
            <c:dLbl>
              <c:idx val="1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B69D-4891-95F3-0D47E4091DC6}"/>
                </c:ext>
              </c:extLst>
            </c:dLbl>
            <c:dLbl>
              <c:idx val="14"/>
              <c:tx>
                <c:rich>
                  <a:bodyPr/>
                  <a:lstStyle/>
                  <a:p>
                    <a:r>
                      <a:t>15.2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B69D-4891-95F3-0D47E4091DC6}"/>
                </c:ext>
              </c:extLst>
            </c:dLbl>
            <c:dLbl>
              <c:idx val="1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B69D-4891-95F3-0D47E4091DC6}"/>
                </c:ext>
              </c:extLst>
            </c:dLbl>
            <c:dLbl>
              <c:idx val="16"/>
              <c:tx>
                <c:rich>
                  <a:bodyPr/>
                  <a:lstStyle/>
                  <a:p>
                    <a:r>
                      <a:t>17.6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B69D-4891-95F3-0D47E4091DC6}"/>
                </c:ext>
              </c:extLst>
            </c:dLbl>
            <c:dLbl>
              <c:idx val="1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B69D-4891-95F3-0D47E4091DC6}"/>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9</c:f>
              <c:multiLvlStrCache>
                <c:ptCount val="18"/>
                <c:lvl>
                  <c:pt idx="0">
                    <c:v>Total</c:v>
                  </c:pt>
                  <c:pt idx="1">
                    <c:v>Malard Nicolas</c:v>
                  </c:pt>
                  <c:pt idx="2">
                    <c:v>Total</c:v>
                  </c:pt>
                  <c:pt idx="3">
                    <c:v>Malard Nicolas</c:v>
                  </c:pt>
                  <c:pt idx="4">
                    <c:v>Total</c:v>
                  </c:pt>
                  <c:pt idx="5">
                    <c:v>Malard Nicolas</c:v>
                  </c:pt>
                  <c:pt idx="6">
                    <c:v>Total</c:v>
                  </c:pt>
                  <c:pt idx="7">
                    <c:v>Malard Nicolas</c:v>
                  </c:pt>
                  <c:pt idx="8">
                    <c:v>Total</c:v>
                  </c:pt>
                  <c:pt idx="9">
                    <c:v>Malard Nicolas</c:v>
                  </c:pt>
                  <c:pt idx="10">
                    <c:v>Total</c:v>
                  </c:pt>
                  <c:pt idx="11">
                    <c:v>Malard Nicolas</c:v>
                  </c:pt>
                  <c:pt idx="12">
                    <c:v>Total</c:v>
                  </c:pt>
                  <c:pt idx="13">
                    <c:v>Malard Nicolas</c:v>
                  </c:pt>
                  <c:pt idx="14">
                    <c:v>Total</c:v>
                  </c:pt>
                  <c:pt idx="15">
                    <c:v>Malard Nicolas</c:v>
                  </c:pt>
                  <c:pt idx="16">
                    <c:v>Total</c:v>
                  </c:pt>
                  <c:pt idx="17">
                    <c:v>Malard Nicolas</c:v>
                  </c:pt>
                </c:lvl>
                <c:lvl>
                  <c:pt idx="0">
                    <c:v>Bruts</c:v>
                  </c:pt>
                  <c:pt idx="2">
                    <c:v>Blanc De Blancs</c:v>
                  </c:pt>
                  <c:pt idx="4">
                    <c:v>Rosés</c:v>
                  </c:pt>
                  <c:pt idx="6">
                    <c:v>Millesimes</c:v>
                  </c:pt>
                  <c:pt idx="8">
                    <c:v>Extra Brut</c:v>
                  </c:pt>
                  <c:pt idx="10">
                    <c:v>Crus</c:v>
                  </c:pt>
                  <c:pt idx="12">
                    <c:v>Mousseux Italiens</c:v>
                  </c:pt>
                  <c:pt idx="14">
                    <c:v>Mousseux Val De Loire</c:v>
                  </c:pt>
                  <c:pt idx="16">
                    <c:v>Mousseux Alsace</c:v>
                  </c:pt>
                </c:lvl>
                <c:lvl>
                  <c:pt idx="0">
                    <c:v>Champagnes</c:v>
                  </c:pt>
                  <c:pt idx="12">
                    <c:v>Mousseux</c:v>
                  </c:pt>
                </c:lvl>
              </c:multiLvlStrCache>
            </c:multiLvlStrRef>
          </c:cat>
          <c:val>
            <c:numRef>
              <c:f>Sheet1!$E$2:$E$19</c:f>
              <c:numCache>
                <c:formatCode>General</c:formatCode>
                <c:ptCount val="18"/>
                <c:pt idx="0">
                  <c:v>54.516300000000001</c:v>
                </c:pt>
                <c:pt idx="1">
                  <c:v>29.320399999999999</c:v>
                </c:pt>
                <c:pt idx="2">
                  <c:v>106.9933</c:v>
                </c:pt>
                <c:pt idx="3">
                  <c:v>54.095700000000001</c:v>
                </c:pt>
                <c:pt idx="4">
                  <c:v>77.268100000000004</c:v>
                </c:pt>
                <c:pt idx="5">
                  <c:v>38.129199999999997</c:v>
                </c:pt>
                <c:pt idx="6">
                  <c:v>184.56649999999999</c:v>
                </c:pt>
                <c:pt idx="7">
                  <c:v>0</c:v>
                </c:pt>
                <c:pt idx="8">
                  <c:v>44.226100000000002</c:v>
                </c:pt>
                <c:pt idx="9">
                  <c:v>0</c:v>
                </c:pt>
                <c:pt idx="10">
                  <c:v>39.791200000000003</c:v>
                </c:pt>
                <c:pt idx="11">
                  <c:v>40.984099999999998</c:v>
                </c:pt>
                <c:pt idx="12">
                  <c:v>11.5238</c:v>
                </c:pt>
                <c:pt idx="13">
                  <c:v>0</c:v>
                </c:pt>
                <c:pt idx="14">
                  <c:v>15.2057</c:v>
                </c:pt>
                <c:pt idx="15">
                  <c:v>0</c:v>
                </c:pt>
                <c:pt idx="16">
                  <c:v>17.650500000000001</c:v>
                </c:pt>
                <c:pt idx="17">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0"/>
            <c:bubble3D val="0"/>
            <c:spPr>
              <a:solidFill>
                <a:srgbClr val="AEABAB"/>
              </a:solidFill>
              <a:ln>
                <a:noFill/>
              </a:ln>
              <a:effectLst/>
            </c:spPr>
            <c:extLst>
              <c:ext xmlns:c16="http://schemas.microsoft.com/office/drawing/2014/chart" uri="{C3380CC4-5D6E-409C-BE32-E72D297353CC}">
                <c16:uniqueId val="{00000026-4B23-4768-AE96-7AAF69EC1929}"/>
              </c:ext>
            </c:extLst>
          </c:dPt>
          <c:dPt>
            <c:idx val="5"/>
            <c:invertIfNegative val="0"/>
            <c:bubble3D val="0"/>
            <c:spPr>
              <a:solidFill>
                <a:srgbClr val="CBEAE7"/>
              </a:solidFill>
              <a:ln>
                <a:noFill/>
              </a:ln>
              <a:effectLst/>
            </c:spPr>
            <c:extLst>
              <c:ext xmlns:c16="http://schemas.microsoft.com/office/drawing/2014/chart" uri="{C3380CC4-5D6E-409C-BE32-E72D297353CC}">
                <c16:uniqueId val="{00000006-C486-4167-8002-0794DD94CC5C}"/>
              </c:ext>
            </c:extLst>
          </c:dPt>
          <c:dPt>
            <c:idx val="6"/>
            <c:invertIfNegative val="1"/>
            <c:bubble3D val="0"/>
            <c:spPr>
              <a:solidFill>
                <a:srgbClr val="AEABAB"/>
              </a:solidFill>
              <a:ln>
                <a:noFill/>
              </a:ln>
              <a:effectLst/>
            </c:spPr>
            <c:extLst>
              <c:ext xmlns:c16="http://schemas.microsoft.com/office/drawing/2014/chart" uri="{C3380CC4-5D6E-409C-BE32-E72D297353CC}">
                <c16:uniqueId val="{00000029-1790-4B7A-A54E-1E576287BA7F}"/>
              </c:ext>
            </c:extLst>
          </c:dPt>
          <c:dPt>
            <c:idx val="7"/>
            <c:invertIfNegative val="0"/>
            <c:bubble3D val="0"/>
            <c:spPr>
              <a:solidFill>
                <a:srgbClr val="CBEAE7"/>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AEABA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AEABA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AEABA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AEABA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AEABA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AEABA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AEABA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AEABA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AEABA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AEABA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AEABA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AEABA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AEABA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7</c:f>
              <c:multiLvlStrCache>
                <c:ptCount val="16"/>
                <c:lvl>
                  <c:pt idx="0">
                    <c:v>Total</c:v>
                  </c:pt>
                  <c:pt idx="1">
                    <c:v>Malard Nicolas</c:v>
                  </c:pt>
                  <c:pt idx="2">
                    <c:v>Total</c:v>
                  </c:pt>
                  <c:pt idx="3">
                    <c:v>Malard Nicolas</c:v>
                  </c:pt>
                  <c:pt idx="4">
                    <c:v>Total</c:v>
                  </c:pt>
                  <c:pt idx="5">
                    <c:v>Malard Nicolas</c:v>
                  </c:pt>
                  <c:pt idx="6">
                    <c:v>Total</c:v>
                  </c:pt>
                  <c:pt idx="7">
                    <c:v>Malard Nicolas</c:v>
                  </c:pt>
                  <c:pt idx="8">
                    <c:v>Total</c:v>
                  </c:pt>
                  <c:pt idx="9">
                    <c:v>Malard Nicolas</c:v>
                  </c:pt>
                  <c:pt idx="10">
                    <c:v>Total</c:v>
                  </c:pt>
                  <c:pt idx="11">
                    <c:v>Malard Nicolas</c:v>
                  </c:pt>
                  <c:pt idx="12">
                    <c:v>Total</c:v>
                  </c:pt>
                  <c:pt idx="13">
                    <c:v>Malard Nicolas</c:v>
                  </c:pt>
                  <c:pt idx="14">
                    <c:v>Total</c:v>
                  </c:pt>
                  <c:pt idx="15">
                    <c:v>Malard Nicolas</c:v>
                  </c:pt>
                </c:lvl>
                <c:lvl>
                  <c:pt idx="0">
                    <c:v>Bruts</c:v>
                  </c:pt>
                  <c:pt idx="2">
                    <c:v>Blanc De Blancs</c:v>
                  </c:pt>
                  <c:pt idx="4">
                    <c:v>Rosés</c:v>
                  </c:pt>
                  <c:pt idx="6">
                    <c:v>Crus</c:v>
                  </c:pt>
                  <c:pt idx="8">
                    <c:v>Extra Brut</c:v>
                  </c:pt>
                  <c:pt idx="10">
                    <c:v>Millesimes</c:v>
                  </c:pt>
                  <c:pt idx="12">
                    <c:v>Mousseux Italiens</c:v>
                  </c:pt>
                  <c:pt idx="14">
                    <c:v>Mousseux Val De Loire</c:v>
                  </c:pt>
                </c:lvl>
                <c:lvl>
                  <c:pt idx="0">
                    <c:v>Champagnes</c:v>
                  </c:pt>
                  <c:pt idx="12">
                    <c:v>Mousseux</c:v>
                  </c:pt>
                </c:lvl>
              </c:multiLvlStrCache>
            </c:multiLvlStrRef>
          </c:cat>
          <c:val>
            <c:numRef>
              <c:f>Sheet1!$D$2:$D$17</c:f>
              <c:numCache>
                <c:formatCode>General</c:formatCode>
                <c:ptCount val="16"/>
                <c:pt idx="0">
                  <c:v>29</c:v>
                </c:pt>
                <c:pt idx="1">
                  <c:v>3.1</c:v>
                </c:pt>
                <c:pt idx="2">
                  <c:v>5.5</c:v>
                </c:pt>
                <c:pt idx="3">
                  <c:v>0.3</c:v>
                </c:pt>
                <c:pt idx="4">
                  <c:v>3</c:v>
                </c:pt>
                <c:pt idx="5">
                  <c:v>0.3</c:v>
                </c:pt>
                <c:pt idx="6">
                  <c:v>2.1</c:v>
                </c:pt>
                <c:pt idx="7">
                  <c:v>0</c:v>
                </c:pt>
                <c:pt idx="8">
                  <c:v>1.7</c:v>
                </c:pt>
                <c:pt idx="9">
                  <c:v>0</c:v>
                </c:pt>
                <c:pt idx="10">
                  <c:v>1.7</c:v>
                </c:pt>
                <c:pt idx="11">
                  <c:v>0</c:v>
                </c:pt>
                <c:pt idx="12">
                  <c:v>1.2</c:v>
                </c:pt>
                <c:pt idx="13">
                  <c:v>0</c:v>
                </c:pt>
                <c:pt idx="14">
                  <c:v>0.7</c:v>
                </c:pt>
                <c:pt idx="15">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52.7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29.5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99.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53.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76.9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790-4B7A-A54E-1E576287BA7F}"/>
                </c:ext>
              </c:extLst>
            </c:dLbl>
            <c:dLbl>
              <c:idx val="5"/>
              <c:tx>
                <c:rich>
                  <a:bodyPr/>
                  <a:lstStyle/>
                  <a:p>
                    <a:r>
                      <a:t>38.4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790-4B7A-A54E-1E576287BA7F}"/>
                </c:ext>
              </c:extLst>
            </c:dLbl>
            <c:dLbl>
              <c:idx val="6"/>
              <c:tx>
                <c:rich>
                  <a:bodyPr/>
                  <a:lstStyle/>
                  <a:p>
                    <a:r>
                      <a:t>40.0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790-4B7A-A54E-1E576287BA7F}"/>
                </c:ext>
              </c:extLst>
            </c:dLbl>
            <c:dLbl>
              <c:idx val="7"/>
              <c:tx>
                <c:rich>
                  <a:bodyPr/>
                  <a:lstStyle/>
                  <a:p>
                    <a:r>
                      <a:t>43.9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790-4B7A-A54E-1E576287BA7F}"/>
                </c:ext>
              </c:extLst>
            </c:dLbl>
            <c:dLbl>
              <c:idx val="8"/>
              <c:tx>
                <c:rich>
                  <a:bodyPr/>
                  <a:lstStyle/>
                  <a:p>
                    <a:r>
                      <a:t>44.4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790-4B7A-A54E-1E576287BA7F}"/>
                </c:ext>
              </c:extLst>
            </c:dLbl>
            <c:dLbl>
              <c:idx val="9"/>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790-4B7A-A54E-1E576287BA7F}"/>
                </c:ext>
              </c:extLst>
            </c:dLbl>
            <c:dLbl>
              <c:idx val="10"/>
              <c:tx>
                <c:rich>
                  <a:bodyPr/>
                  <a:lstStyle/>
                  <a:p>
                    <a:r>
                      <a:t>178.5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790-4B7A-A54E-1E576287BA7F}"/>
                </c:ext>
              </c:extLst>
            </c:dLbl>
            <c:dLbl>
              <c:idx val="1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790-4B7A-A54E-1E576287BA7F}"/>
                </c:ext>
              </c:extLst>
            </c:dLbl>
            <c:dLbl>
              <c:idx val="12"/>
              <c:tx>
                <c:rich>
                  <a:bodyPr/>
                  <a:lstStyle/>
                  <a:p>
                    <a:r>
                      <a:t>12.0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790-4B7A-A54E-1E576287BA7F}"/>
                </c:ext>
              </c:extLst>
            </c:dLbl>
            <c:dLbl>
              <c:idx val="1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790-4B7A-A54E-1E576287BA7F}"/>
                </c:ext>
              </c:extLst>
            </c:dLbl>
            <c:dLbl>
              <c:idx val="14"/>
              <c:tx>
                <c:rich>
                  <a:bodyPr/>
                  <a:lstStyle/>
                  <a:p>
                    <a:r>
                      <a:t>15.8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790-4B7A-A54E-1E576287BA7F}"/>
                </c:ext>
              </c:extLst>
            </c:dLbl>
            <c:dLbl>
              <c:idx val="1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790-4B7A-A54E-1E576287BA7F}"/>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7</c:f>
              <c:multiLvlStrCache>
                <c:ptCount val="16"/>
                <c:lvl>
                  <c:pt idx="0">
                    <c:v>Total</c:v>
                  </c:pt>
                  <c:pt idx="1">
                    <c:v>Malard Nicolas</c:v>
                  </c:pt>
                  <c:pt idx="2">
                    <c:v>Total</c:v>
                  </c:pt>
                  <c:pt idx="3">
                    <c:v>Malard Nicolas</c:v>
                  </c:pt>
                  <c:pt idx="4">
                    <c:v>Total</c:v>
                  </c:pt>
                  <c:pt idx="5">
                    <c:v>Malard Nicolas</c:v>
                  </c:pt>
                  <c:pt idx="6">
                    <c:v>Total</c:v>
                  </c:pt>
                  <c:pt idx="7">
                    <c:v>Malard Nicolas</c:v>
                  </c:pt>
                  <c:pt idx="8">
                    <c:v>Total</c:v>
                  </c:pt>
                  <c:pt idx="9">
                    <c:v>Malard Nicolas</c:v>
                  </c:pt>
                  <c:pt idx="10">
                    <c:v>Total</c:v>
                  </c:pt>
                  <c:pt idx="11">
                    <c:v>Malard Nicolas</c:v>
                  </c:pt>
                  <c:pt idx="12">
                    <c:v>Total</c:v>
                  </c:pt>
                  <c:pt idx="13">
                    <c:v>Malard Nicolas</c:v>
                  </c:pt>
                  <c:pt idx="14">
                    <c:v>Total</c:v>
                  </c:pt>
                  <c:pt idx="15">
                    <c:v>Malard Nicolas</c:v>
                  </c:pt>
                </c:lvl>
                <c:lvl>
                  <c:pt idx="0">
                    <c:v>Bruts</c:v>
                  </c:pt>
                  <c:pt idx="2">
                    <c:v>Blanc De Blancs</c:v>
                  </c:pt>
                  <c:pt idx="4">
                    <c:v>Rosés</c:v>
                  </c:pt>
                  <c:pt idx="6">
                    <c:v>Crus</c:v>
                  </c:pt>
                  <c:pt idx="8">
                    <c:v>Extra Brut</c:v>
                  </c:pt>
                  <c:pt idx="10">
                    <c:v>Millesimes</c:v>
                  </c:pt>
                  <c:pt idx="12">
                    <c:v>Mousseux Italiens</c:v>
                  </c:pt>
                  <c:pt idx="14">
                    <c:v>Mousseux Val De Loire</c:v>
                  </c:pt>
                </c:lvl>
                <c:lvl>
                  <c:pt idx="0">
                    <c:v>Champagnes</c:v>
                  </c:pt>
                  <c:pt idx="12">
                    <c:v>Mousseux</c:v>
                  </c:pt>
                </c:lvl>
              </c:multiLvlStrCache>
            </c:multiLvlStrRef>
          </c:cat>
          <c:val>
            <c:numRef>
              <c:f>Sheet1!$E$2:$E$17</c:f>
              <c:numCache>
                <c:formatCode>General</c:formatCode>
                <c:ptCount val="16"/>
                <c:pt idx="0">
                  <c:v>52.746600000000001</c:v>
                </c:pt>
                <c:pt idx="1">
                  <c:v>29.5703</c:v>
                </c:pt>
                <c:pt idx="2">
                  <c:v>99.004499999999993</c:v>
                </c:pt>
                <c:pt idx="3">
                  <c:v>53.195399999999999</c:v>
                </c:pt>
                <c:pt idx="4">
                  <c:v>76.944500000000005</c:v>
                </c:pt>
                <c:pt idx="5">
                  <c:v>38.406399999999998</c:v>
                </c:pt>
                <c:pt idx="6">
                  <c:v>40.0443</c:v>
                </c:pt>
                <c:pt idx="7">
                  <c:v>43.926900000000003</c:v>
                </c:pt>
                <c:pt idx="8">
                  <c:v>44.462200000000003</c:v>
                </c:pt>
                <c:pt idx="9">
                  <c:v>0</c:v>
                </c:pt>
                <c:pt idx="10">
                  <c:v>178.5181</c:v>
                </c:pt>
                <c:pt idx="11">
                  <c:v>0</c:v>
                </c:pt>
                <c:pt idx="12">
                  <c:v>12.059200000000001</c:v>
                </c:pt>
                <c:pt idx="13">
                  <c:v>0</c:v>
                </c:pt>
                <c:pt idx="14">
                  <c:v>15.8711</c:v>
                </c:pt>
                <c:pt idx="15">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0"/>
            <c:bubble3D val="0"/>
            <c:spPr>
              <a:solidFill>
                <a:srgbClr val="AEABAB"/>
              </a:solidFill>
              <a:ln>
                <a:noFill/>
              </a:ln>
              <a:effectLst/>
            </c:spPr>
            <c:extLst>
              <c:ext xmlns:c16="http://schemas.microsoft.com/office/drawing/2014/chart" uri="{C3380CC4-5D6E-409C-BE32-E72D297353CC}">
                <c16:uniqueId val="{00000026-4B23-4768-AE96-7AAF69EC1929}"/>
              </c:ext>
            </c:extLst>
          </c:dPt>
          <c:dPt>
            <c:idx val="5"/>
            <c:invertIfNegative val="0"/>
            <c:bubble3D val="0"/>
            <c:spPr>
              <a:solidFill>
                <a:srgbClr val="CBEAE7"/>
              </a:solidFill>
              <a:ln>
                <a:noFill/>
              </a:ln>
              <a:effectLst/>
            </c:spPr>
            <c:extLst>
              <c:ext xmlns:c16="http://schemas.microsoft.com/office/drawing/2014/chart" uri="{C3380CC4-5D6E-409C-BE32-E72D297353CC}">
                <c16:uniqueId val="{00000006-C486-4167-8002-0794DD94CC5C}"/>
              </c:ext>
            </c:extLst>
          </c:dPt>
          <c:dPt>
            <c:idx val="6"/>
            <c:invertIfNegative val="1"/>
            <c:bubble3D val="0"/>
            <c:spPr>
              <a:solidFill>
                <a:srgbClr val="AEABAB"/>
              </a:solidFill>
              <a:ln>
                <a:noFill/>
              </a:ln>
              <a:effectLst/>
            </c:spPr>
            <c:extLst>
              <c:ext xmlns:c16="http://schemas.microsoft.com/office/drawing/2014/chart" uri="{C3380CC4-5D6E-409C-BE32-E72D297353CC}">
                <c16:uniqueId val="{00000029-5E06-4B0A-B758-46D98840104D}"/>
              </c:ext>
            </c:extLst>
          </c:dPt>
          <c:dPt>
            <c:idx val="7"/>
            <c:invertIfNegative val="0"/>
            <c:bubble3D val="0"/>
            <c:spPr>
              <a:solidFill>
                <a:srgbClr val="AEABA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AEABA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AEABA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AEABA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AEABA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AEABA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AEABA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AEABA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AEABA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AEABA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AEABA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AEABA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AEABA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AEABA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5</c:f>
              <c:multiLvlStrCache>
                <c:ptCount val="14"/>
                <c:lvl>
                  <c:pt idx="0">
                    <c:v>Total</c:v>
                  </c:pt>
                  <c:pt idx="1">
                    <c:v>Malard Nicolas</c:v>
                  </c:pt>
                  <c:pt idx="2">
                    <c:v>Total</c:v>
                  </c:pt>
                  <c:pt idx="3">
                    <c:v>Malard Nicolas</c:v>
                  </c:pt>
                  <c:pt idx="4">
                    <c:v>Total</c:v>
                  </c:pt>
                  <c:pt idx="5">
                    <c:v>Malard Nicolas</c:v>
                  </c:pt>
                  <c:pt idx="6">
                    <c:v>Total</c:v>
                  </c:pt>
                  <c:pt idx="7">
                    <c:v>Malard Nicolas</c:v>
                  </c:pt>
                  <c:pt idx="8">
                    <c:v>Total</c:v>
                  </c:pt>
                  <c:pt idx="9">
                    <c:v>Malard Nicolas</c:v>
                  </c:pt>
                  <c:pt idx="10">
                    <c:v>Total</c:v>
                  </c:pt>
                  <c:pt idx="11">
                    <c:v>Malard Nicolas</c:v>
                  </c:pt>
                  <c:pt idx="12">
                    <c:v>Total</c:v>
                  </c:pt>
                  <c:pt idx="13">
                    <c:v>Malard Nicolas</c:v>
                  </c:pt>
                </c:lvl>
                <c:lvl>
                  <c:pt idx="0">
                    <c:v>Bruts</c:v>
                  </c:pt>
                  <c:pt idx="2">
                    <c:v>Blanc De Blancs</c:v>
                  </c:pt>
                  <c:pt idx="4">
                    <c:v>Rosés</c:v>
                  </c:pt>
                  <c:pt idx="6">
                    <c:v>Millesimes</c:v>
                  </c:pt>
                  <c:pt idx="8">
                    <c:v>Crus</c:v>
                  </c:pt>
                  <c:pt idx="10">
                    <c:v>Extra Brut</c:v>
                  </c:pt>
                  <c:pt idx="12">
                    <c:v>Mousseux Italiens</c:v>
                  </c:pt>
                </c:lvl>
                <c:lvl>
                  <c:pt idx="0">
                    <c:v>Champagnes</c:v>
                  </c:pt>
                  <c:pt idx="12">
                    <c:v>Mousseux</c:v>
                  </c:pt>
                </c:lvl>
              </c:multiLvlStrCache>
            </c:multiLvlStrRef>
          </c:cat>
          <c:val>
            <c:numRef>
              <c:f>Sheet1!$D$2:$D$15</c:f>
              <c:numCache>
                <c:formatCode>General</c:formatCode>
                <c:ptCount val="14"/>
                <c:pt idx="0">
                  <c:v>4.0999999999999996</c:v>
                </c:pt>
                <c:pt idx="1">
                  <c:v>0.5</c:v>
                </c:pt>
                <c:pt idx="2">
                  <c:v>1</c:v>
                </c:pt>
                <c:pt idx="3">
                  <c:v>0.1</c:v>
                </c:pt>
                <c:pt idx="4">
                  <c:v>0.5</c:v>
                </c:pt>
                <c:pt idx="5">
                  <c:v>0</c:v>
                </c:pt>
                <c:pt idx="6">
                  <c:v>0.3</c:v>
                </c:pt>
                <c:pt idx="7">
                  <c:v>0</c:v>
                </c:pt>
                <c:pt idx="8">
                  <c:v>0.2</c:v>
                </c:pt>
                <c:pt idx="9">
                  <c:v>0</c:v>
                </c:pt>
                <c:pt idx="10">
                  <c:v>0.2</c:v>
                </c:pt>
                <c:pt idx="11">
                  <c:v>0</c:v>
                </c:pt>
                <c:pt idx="12">
                  <c:v>0.2</c:v>
                </c:pt>
                <c:pt idx="13">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52.9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29.3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106.7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53.9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77.9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5E06-4B0A-B758-46D98840104D}"/>
                </c:ext>
              </c:extLst>
            </c:dLbl>
            <c:dLbl>
              <c:idx val="5"/>
              <c:tx>
                <c:rich>
                  <a:bodyPr/>
                  <a:lstStyle/>
                  <a:p>
                    <a:r>
                      <a:t>38.0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5E06-4B0A-B758-46D98840104D}"/>
                </c:ext>
              </c:extLst>
            </c:dLbl>
            <c:dLbl>
              <c:idx val="6"/>
              <c:tx>
                <c:rich>
                  <a:bodyPr/>
                  <a:lstStyle/>
                  <a:p>
                    <a:r>
                      <a:t>225.2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5E06-4B0A-B758-46D98840104D}"/>
                </c:ext>
              </c:extLst>
            </c:dLbl>
            <c:dLbl>
              <c:idx val="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5E06-4B0A-B758-46D98840104D}"/>
                </c:ext>
              </c:extLst>
            </c:dLbl>
            <c:dLbl>
              <c:idx val="8"/>
              <c:tx>
                <c:rich>
                  <a:bodyPr/>
                  <a:lstStyle/>
                  <a:p>
                    <a:r>
                      <a:t>39.9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5E06-4B0A-B758-46D98840104D}"/>
                </c:ext>
              </c:extLst>
            </c:dLbl>
            <c:dLbl>
              <c:idx val="9"/>
              <c:tx>
                <c:rich>
                  <a:bodyPr/>
                  <a:lstStyle/>
                  <a:p>
                    <a:r>
                      <a:t>43.0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5E06-4B0A-B758-46D98840104D}"/>
                </c:ext>
              </c:extLst>
            </c:dLbl>
            <c:dLbl>
              <c:idx val="10"/>
              <c:tx>
                <c:rich>
                  <a:bodyPr/>
                  <a:lstStyle/>
                  <a:p>
                    <a:r>
                      <a:t>44.6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5E06-4B0A-B758-46D98840104D}"/>
                </c:ext>
              </c:extLst>
            </c:dLbl>
            <c:dLbl>
              <c:idx val="1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5E06-4B0A-B758-46D98840104D}"/>
                </c:ext>
              </c:extLst>
            </c:dLbl>
            <c:dLbl>
              <c:idx val="12"/>
              <c:tx>
                <c:rich>
                  <a:bodyPr/>
                  <a:lstStyle/>
                  <a:p>
                    <a:r>
                      <a:t>12.0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5E06-4B0A-B758-46D98840104D}"/>
                </c:ext>
              </c:extLst>
            </c:dLbl>
            <c:dLbl>
              <c:idx val="1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5E06-4B0A-B758-46D98840104D}"/>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5</c:f>
              <c:multiLvlStrCache>
                <c:ptCount val="14"/>
                <c:lvl>
                  <c:pt idx="0">
                    <c:v>Total</c:v>
                  </c:pt>
                  <c:pt idx="1">
                    <c:v>Malard Nicolas</c:v>
                  </c:pt>
                  <c:pt idx="2">
                    <c:v>Total</c:v>
                  </c:pt>
                  <c:pt idx="3">
                    <c:v>Malard Nicolas</c:v>
                  </c:pt>
                  <c:pt idx="4">
                    <c:v>Total</c:v>
                  </c:pt>
                  <c:pt idx="5">
                    <c:v>Malard Nicolas</c:v>
                  </c:pt>
                  <c:pt idx="6">
                    <c:v>Total</c:v>
                  </c:pt>
                  <c:pt idx="7">
                    <c:v>Malard Nicolas</c:v>
                  </c:pt>
                  <c:pt idx="8">
                    <c:v>Total</c:v>
                  </c:pt>
                  <c:pt idx="9">
                    <c:v>Malard Nicolas</c:v>
                  </c:pt>
                  <c:pt idx="10">
                    <c:v>Total</c:v>
                  </c:pt>
                  <c:pt idx="11">
                    <c:v>Malard Nicolas</c:v>
                  </c:pt>
                  <c:pt idx="12">
                    <c:v>Total</c:v>
                  </c:pt>
                  <c:pt idx="13">
                    <c:v>Malard Nicolas</c:v>
                  </c:pt>
                </c:lvl>
                <c:lvl>
                  <c:pt idx="0">
                    <c:v>Bruts</c:v>
                  </c:pt>
                  <c:pt idx="2">
                    <c:v>Blanc De Blancs</c:v>
                  </c:pt>
                  <c:pt idx="4">
                    <c:v>Rosés</c:v>
                  </c:pt>
                  <c:pt idx="6">
                    <c:v>Millesimes</c:v>
                  </c:pt>
                  <c:pt idx="8">
                    <c:v>Crus</c:v>
                  </c:pt>
                  <c:pt idx="10">
                    <c:v>Extra Brut</c:v>
                  </c:pt>
                  <c:pt idx="12">
                    <c:v>Mousseux Italiens</c:v>
                  </c:pt>
                </c:lvl>
                <c:lvl>
                  <c:pt idx="0">
                    <c:v>Champagnes</c:v>
                  </c:pt>
                  <c:pt idx="12">
                    <c:v>Mousseux</c:v>
                  </c:pt>
                </c:lvl>
              </c:multiLvlStrCache>
            </c:multiLvlStrRef>
          </c:cat>
          <c:val>
            <c:numRef>
              <c:f>Sheet1!$E$2:$E$15</c:f>
              <c:numCache>
                <c:formatCode>General</c:formatCode>
                <c:ptCount val="14"/>
                <c:pt idx="0">
                  <c:v>52.975099999999998</c:v>
                </c:pt>
                <c:pt idx="1">
                  <c:v>29.342099999999999</c:v>
                </c:pt>
                <c:pt idx="2">
                  <c:v>106.7418</c:v>
                </c:pt>
                <c:pt idx="3">
                  <c:v>53.975299999999997</c:v>
                </c:pt>
                <c:pt idx="4">
                  <c:v>77.956299999999999</c:v>
                </c:pt>
                <c:pt idx="5">
                  <c:v>38.017800000000001</c:v>
                </c:pt>
                <c:pt idx="6">
                  <c:v>225.2834</c:v>
                </c:pt>
                <c:pt idx="7">
                  <c:v>0</c:v>
                </c:pt>
                <c:pt idx="8">
                  <c:v>39.923000000000002</c:v>
                </c:pt>
                <c:pt idx="9">
                  <c:v>43.031300000000002</c:v>
                </c:pt>
                <c:pt idx="10">
                  <c:v>44.665599999999998</c:v>
                </c:pt>
                <c:pt idx="11">
                  <c:v>0</c:v>
                </c:pt>
                <c:pt idx="12">
                  <c:v>12.029199999999999</c:v>
                </c:pt>
                <c:pt idx="13">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0"/>
            <c:bubble3D val="0"/>
            <c:spPr>
              <a:solidFill>
                <a:srgbClr val="AEABAB"/>
              </a:solidFill>
              <a:ln>
                <a:noFill/>
              </a:ln>
              <a:effectLst/>
            </c:spPr>
            <c:extLst>
              <c:ext xmlns:c16="http://schemas.microsoft.com/office/drawing/2014/chart" uri="{C3380CC4-5D6E-409C-BE32-E72D297353CC}">
                <c16:uniqueId val="{00000026-4B23-4768-AE96-7AAF69EC1929}"/>
              </c:ext>
            </c:extLst>
          </c:dPt>
          <c:dPt>
            <c:idx val="5"/>
            <c:invertIfNegative val="0"/>
            <c:bubble3D val="0"/>
            <c:spPr>
              <a:solidFill>
                <a:srgbClr val="CBEAE7"/>
              </a:solidFill>
              <a:ln>
                <a:noFill/>
              </a:ln>
              <a:effectLst/>
            </c:spPr>
            <c:extLst>
              <c:ext xmlns:c16="http://schemas.microsoft.com/office/drawing/2014/chart" uri="{C3380CC4-5D6E-409C-BE32-E72D297353CC}">
                <c16:uniqueId val="{00000006-C486-4167-8002-0794DD94CC5C}"/>
              </c:ext>
            </c:extLst>
          </c:dPt>
          <c:dPt>
            <c:idx val="6"/>
            <c:invertIfNegative val="1"/>
            <c:bubble3D val="0"/>
            <c:spPr>
              <a:solidFill>
                <a:srgbClr val="AEABAB"/>
              </a:solidFill>
              <a:ln>
                <a:noFill/>
              </a:ln>
              <a:effectLst/>
            </c:spPr>
            <c:extLst>
              <c:ext xmlns:c16="http://schemas.microsoft.com/office/drawing/2014/chart" uri="{C3380CC4-5D6E-409C-BE32-E72D297353CC}">
                <c16:uniqueId val="{00000029-3292-48E2-8530-3E7FDCDA9CE3}"/>
              </c:ext>
            </c:extLst>
          </c:dPt>
          <c:dPt>
            <c:idx val="7"/>
            <c:invertIfNegative val="0"/>
            <c:bubble3D val="0"/>
            <c:spPr>
              <a:solidFill>
                <a:srgbClr val="AEABA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AEABA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AEABA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AEABA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AEABA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AEABA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AEABA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AEABA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AEABA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AEABA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AEABA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AEABA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AEABA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AEABA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5</c:f>
              <c:multiLvlStrCache>
                <c:ptCount val="14"/>
                <c:lvl>
                  <c:pt idx="0">
                    <c:v>Total</c:v>
                  </c:pt>
                  <c:pt idx="1">
                    <c:v>Malard Nicolas</c:v>
                  </c:pt>
                  <c:pt idx="2">
                    <c:v>Total</c:v>
                  </c:pt>
                  <c:pt idx="3">
                    <c:v>Malard Nicolas</c:v>
                  </c:pt>
                  <c:pt idx="4">
                    <c:v>Total</c:v>
                  </c:pt>
                  <c:pt idx="5">
                    <c:v>Malard Nicolas</c:v>
                  </c:pt>
                  <c:pt idx="6">
                    <c:v>Total</c:v>
                  </c:pt>
                  <c:pt idx="7">
                    <c:v>Malard Nicolas</c:v>
                  </c:pt>
                  <c:pt idx="8">
                    <c:v>Total</c:v>
                  </c:pt>
                  <c:pt idx="9">
                    <c:v>Malard Nicolas</c:v>
                  </c:pt>
                  <c:pt idx="10">
                    <c:v>Total</c:v>
                  </c:pt>
                  <c:pt idx="11">
                    <c:v>Malard Nicolas</c:v>
                  </c:pt>
                  <c:pt idx="12">
                    <c:v>Total</c:v>
                  </c:pt>
                  <c:pt idx="13">
                    <c:v>Malard Nicolas</c:v>
                  </c:pt>
                </c:lvl>
                <c:lvl>
                  <c:pt idx="0">
                    <c:v>Bruts</c:v>
                  </c:pt>
                  <c:pt idx="2">
                    <c:v>Blanc De Blancs</c:v>
                  </c:pt>
                  <c:pt idx="4">
                    <c:v>Rosés</c:v>
                  </c:pt>
                  <c:pt idx="6">
                    <c:v>Millesimes</c:v>
                  </c:pt>
                  <c:pt idx="8">
                    <c:v>Crus</c:v>
                  </c:pt>
                  <c:pt idx="10">
                    <c:v>Extra Brut</c:v>
                  </c:pt>
                  <c:pt idx="12">
                    <c:v>Mousseux Italiens</c:v>
                  </c:pt>
                </c:lvl>
                <c:lvl>
                  <c:pt idx="0">
                    <c:v>Champagnes</c:v>
                  </c:pt>
                  <c:pt idx="12">
                    <c:v>Mousseux</c:v>
                  </c:pt>
                </c:lvl>
              </c:multiLvlStrCache>
            </c:multiLvlStrRef>
          </c:cat>
          <c:val>
            <c:numRef>
              <c:f>Sheet1!$D$2:$D$15</c:f>
              <c:numCache>
                <c:formatCode>General</c:formatCode>
                <c:ptCount val="14"/>
                <c:pt idx="0">
                  <c:v>2.4</c:v>
                </c:pt>
                <c:pt idx="1">
                  <c:v>0.2</c:v>
                </c:pt>
                <c:pt idx="2">
                  <c:v>0.4</c:v>
                </c:pt>
                <c:pt idx="3">
                  <c:v>0</c:v>
                </c:pt>
                <c:pt idx="4">
                  <c:v>0.2</c:v>
                </c:pt>
                <c:pt idx="5">
                  <c:v>0</c:v>
                </c:pt>
                <c:pt idx="6">
                  <c:v>0.2</c:v>
                </c:pt>
                <c:pt idx="7">
                  <c:v>0</c:v>
                </c:pt>
                <c:pt idx="8">
                  <c:v>0.1</c:v>
                </c:pt>
                <c:pt idx="9">
                  <c:v>0</c:v>
                </c:pt>
                <c:pt idx="10">
                  <c:v>0.1</c:v>
                </c:pt>
                <c:pt idx="11">
                  <c:v>0</c:v>
                </c:pt>
                <c:pt idx="12">
                  <c:v>0.1</c:v>
                </c:pt>
                <c:pt idx="13">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53.6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30.2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98.8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55.5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73.6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3292-48E2-8530-3E7FDCDA9CE3}"/>
                </c:ext>
              </c:extLst>
            </c:dLbl>
            <c:dLbl>
              <c:idx val="5"/>
              <c:tx>
                <c:rich>
                  <a:bodyPr/>
                  <a:lstStyle/>
                  <a:p>
                    <a:r>
                      <a:t>38.4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3292-48E2-8530-3E7FDCDA9CE3}"/>
                </c:ext>
              </c:extLst>
            </c:dLbl>
            <c:dLbl>
              <c:idx val="6"/>
              <c:tx>
                <c:rich>
                  <a:bodyPr/>
                  <a:lstStyle/>
                  <a:p>
                    <a:r>
                      <a:t>187.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3292-48E2-8530-3E7FDCDA9CE3}"/>
                </c:ext>
              </c:extLst>
            </c:dLbl>
            <c:dLbl>
              <c:idx val="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3292-48E2-8530-3E7FDCDA9CE3}"/>
                </c:ext>
              </c:extLst>
            </c:dLbl>
            <c:dLbl>
              <c:idx val="8"/>
              <c:tx>
                <c:rich>
                  <a:bodyPr/>
                  <a:lstStyle/>
                  <a:p>
                    <a:r>
                      <a:t>39.9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3292-48E2-8530-3E7FDCDA9CE3}"/>
                </c:ext>
              </c:extLst>
            </c:dLbl>
            <c:dLbl>
              <c:idx val="9"/>
              <c:tx>
                <c:rich>
                  <a:bodyPr/>
                  <a:lstStyle/>
                  <a:p>
                    <a:r>
                      <a:t>44.8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3292-48E2-8530-3E7FDCDA9CE3}"/>
                </c:ext>
              </c:extLst>
            </c:dLbl>
            <c:dLbl>
              <c:idx val="10"/>
              <c:tx>
                <c:rich>
                  <a:bodyPr/>
                  <a:lstStyle/>
                  <a:p>
                    <a:r>
                      <a:t>44.3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3292-48E2-8530-3E7FDCDA9CE3}"/>
                </c:ext>
              </c:extLst>
            </c:dLbl>
            <c:dLbl>
              <c:idx val="1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3292-48E2-8530-3E7FDCDA9CE3}"/>
                </c:ext>
              </c:extLst>
            </c:dLbl>
            <c:dLbl>
              <c:idx val="12"/>
              <c:tx>
                <c:rich>
                  <a:bodyPr/>
                  <a:lstStyle/>
                  <a:p>
                    <a:r>
                      <a:t>11.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3292-48E2-8530-3E7FDCDA9CE3}"/>
                </c:ext>
              </c:extLst>
            </c:dLbl>
            <c:dLbl>
              <c:idx val="1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3292-48E2-8530-3E7FDCDA9CE3}"/>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5</c:f>
              <c:multiLvlStrCache>
                <c:ptCount val="14"/>
                <c:lvl>
                  <c:pt idx="0">
                    <c:v>Total</c:v>
                  </c:pt>
                  <c:pt idx="1">
                    <c:v>Malard Nicolas</c:v>
                  </c:pt>
                  <c:pt idx="2">
                    <c:v>Total</c:v>
                  </c:pt>
                  <c:pt idx="3">
                    <c:v>Malard Nicolas</c:v>
                  </c:pt>
                  <c:pt idx="4">
                    <c:v>Total</c:v>
                  </c:pt>
                  <c:pt idx="5">
                    <c:v>Malard Nicolas</c:v>
                  </c:pt>
                  <c:pt idx="6">
                    <c:v>Total</c:v>
                  </c:pt>
                  <c:pt idx="7">
                    <c:v>Malard Nicolas</c:v>
                  </c:pt>
                  <c:pt idx="8">
                    <c:v>Total</c:v>
                  </c:pt>
                  <c:pt idx="9">
                    <c:v>Malard Nicolas</c:v>
                  </c:pt>
                  <c:pt idx="10">
                    <c:v>Total</c:v>
                  </c:pt>
                  <c:pt idx="11">
                    <c:v>Malard Nicolas</c:v>
                  </c:pt>
                  <c:pt idx="12">
                    <c:v>Total</c:v>
                  </c:pt>
                  <c:pt idx="13">
                    <c:v>Malard Nicolas</c:v>
                  </c:pt>
                </c:lvl>
                <c:lvl>
                  <c:pt idx="0">
                    <c:v>Bruts</c:v>
                  </c:pt>
                  <c:pt idx="2">
                    <c:v>Blanc De Blancs</c:v>
                  </c:pt>
                  <c:pt idx="4">
                    <c:v>Rosés</c:v>
                  </c:pt>
                  <c:pt idx="6">
                    <c:v>Millesimes</c:v>
                  </c:pt>
                  <c:pt idx="8">
                    <c:v>Crus</c:v>
                  </c:pt>
                  <c:pt idx="10">
                    <c:v>Extra Brut</c:v>
                  </c:pt>
                  <c:pt idx="12">
                    <c:v>Mousseux Italiens</c:v>
                  </c:pt>
                </c:lvl>
                <c:lvl>
                  <c:pt idx="0">
                    <c:v>Champagnes</c:v>
                  </c:pt>
                  <c:pt idx="12">
                    <c:v>Mousseux</c:v>
                  </c:pt>
                </c:lvl>
              </c:multiLvlStrCache>
            </c:multiLvlStrRef>
          </c:cat>
          <c:val>
            <c:numRef>
              <c:f>Sheet1!$E$2:$E$15</c:f>
              <c:numCache>
                <c:formatCode>General</c:formatCode>
                <c:ptCount val="14"/>
                <c:pt idx="0">
                  <c:v>53.6935</c:v>
                </c:pt>
                <c:pt idx="1">
                  <c:v>30.215599999999998</c:v>
                </c:pt>
                <c:pt idx="2">
                  <c:v>98.810699999999997</c:v>
                </c:pt>
                <c:pt idx="3">
                  <c:v>55.517699999999998</c:v>
                </c:pt>
                <c:pt idx="4">
                  <c:v>73.642300000000006</c:v>
                </c:pt>
                <c:pt idx="5">
                  <c:v>38.415900000000001</c:v>
                </c:pt>
                <c:pt idx="6">
                  <c:v>187.09819999999999</c:v>
                </c:pt>
                <c:pt idx="7">
                  <c:v>0</c:v>
                </c:pt>
                <c:pt idx="8">
                  <c:v>39.974299999999999</c:v>
                </c:pt>
                <c:pt idx="9">
                  <c:v>44.848500000000001</c:v>
                </c:pt>
                <c:pt idx="10">
                  <c:v>44.310400000000001</c:v>
                </c:pt>
                <c:pt idx="11">
                  <c:v>0</c:v>
                </c:pt>
                <c:pt idx="12">
                  <c:v>11.4984</c:v>
                </c:pt>
                <c:pt idx="13">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0"/>
            <c:bubble3D val="0"/>
            <c:spPr>
              <a:solidFill>
                <a:srgbClr val="AEABAB"/>
              </a:solidFill>
              <a:ln>
                <a:noFill/>
              </a:ln>
              <a:effectLst/>
            </c:spPr>
            <c:extLst>
              <c:ext xmlns:c16="http://schemas.microsoft.com/office/drawing/2014/chart" uri="{C3380CC4-5D6E-409C-BE32-E72D297353CC}">
                <c16:uniqueId val="{00000026-4B23-4768-AE96-7AAF69EC1929}"/>
              </c:ext>
            </c:extLst>
          </c:dPt>
          <c:dPt>
            <c:idx val="5"/>
            <c:invertIfNegative val="0"/>
            <c:bubble3D val="0"/>
            <c:spPr>
              <a:solidFill>
                <a:srgbClr val="CBEAE7"/>
              </a:solidFill>
              <a:ln>
                <a:noFill/>
              </a:ln>
              <a:effectLst/>
            </c:spPr>
            <c:extLst>
              <c:ext xmlns:c16="http://schemas.microsoft.com/office/drawing/2014/chart" uri="{C3380CC4-5D6E-409C-BE32-E72D297353CC}">
                <c16:uniqueId val="{00000006-C486-4167-8002-0794DD94CC5C}"/>
              </c:ext>
            </c:extLst>
          </c:dPt>
          <c:dPt>
            <c:idx val="6"/>
            <c:invertIfNegative val="1"/>
            <c:bubble3D val="0"/>
            <c:spPr>
              <a:solidFill>
                <a:srgbClr val="AEABAB"/>
              </a:solidFill>
              <a:ln>
                <a:noFill/>
              </a:ln>
              <a:effectLst/>
            </c:spPr>
            <c:extLst>
              <c:ext xmlns:c16="http://schemas.microsoft.com/office/drawing/2014/chart" uri="{C3380CC4-5D6E-409C-BE32-E72D297353CC}">
                <c16:uniqueId val="{00000029-6FE8-4B9D-883D-8BBF62CADEFC}"/>
              </c:ext>
            </c:extLst>
          </c:dPt>
          <c:dPt>
            <c:idx val="7"/>
            <c:invertIfNegative val="0"/>
            <c:bubble3D val="0"/>
            <c:spPr>
              <a:solidFill>
                <a:srgbClr val="CBEAE7"/>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AEABA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AEABA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AEABA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AEABA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AEABA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AEABA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AEABA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AEABA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AEABA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AEABA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AEABA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AEABA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AEABA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7</c:f>
              <c:multiLvlStrCache>
                <c:ptCount val="16"/>
                <c:lvl>
                  <c:pt idx="0">
                    <c:v>Total</c:v>
                  </c:pt>
                  <c:pt idx="1">
                    <c:v>Malard Nicolas</c:v>
                  </c:pt>
                  <c:pt idx="2">
                    <c:v>Total</c:v>
                  </c:pt>
                  <c:pt idx="3">
                    <c:v>Malard Nicolas</c:v>
                  </c:pt>
                  <c:pt idx="4">
                    <c:v>Total</c:v>
                  </c:pt>
                  <c:pt idx="5">
                    <c:v>Malard Nicolas</c:v>
                  </c:pt>
                  <c:pt idx="6">
                    <c:v>Total</c:v>
                  </c:pt>
                  <c:pt idx="7">
                    <c:v>Malard Nicolas</c:v>
                  </c:pt>
                  <c:pt idx="8">
                    <c:v>Total</c:v>
                  </c:pt>
                  <c:pt idx="9">
                    <c:v>Malard Nicolas</c:v>
                  </c:pt>
                  <c:pt idx="10">
                    <c:v>Total</c:v>
                  </c:pt>
                  <c:pt idx="11">
                    <c:v>Malard Nicolas</c:v>
                  </c:pt>
                  <c:pt idx="12">
                    <c:v>Total</c:v>
                  </c:pt>
                  <c:pt idx="13">
                    <c:v>Malard Nicolas</c:v>
                  </c:pt>
                  <c:pt idx="14">
                    <c:v>Total</c:v>
                  </c:pt>
                  <c:pt idx="15">
                    <c:v>Malard Nicolas</c:v>
                  </c:pt>
                </c:lvl>
                <c:lvl>
                  <c:pt idx="0">
                    <c:v>Bruts</c:v>
                  </c:pt>
                  <c:pt idx="2">
                    <c:v>Blanc De Blancs</c:v>
                  </c:pt>
                  <c:pt idx="4">
                    <c:v>Rosés</c:v>
                  </c:pt>
                  <c:pt idx="6">
                    <c:v>Crus</c:v>
                  </c:pt>
                  <c:pt idx="8">
                    <c:v>Millesimes</c:v>
                  </c:pt>
                  <c:pt idx="10">
                    <c:v>Extra Brut</c:v>
                  </c:pt>
                  <c:pt idx="12">
                    <c:v>Mousseux Italiens</c:v>
                  </c:pt>
                  <c:pt idx="14">
                    <c:v>Mousseux Val De Loire</c:v>
                  </c:pt>
                </c:lvl>
                <c:lvl>
                  <c:pt idx="0">
                    <c:v>Champagnes</c:v>
                  </c:pt>
                  <c:pt idx="12">
                    <c:v>Mousseux</c:v>
                  </c:pt>
                </c:lvl>
              </c:multiLvlStrCache>
            </c:multiLvlStrRef>
          </c:cat>
          <c:val>
            <c:numRef>
              <c:f>Sheet1!$D$2:$D$17</c:f>
              <c:numCache>
                <c:formatCode>General</c:formatCode>
                <c:ptCount val="16"/>
                <c:pt idx="0">
                  <c:v>1.3</c:v>
                </c:pt>
                <c:pt idx="1">
                  <c:v>0.2</c:v>
                </c:pt>
                <c:pt idx="2">
                  <c:v>0.2</c:v>
                </c:pt>
                <c:pt idx="3">
                  <c:v>0</c:v>
                </c:pt>
                <c:pt idx="4">
                  <c:v>0.1</c:v>
                </c:pt>
                <c:pt idx="5">
                  <c:v>0</c:v>
                </c:pt>
                <c:pt idx="6">
                  <c:v>0.1</c:v>
                </c:pt>
                <c:pt idx="7">
                  <c:v>0</c:v>
                </c:pt>
                <c:pt idx="8">
                  <c:v>0.1</c:v>
                </c:pt>
                <c:pt idx="9">
                  <c:v>0</c:v>
                </c:pt>
                <c:pt idx="10">
                  <c:v>0</c:v>
                </c:pt>
                <c:pt idx="11">
                  <c:v>0</c:v>
                </c:pt>
                <c:pt idx="12">
                  <c:v>0</c:v>
                </c:pt>
                <c:pt idx="13">
                  <c:v>0</c:v>
                </c:pt>
                <c:pt idx="14">
                  <c:v>0</c:v>
                </c:pt>
                <c:pt idx="15">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49.7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29.2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92.6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53.4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69.8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6FE8-4B9D-883D-8BBF62CADEFC}"/>
                </c:ext>
              </c:extLst>
            </c:dLbl>
            <c:dLbl>
              <c:idx val="5"/>
              <c:tx>
                <c:rich>
                  <a:bodyPr/>
                  <a:lstStyle/>
                  <a:p>
                    <a:r>
                      <a:t>37.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6FE8-4B9D-883D-8BBF62CADEFC}"/>
                </c:ext>
              </c:extLst>
            </c:dLbl>
            <c:dLbl>
              <c:idx val="6"/>
              <c:tx>
                <c:rich>
                  <a:bodyPr/>
                  <a:lstStyle/>
                  <a:p>
                    <a:r>
                      <a:t>40.1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6FE8-4B9D-883D-8BBF62CADEFC}"/>
                </c:ext>
              </c:extLst>
            </c:dLbl>
            <c:dLbl>
              <c:idx val="7"/>
              <c:tx>
                <c:rich>
                  <a:bodyPr/>
                  <a:lstStyle/>
                  <a:p>
                    <a:r>
                      <a:t>43.5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6FE8-4B9D-883D-8BBF62CADEFC}"/>
                </c:ext>
              </c:extLst>
            </c:dLbl>
            <c:dLbl>
              <c:idx val="8"/>
              <c:tx>
                <c:rich>
                  <a:bodyPr/>
                  <a:lstStyle/>
                  <a:p>
                    <a:r>
                      <a:t>189.1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6FE8-4B9D-883D-8BBF62CADEFC}"/>
                </c:ext>
              </c:extLst>
            </c:dLbl>
            <c:dLbl>
              <c:idx val="9"/>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6FE8-4B9D-883D-8BBF62CADEFC}"/>
                </c:ext>
              </c:extLst>
            </c:dLbl>
            <c:dLbl>
              <c:idx val="10"/>
              <c:tx>
                <c:rich>
                  <a:bodyPr/>
                  <a:lstStyle/>
                  <a:p>
                    <a:r>
                      <a:t>43.9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6FE8-4B9D-883D-8BBF62CADEFC}"/>
                </c:ext>
              </c:extLst>
            </c:dLbl>
            <c:dLbl>
              <c:idx val="1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6FE8-4B9D-883D-8BBF62CADEFC}"/>
                </c:ext>
              </c:extLst>
            </c:dLbl>
            <c:dLbl>
              <c:idx val="12"/>
              <c:tx>
                <c:rich>
                  <a:bodyPr/>
                  <a:lstStyle/>
                  <a:p>
                    <a:r>
                      <a:t>11.4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6FE8-4B9D-883D-8BBF62CADEFC}"/>
                </c:ext>
              </c:extLst>
            </c:dLbl>
            <c:dLbl>
              <c:idx val="1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6FE8-4B9D-883D-8BBF62CADEFC}"/>
                </c:ext>
              </c:extLst>
            </c:dLbl>
            <c:dLbl>
              <c:idx val="14"/>
              <c:tx>
                <c:rich>
                  <a:bodyPr/>
                  <a:lstStyle/>
                  <a:p>
                    <a:r>
                      <a:t>14.8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6FE8-4B9D-883D-8BBF62CADEFC}"/>
                </c:ext>
              </c:extLst>
            </c:dLbl>
            <c:dLbl>
              <c:idx val="1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6FE8-4B9D-883D-8BBF62CADEFC}"/>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7</c:f>
              <c:multiLvlStrCache>
                <c:ptCount val="16"/>
                <c:lvl>
                  <c:pt idx="0">
                    <c:v>Total</c:v>
                  </c:pt>
                  <c:pt idx="1">
                    <c:v>Malard Nicolas</c:v>
                  </c:pt>
                  <c:pt idx="2">
                    <c:v>Total</c:v>
                  </c:pt>
                  <c:pt idx="3">
                    <c:v>Malard Nicolas</c:v>
                  </c:pt>
                  <c:pt idx="4">
                    <c:v>Total</c:v>
                  </c:pt>
                  <c:pt idx="5">
                    <c:v>Malard Nicolas</c:v>
                  </c:pt>
                  <c:pt idx="6">
                    <c:v>Total</c:v>
                  </c:pt>
                  <c:pt idx="7">
                    <c:v>Malard Nicolas</c:v>
                  </c:pt>
                  <c:pt idx="8">
                    <c:v>Total</c:v>
                  </c:pt>
                  <c:pt idx="9">
                    <c:v>Malard Nicolas</c:v>
                  </c:pt>
                  <c:pt idx="10">
                    <c:v>Total</c:v>
                  </c:pt>
                  <c:pt idx="11">
                    <c:v>Malard Nicolas</c:v>
                  </c:pt>
                  <c:pt idx="12">
                    <c:v>Total</c:v>
                  </c:pt>
                  <c:pt idx="13">
                    <c:v>Malard Nicolas</c:v>
                  </c:pt>
                  <c:pt idx="14">
                    <c:v>Total</c:v>
                  </c:pt>
                  <c:pt idx="15">
                    <c:v>Malard Nicolas</c:v>
                  </c:pt>
                </c:lvl>
                <c:lvl>
                  <c:pt idx="0">
                    <c:v>Bruts</c:v>
                  </c:pt>
                  <c:pt idx="2">
                    <c:v>Blanc De Blancs</c:v>
                  </c:pt>
                  <c:pt idx="4">
                    <c:v>Rosés</c:v>
                  </c:pt>
                  <c:pt idx="6">
                    <c:v>Crus</c:v>
                  </c:pt>
                  <c:pt idx="8">
                    <c:v>Millesimes</c:v>
                  </c:pt>
                  <c:pt idx="10">
                    <c:v>Extra Brut</c:v>
                  </c:pt>
                  <c:pt idx="12">
                    <c:v>Mousseux Italiens</c:v>
                  </c:pt>
                  <c:pt idx="14">
                    <c:v>Mousseux Val De Loire</c:v>
                  </c:pt>
                </c:lvl>
                <c:lvl>
                  <c:pt idx="0">
                    <c:v>Champagnes</c:v>
                  </c:pt>
                  <c:pt idx="12">
                    <c:v>Mousseux</c:v>
                  </c:pt>
                </c:lvl>
              </c:multiLvlStrCache>
            </c:multiLvlStrRef>
          </c:cat>
          <c:val>
            <c:numRef>
              <c:f>Sheet1!$E$2:$E$17</c:f>
              <c:numCache>
                <c:formatCode>General</c:formatCode>
                <c:ptCount val="16"/>
                <c:pt idx="0">
                  <c:v>49.7729</c:v>
                </c:pt>
                <c:pt idx="1">
                  <c:v>29.226299999999998</c:v>
                </c:pt>
                <c:pt idx="2">
                  <c:v>92.624799999999993</c:v>
                </c:pt>
                <c:pt idx="3">
                  <c:v>53.447000000000003</c:v>
                </c:pt>
                <c:pt idx="4">
                  <c:v>69.882499999999993</c:v>
                </c:pt>
                <c:pt idx="5">
                  <c:v>37.238300000000002</c:v>
                </c:pt>
                <c:pt idx="6">
                  <c:v>40.115699999999997</c:v>
                </c:pt>
                <c:pt idx="7">
                  <c:v>43.537300000000002</c:v>
                </c:pt>
                <c:pt idx="8">
                  <c:v>189.125</c:v>
                </c:pt>
                <c:pt idx="9">
                  <c:v>0</c:v>
                </c:pt>
                <c:pt idx="10">
                  <c:v>43.936999999999998</c:v>
                </c:pt>
                <c:pt idx="11">
                  <c:v>0</c:v>
                </c:pt>
                <c:pt idx="12">
                  <c:v>11.468</c:v>
                </c:pt>
                <c:pt idx="13">
                  <c:v>0</c:v>
                </c:pt>
                <c:pt idx="14">
                  <c:v>14.828900000000001</c:v>
                </c:pt>
                <c:pt idx="15">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0"/>
            <c:bubble3D val="0"/>
            <c:spPr>
              <a:solidFill>
                <a:srgbClr val="AEABAB"/>
              </a:solidFill>
              <a:ln>
                <a:noFill/>
              </a:ln>
              <a:effectLst/>
            </c:spPr>
            <c:extLst>
              <c:ext xmlns:c16="http://schemas.microsoft.com/office/drawing/2014/chart" uri="{C3380CC4-5D6E-409C-BE32-E72D297353CC}">
                <c16:uniqueId val="{00000026-4B23-4768-AE96-7AAF69EC1929}"/>
              </c:ext>
            </c:extLst>
          </c:dPt>
          <c:dPt>
            <c:idx val="5"/>
            <c:invertIfNegative val="0"/>
            <c:bubble3D val="0"/>
            <c:spPr>
              <a:solidFill>
                <a:srgbClr val="CBEAE7"/>
              </a:solidFill>
              <a:ln>
                <a:noFill/>
              </a:ln>
              <a:effectLst/>
            </c:spPr>
            <c:extLst>
              <c:ext xmlns:c16="http://schemas.microsoft.com/office/drawing/2014/chart" uri="{C3380CC4-5D6E-409C-BE32-E72D297353CC}">
                <c16:uniqueId val="{00000006-C486-4167-8002-0794DD94CC5C}"/>
              </c:ext>
            </c:extLst>
          </c:dPt>
          <c:dPt>
            <c:idx val="6"/>
            <c:invertIfNegative val="1"/>
            <c:bubble3D val="0"/>
            <c:spPr>
              <a:solidFill>
                <a:srgbClr val="AEABAB"/>
              </a:solidFill>
              <a:ln>
                <a:noFill/>
              </a:ln>
              <a:effectLst/>
            </c:spPr>
            <c:extLst>
              <c:ext xmlns:c16="http://schemas.microsoft.com/office/drawing/2014/chart" uri="{C3380CC4-5D6E-409C-BE32-E72D297353CC}">
                <c16:uniqueId val="{00000029-DB49-4C1A-AA9B-DE91EDDFEAD0}"/>
              </c:ext>
            </c:extLst>
          </c:dPt>
          <c:dPt>
            <c:idx val="7"/>
            <c:invertIfNegative val="0"/>
            <c:bubble3D val="0"/>
            <c:spPr>
              <a:solidFill>
                <a:srgbClr val="AEABA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AEABA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AEABA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AEABA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AEABA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AEABA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AEABA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AEABA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AEABA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AEABA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AEABA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AEABA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AEABA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AEABA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5</c:f>
              <c:multiLvlStrCache>
                <c:ptCount val="14"/>
                <c:lvl>
                  <c:pt idx="0">
                    <c:v>Total</c:v>
                  </c:pt>
                  <c:pt idx="1">
                    <c:v>Malard Nicolas</c:v>
                  </c:pt>
                  <c:pt idx="2">
                    <c:v>Total</c:v>
                  </c:pt>
                  <c:pt idx="3">
                    <c:v>Malard Nicolas</c:v>
                  </c:pt>
                  <c:pt idx="4">
                    <c:v>Total</c:v>
                  </c:pt>
                  <c:pt idx="5">
                    <c:v>Malard Nicolas</c:v>
                  </c:pt>
                  <c:pt idx="6">
                    <c:v>Total</c:v>
                  </c:pt>
                  <c:pt idx="7">
                    <c:v>Malard Nicolas</c:v>
                  </c:pt>
                  <c:pt idx="8">
                    <c:v>Total</c:v>
                  </c:pt>
                  <c:pt idx="9">
                    <c:v>Malard Nicolas</c:v>
                  </c:pt>
                  <c:pt idx="10">
                    <c:v>Total</c:v>
                  </c:pt>
                  <c:pt idx="11">
                    <c:v>Malard Nicolas</c:v>
                  </c:pt>
                  <c:pt idx="12">
                    <c:v>Total</c:v>
                  </c:pt>
                  <c:pt idx="13">
                    <c:v>Malard Nicolas</c:v>
                  </c:pt>
                </c:lvl>
                <c:lvl>
                  <c:pt idx="0">
                    <c:v>Bruts</c:v>
                  </c:pt>
                  <c:pt idx="2">
                    <c:v>Blanc De Blancs</c:v>
                  </c:pt>
                  <c:pt idx="4">
                    <c:v>Rosés</c:v>
                  </c:pt>
                  <c:pt idx="6">
                    <c:v>Millesimes</c:v>
                  </c:pt>
                  <c:pt idx="8">
                    <c:v>Crus</c:v>
                  </c:pt>
                  <c:pt idx="10">
                    <c:v>Extra Brut</c:v>
                  </c:pt>
                  <c:pt idx="12">
                    <c:v>Mousseux Alsace</c:v>
                  </c:pt>
                </c:lvl>
                <c:lvl>
                  <c:pt idx="0">
                    <c:v>Champagnes</c:v>
                  </c:pt>
                  <c:pt idx="12">
                    <c:v>Mousseux</c:v>
                  </c:pt>
                </c:lvl>
              </c:multiLvlStrCache>
            </c:multiLvlStrRef>
          </c:cat>
          <c:val>
            <c:numRef>
              <c:f>Sheet1!$D$2:$D$15</c:f>
              <c:numCache>
                <c:formatCode>General</c:formatCode>
                <c:ptCount val="14"/>
                <c:pt idx="0">
                  <c:v>1</c:v>
                </c:pt>
                <c:pt idx="1">
                  <c:v>0.1</c:v>
                </c:pt>
                <c:pt idx="2">
                  <c:v>0.2</c:v>
                </c:pt>
                <c:pt idx="3">
                  <c:v>0</c:v>
                </c:pt>
                <c:pt idx="4">
                  <c:v>0.1</c:v>
                </c:pt>
                <c:pt idx="5">
                  <c:v>0</c:v>
                </c:pt>
                <c:pt idx="6">
                  <c:v>0.1</c:v>
                </c:pt>
                <c:pt idx="7">
                  <c:v>0</c:v>
                </c:pt>
                <c:pt idx="8">
                  <c:v>0.1</c:v>
                </c:pt>
                <c:pt idx="9">
                  <c:v>0</c:v>
                </c:pt>
                <c:pt idx="10">
                  <c:v>0</c:v>
                </c:pt>
                <c:pt idx="11">
                  <c:v>0</c:v>
                </c:pt>
                <c:pt idx="12">
                  <c:v>0.2</c:v>
                </c:pt>
                <c:pt idx="13">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5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28.6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64.1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54.3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64.3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DB49-4C1A-AA9B-DE91EDDFEAD0}"/>
                </c:ext>
              </c:extLst>
            </c:dLbl>
            <c:dLbl>
              <c:idx val="5"/>
              <c:tx>
                <c:rich>
                  <a:bodyPr/>
                  <a:lstStyle/>
                  <a:p>
                    <a:r>
                      <a:t>35.6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DB49-4C1A-AA9B-DE91EDDFEAD0}"/>
                </c:ext>
              </c:extLst>
            </c:dLbl>
            <c:dLbl>
              <c:idx val="6"/>
              <c:tx>
                <c:rich>
                  <a:bodyPr/>
                  <a:lstStyle/>
                  <a:p>
                    <a:r>
                      <a:t>144.4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DB49-4C1A-AA9B-DE91EDDFEAD0}"/>
                </c:ext>
              </c:extLst>
            </c:dLbl>
            <c:dLbl>
              <c:idx val="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DB49-4C1A-AA9B-DE91EDDFEAD0}"/>
                </c:ext>
              </c:extLst>
            </c:dLbl>
            <c:dLbl>
              <c:idx val="8"/>
              <c:tx>
                <c:rich>
                  <a:bodyPr/>
                  <a:lstStyle/>
                  <a:p>
                    <a:r>
                      <a:t>39.5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DB49-4C1A-AA9B-DE91EDDFEAD0}"/>
                </c:ext>
              </c:extLst>
            </c:dLbl>
            <c:dLbl>
              <c:idx val="9"/>
              <c:tx>
                <c:rich>
                  <a:bodyPr/>
                  <a:lstStyle/>
                  <a:p>
                    <a:r>
                      <a:t>43.1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DB49-4C1A-AA9B-DE91EDDFEAD0}"/>
                </c:ext>
              </c:extLst>
            </c:dLbl>
            <c:dLbl>
              <c:idx val="10"/>
              <c:tx>
                <c:rich>
                  <a:bodyPr/>
                  <a:lstStyle/>
                  <a:p>
                    <a:r>
                      <a:t>43.7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DB49-4C1A-AA9B-DE91EDDFEAD0}"/>
                </c:ext>
              </c:extLst>
            </c:dLbl>
            <c:dLbl>
              <c:idx val="1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DB49-4C1A-AA9B-DE91EDDFEAD0}"/>
                </c:ext>
              </c:extLst>
            </c:dLbl>
            <c:dLbl>
              <c:idx val="12"/>
              <c:tx>
                <c:rich>
                  <a:bodyPr/>
                  <a:lstStyle/>
                  <a:p>
                    <a:r>
                      <a:t>16.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DB49-4C1A-AA9B-DE91EDDFEAD0}"/>
                </c:ext>
              </c:extLst>
            </c:dLbl>
            <c:dLbl>
              <c:idx val="1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DB49-4C1A-AA9B-DE91EDDFEAD0}"/>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5</c:f>
              <c:multiLvlStrCache>
                <c:ptCount val="14"/>
                <c:lvl>
                  <c:pt idx="0">
                    <c:v>Total</c:v>
                  </c:pt>
                  <c:pt idx="1">
                    <c:v>Malard Nicolas</c:v>
                  </c:pt>
                  <c:pt idx="2">
                    <c:v>Total</c:v>
                  </c:pt>
                  <c:pt idx="3">
                    <c:v>Malard Nicolas</c:v>
                  </c:pt>
                  <c:pt idx="4">
                    <c:v>Total</c:v>
                  </c:pt>
                  <c:pt idx="5">
                    <c:v>Malard Nicolas</c:v>
                  </c:pt>
                  <c:pt idx="6">
                    <c:v>Total</c:v>
                  </c:pt>
                  <c:pt idx="7">
                    <c:v>Malard Nicolas</c:v>
                  </c:pt>
                  <c:pt idx="8">
                    <c:v>Total</c:v>
                  </c:pt>
                  <c:pt idx="9">
                    <c:v>Malard Nicolas</c:v>
                  </c:pt>
                  <c:pt idx="10">
                    <c:v>Total</c:v>
                  </c:pt>
                  <c:pt idx="11">
                    <c:v>Malard Nicolas</c:v>
                  </c:pt>
                  <c:pt idx="12">
                    <c:v>Total</c:v>
                  </c:pt>
                  <c:pt idx="13">
                    <c:v>Malard Nicolas</c:v>
                  </c:pt>
                </c:lvl>
                <c:lvl>
                  <c:pt idx="0">
                    <c:v>Bruts</c:v>
                  </c:pt>
                  <c:pt idx="2">
                    <c:v>Blanc De Blancs</c:v>
                  </c:pt>
                  <c:pt idx="4">
                    <c:v>Rosés</c:v>
                  </c:pt>
                  <c:pt idx="6">
                    <c:v>Millesimes</c:v>
                  </c:pt>
                  <c:pt idx="8">
                    <c:v>Crus</c:v>
                  </c:pt>
                  <c:pt idx="10">
                    <c:v>Extra Brut</c:v>
                  </c:pt>
                  <c:pt idx="12">
                    <c:v>Mousseux Alsace</c:v>
                  </c:pt>
                </c:lvl>
                <c:lvl>
                  <c:pt idx="0">
                    <c:v>Champagnes</c:v>
                  </c:pt>
                  <c:pt idx="12">
                    <c:v>Mousseux</c:v>
                  </c:pt>
                </c:lvl>
              </c:multiLvlStrCache>
            </c:multiLvlStrRef>
          </c:cat>
          <c:val>
            <c:numRef>
              <c:f>Sheet1!$E$2:$E$15</c:f>
              <c:numCache>
                <c:formatCode>General</c:formatCode>
                <c:ptCount val="14"/>
                <c:pt idx="0">
                  <c:v>49.9983</c:v>
                </c:pt>
                <c:pt idx="1">
                  <c:v>28.638400000000001</c:v>
                </c:pt>
                <c:pt idx="2">
                  <c:v>64.121099999999998</c:v>
                </c:pt>
                <c:pt idx="3">
                  <c:v>54.355899999999998</c:v>
                </c:pt>
                <c:pt idx="4">
                  <c:v>64.334999999999994</c:v>
                </c:pt>
                <c:pt idx="5">
                  <c:v>35.692599999999999</c:v>
                </c:pt>
                <c:pt idx="6">
                  <c:v>144.41679999999999</c:v>
                </c:pt>
                <c:pt idx="7">
                  <c:v>0</c:v>
                </c:pt>
                <c:pt idx="8">
                  <c:v>39.542400000000001</c:v>
                </c:pt>
                <c:pt idx="9">
                  <c:v>43.166699999999999</c:v>
                </c:pt>
                <c:pt idx="10">
                  <c:v>43.752200000000002</c:v>
                </c:pt>
                <c:pt idx="11">
                  <c:v>0</c:v>
                </c:pt>
                <c:pt idx="12">
                  <c:v>16.241700000000002</c:v>
                </c:pt>
                <c:pt idx="13">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131841E4-D471-4452-BD73-05BD95A034C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4BFBA9F8-EF7B-421D-97E8-1B05841134D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0A1F2A58-7E2B-4331-A5FB-7855F9E9CDA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DFB7CD4F-2176-4DE5-A202-4951497FA0E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808531C4-48AE-4D5D-BF66-DFDF545C252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E26692C6-F75B-4725-A328-62DFF1E1C8D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EF51CBA2-B340-4B3C-B546-A9C85065073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027B9653-D1B0-4258-9E5B-C8C69003447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7.1054000000000004</c:v>
                </c:pt>
                <c:pt idx="1">
                  <c:v>6.3410000000000002</c:v>
                </c:pt>
                <c:pt idx="2">
                  <c:v>7.1822999999999997</c:v>
                </c:pt>
                <c:pt idx="3">
                  <c:v>7.6665999999999999</c:v>
                </c:pt>
                <c:pt idx="4">
                  <c:v>7.1292999999999997</c:v>
                </c:pt>
                <c:pt idx="5">
                  <c:v>5.9306000000000001</c:v>
                </c:pt>
                <c:pt idx="6">
                  <c:v>6.8876999999999997</c:v>
                </c:pt>
                <c:pt idx="7">
                  <c:v>6.9467999999999996</c:v>
                </c:pt>
              </c:numCache>
            </c:numRef>
          </c:xVal>
          <c:yVal>
            <c:numRef>
              <c:f>Sheet1!$B$2:$B$9</c:f>
              <c:numCache>
                <c:formatCode>General</c:formatCode>
                <c:ptCount val="8"/>
                <c:pt idx="0">
                  <c:v>0.96499999999999997</c:v>
                </c:pt>
                <c:pt idx="1">
                  <c:v>1.153</c:v>
                </c:pt>
                <c:pt idx="2">
                  <c:v>1.0580000000000001</c:v>
                </c:pt>
                <c:pt idx="3">
                  <c:v>1.3049999999999999</c:v>
                </c:pt>
                <c:pt idx="4">
                  <c:v>0.96299999999999997</c:v>
                </c:pt>
                <c:pt idx="5">
                  <c:v>0.37</c:v>
                </c:pt>
                <c:pt idx="6">
                  <c:v>0.89300000000000002</c:v>
                </c:pt>
                <c:pt idx="7">
                  <c:v>0.93400000000000005</c:v>
                </c:pt>
              </c:numCache>
            </c:numRef>
          </c:yVal>
          <c:bubbleSize>
            <c:numRef>
              <c:f>Sheet1!$C$2:$C$9</c:f>
              <c:numCache>
                <c:formatCode>General</c:formatCode>
                <c:ptCount val="8"/>
                <c:pt idx="0">
                  <c:v>32603771</c:v>
                </c:pt>
                <c:pt idx="1">
                  <c:v>28541428</c:v>
                </c:pt>
                <c:pt idx="2">
                  <c:v>16692146</c:v>
                </c:pt>
                <c:pt idx="3">
                  <c:v>2899640</c:v>
                </c:pt>
                <c:pt idx="4">
                  <c:v>2432770</c:v>
                </c:pt>
                <c:pt idx="5">
                  <c:v>1442399</c:v>
                </c:pt>
                <c:pt idx="6">
                  <c:v>1348354</c:v>
                </c:pt>
                <c:pt idx="7">
                  <c:v>1286705</c:v>
                </c:pt>
              </c:numCache>
            </c:numRef>
          </c:bubbleSize>
          <c:bubble3D val="0"/>
          <c:extLst>
            <c:ext xmlns:c15="http://schemas.microsoft.com/office/drawing/2012/chart" uri="{02D57815-91ED-43cb-92C2-25804820EDAC}">
              <c15:datalabelsRange>
                <c15:f>Sheet1!$E$2:$E$10</c15:f>
                <c15:dlblRangeCache>
                  <c:ptCount val="9"/>
                  <c:pt idx="0">
                    <c:v>Wolfberger</c:v>
                  </c:pt>
                  <c:pt idx="1">
                    <c:v>Mdd</c:v>
                  </c:pt>
                  <c:pt idx="2">
                    <c:v>Arthur Metz</c:v>
                  </c:pt>
                  <c:pt idx="3">
                    <c:v>Bestheim</c:v>
                  </c:pt>
                  <c:pt idx="4">
                    <c:v>Cave Beblenheim</c:v>
                  </c:pt>
                  <c:pt idx="5">
                    <c:v>Les Quinze Arpents</c:v>
                  </c:pt>
                  <c:pt idx="6">
                    <c:v>Geiler Jean</c:v>
                  </c:pt>
                  <c:pt idx="7">
                    <c:v>Dopff</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9"/>
          <c:min val="5"/>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0"/>
            <c:bubble3D val="0"/>
            <c:spPr>
              <a:solidFill>
                <a:srgbClr val="AEABAB"/>
              </a:solidFill>
              <a:ln>
                <a:noFill/>
              </a:ln>
              <a:effectLst/>
            </c:spPr>
            <c:extLst>
              <c:ext xmlns:c16="http://schemas.microsoft.com/office/drawing/2014/chart" uri="{C3380CC4-5D6E-409C-BE32-E72D297353CC}">
                <c16:uniqueId val="{00000026-4B23-4768-AE96-7AAF69EC1929}"/>
              </c:ext>
            </c:extLst>
          </c:dPt>
          <c:dPt>
            <c:idx val="5"/>
            <c:invertIfNegative val="0"/>
            <c:bubble3D val="0"/>
            <c:spPr>
              <a:solidFill>
                <a:srgbClr val="CBEAE7"/>
              </a:solidFill>
              <a:ln>
                <a:noFill/>
              </a:ln>
              <a:effectLst/>
            </c:spPr>
            <c:extLst>
              <c:ext xmlns:c16="http://schemas.microsoft.com/office/drawing/2014/chart" uri="{C3380CC4-5D6E-409C-BE32-E72D297353CC}">
                <c16:uniqueId val="{00000006-C486-4167-8002-0794DD94CC5C}"/>
              </c:ext>
            </c:extLst>
          </c:dPt>
          <c:dPt>
            <c:idx val="6"/>
            <c:invertIfNegative val="1"/>
            <c:bubble3D val="0"/>
            <c:spPr>
              <a:solidFill>
                <a:srgbClr val="AEABAB"/>
              </a:solidFill>
              <a:ln>
                <a:noFill/>
              </a:ln>
              <a:effectLst/>
            </c:spPr>
            <c:extLst>
              <c:ext xmlns:c16="http://schemas.microsoft.com/office/drawing/2014/chart" uri="{C3380CC4-5D6E-409C-BE32-E72D297353CC}">
                <c16:uniqueId val="{00000029-2E12-4C1E-B9A5-46EC9A2CEA37}"/>
              </c:ext>
            </c:extLst>
          </c:dPt>
          <c:dPt>
            <c:idx val="7"/>
            <c:invertIfNegative val="0"/>
            <c:bubble3D val="0"/>
            <c:spPr>
              <a:solidFill>
                <a:srgbClr val="CBEAE7"/>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AEABA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AEABA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AEABA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AEABA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AEABA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AEABA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AEABA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AEABA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AEABA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AEABA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AEABA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AEABA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AEABA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7</c:f>
              <c:multiLvlStrCache>
                <c:ptCount val="16"/>
                <c:lvl>
                  <c:pt idx="0">
                    <c:v>Total</c:v>
                  </c:pt>
                  <c:pt idx="1">
                    <c:v>Malard Nicolas</c:v>
                  </c:pt>
                  <c:pt idx="2">
                    <c:v>Total</c:v>
                  </c:pt>
                  <c:pt idx="3">
                    <c:v>Malard Nicolas</c:v>
                  </c:pt>
                  <c:pt idx="4">
                    <c:v>Total</c:v>
                  </c:pt>
                  <c:pt idx="5">
                    <c:v>Malard Nicolas</c:v>
                  </c:pt>
                  <c:pt idx="6">
                    <c:v>Total</c:v>
                  </c:pt>
                  <c:pt idx="7">
                    <c:v>Malard Nicolas</c:v>
                  </c:pt>
                  <c:pt idx="8">
                    <c:v>Total</c:v>
                  </c:pt>
                  <c:pt idx="9">
                    <c:v>Malard Nicolas</c:v>
                  </c:pt>
                  <c:pt idx="10">
                    <c:v>Total</c:v>
                  </c:pt>
                  <c:pt idx="11">
                    <c:v>Malard Nicolas</c:v>
                  </c:pt>
                  <c:pt idx="12">
                    <c:v>Total</c:v>
                  </c:pt>
                  <c:pt idx="13">
                    <c:v>Malard Nicolas</c:v>
                  </c:pt>
                  <c:pt idx="14">
                    <c:v>Total</c:v>
                  </c:pt>
                  <c:pt idx="15">
                    <c:v>Malard Nicolas</c:v>
                  </c:pt>
                </c:lvl>
                <c:lvl>
                  <c:pt idx="0">
                    <c:v>Bruts</c:v>
                  </c:pt>
                  <c:pt idx="2">
                    <c:v>Blanc De Blancs</c:v>
                  </c:pt>
                  <c:pt idx="4">
                    <c:v>Rosés</c:v>
                  </c:pt>
                  <c:pt idx="6">
                    <c:v>Millesimes</c:v>
                  </c:pt>
                  <c:pt idx="8">
                    <c:v>Crus</c:v>
                  </c:pt>
                  <c:pt idx="10">
                    <c:v>Extra Brut</c:v>
                  </c:pt>
                  <c:pt idx="12">
                    <c:v>Mousseux Italiens</c:v>
                  </c:pt>
                  <c:pt idx="14">
                    <c:v>Mousseux Val De Loire</c:v>
                  </c:pt>
                </c:lvl>
                <c:lvl>
                  <c:pt idx="0">
                    <c:v>Champagnes</c:v>
                  </c:pt>
                  <c:pt idx="12">
                    <c:v>Mousseux</c:v>
                  </c:pt>
                </c:lvl>
              </c:multiLvlStrCache>
            </c:multiLvlStrRef>
          </c:cat>
          <c:val>
            <c:numRef>
              <c:f>Sheet1!$D$2:$D$17</c:f>
              <c:numCache>
                <c:formatCode>General</c:formatCode>
                <c:ptCount val="16"/>
                <c:pt idx="0">
                  <c:v>11.8</c:v>
                </c:pt>
                <c:pt idx="1">
                  <c:v>1.2</c:v>
                </c:pt>
                <c:pt idx="2">
                  <c:v>2.8</c:v>
                </c:pt>
                <c:pt idx="3">
                  <c:v>0.1</c:v>
                </c:pt>
                <c:pt idx="4">
                  <c:v>1.5</c:v>
                </c:pt>
                <c:pt idx="5">
                  <c:v>0.1</c:v>
                </c:pt>
                <c:pt idx="6">
                  <c:v>1</c:v>
                </c:pt>
                <c:pt idx="7">
                  <c:v>0</c:v>
                </c:pt>
                <c:pt idx="8">
                  <c:v>0.8</c:v>
                </c:pt>
                <c:pt idx="9">
                  <c:v>0</c:v>
                </c:pt>
                <c:pt idx="10">
                  <c:v>0.7</c:v>
                </c:pt>
                <c:pt idx="11">
                  <c:v>0</c:v>
                </c:pt>
                <c:pt idx="12">
                  <c:v>0.5</c:v>
                </c:pt>
                <c:pt idx="13">
                  <c:v>0</c:v>
                </c:pt>
                <c:pt idx="14">
                  <c:v>0.2</c:v>
                </c:pt>
                <c:pt idx="15">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53.7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29.4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103.5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53.3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86.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2E12-4C1E-B9A5-46EC9A2CEA37}"/>
                </c:ext>
              </c:extLst>
            </c:dLbl>
            <c:dLbl>
              <c:idx val="5"/>
              <c:tx>
                <c:rich>
                  <a:bodyPr/>
                  <a:lstStyle/>
                  <a:p>
                    <a:r>
                      <a:t>37.9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2E12-4C1E-B9A5-46EC9A2CEA37}"/>
                </c:ext>
              </c:extLst>
            </c:dLbl>
            <c:dLbl>
              <c:idx val="6"/>
              <c:tx>
                <c:rich>
                  <a:bodyPr/>
                  <a:lstStyle/>
                  <a:p>
                    <a:r>
                      <a:t>208.2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2E12-4C1E-B9A5-46EC9A2CEA37}"/>
                </c:ext>
              </c:extLst>
            </c:dLbl>
            <c:dLbl>
              <c:idx val="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2E12-4C1E-B9A5-46EC9A2CEA37}"/>
                </c:ext>
              </c:extLst>
            </c:dLbl>
            <c:dLbl>
              <c:idx val="8"/>
              <c:tx>
                <c:rich>
                  <a:bodyPr/>
                  <a:lstStyle/>
                  <a:p>
                    <a:r>
                      <a:t>39.9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2E12-4C1E-B9A5-46EC9A2CEA37}"/>
                </c:ext>
              </c:extLst>
            </c:dLbl>
            <c:dLbl>
              <c:idx val="9"/>
              <c:tx>
                <c:rich>
                  <a:bodyPr/>
                  <a:lstStyle/>
                  <a:p>
                    <a:r>
                      <a:t>43.9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2E12-4C1E-B9A5-46EC9A2CEA37}"/>
                </c:ext>
              </c:extLst>
            </c:dLbl>
            <c:dLbl>
              <c:idx val="10"/>
              <c:tx>
                <c:rich>
                  <a:bodyPr/>
                  <a:lstStyle/>
                  <a:p>
                    <a:r>
                      <a:t>44.7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2E12-4C1E-B9A5-46EC9A2CEA37}"/>
                </c:ext>
              </c:extLst>
            </c:dLbl>
            <c:dLbl>
              <c:idx val="1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2E12-4C1E-B9A5-46EC9A2CEA37}"/>
                </c:ext>
              </c:extLst>
            </c:dLbl>
            <c:dLbl>
              <c:idx val="12"/>
              <c:tx>
                <c:rich>
                  <a:bodyPr/>
                  <a:lstStyle/>
                  <a:p>
                    <a:r>
                      <a:t>12.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2E12-4C1E-B9A5-46EC9A2CEA37}"/>
                </c:ext>
              </c:extLst>
            </c:dLbl>
            <c:dLbl>
              <c:idx val="1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2E12-4C1E-B9A5-46EC9A2CEA37}"/>
                </c:ext>
              </c:extLst>
            </c:dLbl>
            <c:dLbl>
              <c:idx val="14"/>
              <c:tx>
                <c:rich>
                  <a:bodyPr/>
                  <a:lstStyle/>
                  <a:p>
                    <a:r>
                      <a:t>15.8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2E12-4C1E-B9A5-46EC9A2CEA37}"/>
                </c:ext>
              </c:extLst>
            </c:dLbl>
            <c:dLbl>
              <c:idx val="1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2E12-4C1E-B9A5-46EC9A2CEA37}"/>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7</c:f>
              <c:multiLvlStrCache>
                <c:ptCount val="16"/>
                <c:lvl>
                  <c:pt idx="0">
                    <c:v>Total</c:v>
                  </c:pt>
                  <c:pt idx="1">
                    <c:v>Malard Nicolas</c:v>
                  </c:pt>
                  <c:pt idx="2">
                    <c:v>Total</c:v>
                  </c:pt>
                  <c:pt idx="3">
                    <c:v>Malard Nicolas</c:v>
                  </c:pt>
                  <c:pt idx="4">
                    <c:v>Total</c:v>
                  </c:pt>
                  <c:pt idx="5">
                    <c:v>Malard Nicolas</c:v>
                  </c:pt>
                  <c:pt idx="6">
                    <c:v>Total</c:v>
                  </c:pt>
                  <c:pt idx="7">
                    <c:v>Malard Nicolas</c:v>
                  </c:pt>
                  <c:pt idx="8">
                    <c:v>Total</c:v>
                  </c:pt>
                  <c:pt idx="9">
                    <c:v>Malard Nicolas</c:v>
                  </c:pt>
                  <c:pt idx="10">
                    <c:v>Total</c:v>
                  </c:pt>
                  <c:pt idx="11">
                    <c:v>Malard Nicolas</c:v>
                  </c:pt>
                  <c:pt idx="12">
                    <c:v>Total</c:v>
                  </c:pt>
                  <c:pt idx="13">
                    <c:v>Malard Nicolas</c:v>
                  </c:pt>
                  <c:pt idx="14">
                    <c:v>Total</c:v>
                  </c:pt>
                  <c:pt idx="15">
                    <c:v>Malard Nicolas</c:v>
                  </c:pt>
                </c:lvl>
                <c:lvl>
                  <c:pt idx="0">
                    <c:v>Bruts</c:v>
                  </c:pt>
                  <c:pt idx="2">
                    <c:v>Blanc De Blancs</c:v>
                  </c:pt>
                  <c:pt idx="4">
                    <c:v>Rosés</c:v>
                  </c:pt>
                  <c:pt idx="6">
                    <c:v>Millesimes</c:v>
                  </c:pt>
                  <c:pt idx="8">
                    <c:v>Crus</c:v>
                  </c:pt>
                  <c:pt idx="10">
                    <c:v>Extra Brut</c:v>
                  </c:pt>
                  <c:pt idx="12">
                    <c:v>Mousseux Italiens</c:v>
                  </c:pt>
                  <c:pt idx="14">
                    <c:v>Mousseux Val De Loire</c:v>
                  </c:pt>
                </c:lvl>
                <c:lvl>
                  <c:pt idx="0">
                    <c:v>Champagnes</c:v>
                  </c:pt>
                  <c:pt idx="12">
                    <c:v>Mousseux</c:v>
                  </c:pt>
                </c:lvl>
              </c:multiLvlStrCache>
            </c:multiLvlStrRef>
          </c:cat>
          <c:val>
            <c:numRef>
              <c:f>Sheet1!$E$2:$E$17</c:f>
              <c:numCache>
                <c:formatCode>General</c:formatCode>
                <c:ptCount val="16"/>
                <c:pt idx="0">
                  <c:v>53.777200000000001</c:v>
                </c:pt>
                <c:pt idx="1">
                  <c:v>29.4495</c:v>
                </c:pt>
                <c:pt idx="2">
                  <c:v>103.51739999999999</c:v>
                </c:pt>
                <c:pt idx="3">
                  <c:v>53.3187</c:v>
                </c:pt>
                <c:pt idx="4">
                  <c:v>86.603999999999999</c:v>
                </c:pt>
                <c:pt idx="5">
                  <c:v>37.9148</c:v>
                </c:pt>
                <c:pt idx="6">
                  <c:v>208.25470000000001</c:v>
                </c:pt>
                <c:pt idx="7">
                  <c:v>0</c:v>
                </c:pt>
                <c:pt idx="8">
                  <c:v>39.921300000000002</c:v>
                </c:pt>
                <c:pt idx="9">
                  <c:v>43.948900000000002</c:v>
                </c:pt>
                <c:pt idx="10">
                  <c:v>44.706400000000002</c:v>
                </c:pt>
                <c:pt idx="11">
                  <c:v>0</c:v>
                </c:pt>
                <c:pt idx="12">
                  <c:v>12.002800000000001</c:v>
                </c:pt>
                <c:pt idx="13">
                  <c:v>0</c:v>
                </c:pt>
                <c:pt idx="14">
                  <c:v>15.8344</c:v>
                </c:pt>
                <c:pt idx="15">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0"/>
            <c:bubble3D val="0"/>
            <c:spPr>
              <a:solidFill>
                <a:srgbClr val="AEABAB"/>
              </a:solidFill>
              <a:ln>
                <a:noFill/>
              </a:ln>
              <a:effectLst/>
            </c:spPr>
            <c:extLst>
              <c:ext xmlns:c16="http://schemas.microsoft.com/office/drawing/2014/chart" uri="{C3380CC4-5D6E-409C-BE32-E72D297353CC}">
                <c16:uniqueId val="{00000026-4B23-4768-AE96-7AAF69EC1929}"/>
              </c:ext>
            </c:extLst>
          </c:dPt>
          <c:dPt>
            <c:idx val="5"/>
            <c:invertIfNegative val="0"/>
            <c:bubble3D val="0"/>
            <c:spPr>
              <a:solidFill>
                <a:srgbClr val="CBEAE7"/>
              </a:solidFill>
              <a:ln>
                <a:noFill/>
              </a:ln>
              <a:effectLst/>
            </c:spPr>
            <c:extLst>
              <c:ext xmlns:c16="http://schemas.microsoft.com/office/drawing/2014/chart" uri="{C3380CC4-5D6E-409C-BE32-E72D297353CC}">
                <c16:uniqueId val="{00000006-C486-4167-8002-0794DD94CC5C}"/>
              </c:ext>
            </c:extLst>
          </c:dPt>
          <c:dPt>
            <c:idx val="6"/>
            <c:invertIfNegative val="1"/>
            <c:bubble3D val="0"/>
            <c:spPr>
              <a:solidFill>
                <a:srgbClr val="AEABAB"/>
              </a:solidFill>
              <a:ln>
                <a:noFill/>
              </a:ln>
              <a:effectLst/>
            </c:spPr>
            <c:extLst>
              <c:ext xmlns:c16="http://schemas.microsoft.com/office/drawing/2014/chart" uri="{C3380CC4-5D6E-409C-BE32-E72D297353CC}">
                <c16:uniqueId val="{00000029-5348-4556-BE39-D7791C5F1D22}"/>
              </c:ext>
            </c:extLst>
          </c:dPt>
          <c:dPt>
            <c:idx val="7"/>
            <c:invertIfNegative val="0"/>
            <c:bubble3D val="0"/>
            <c:spPr>
              <a:solidFill>
                <a:srgbClr val="CBEAE7"/>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AEABA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AEABA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AEABA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AEABA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AEABA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AEABA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AEABA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AEABA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AEABA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AEABA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AEABA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AEABA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AEABA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9</c:f>
              <c:multiLvlStrCache>
                <c:ptCount val="18"/>
                <c:lvl>
                  <c:pt idx="0">
                    <c:v>Total</c:v>
                  </c:pt>
                  <c:pt idx="1">
                    <c:v>Malard Nicolas</c:v>
                  </c:pt>
                  <c:pt idx="2">
                    <c:v>Total</c:v>
                  </c:pt>
                  <c:pt idx="3">
                    <c:v>Malard Nicolas</c:v>
                  </c:pt>
                  <c:pt idx="4">
                    <c:v>Total</c:v>
                  </c:pt>
                  <c:pt idx="5">
                    <c:v>Malard Nicolas</c:v>
                  </c:pt>
                  <c:pt idx="6">
                    <c:v>Total</c:v>
                  </c:pt>
                  <c:pt idx="7">
                    <c:v>Malard Nicolas</c:v>
                  </c:pt>
                  <c:pt idx="8">
                    <c:v>Total</c:v>
                  </c:pt>
                  <c:pt idx="9">
                    <c:v>Malard Nicolas</c:v>
                  </c:pt>
                  <c:pt idx="10">
                    <c:v>Total</c:v>
                  </c:pt>
                  <c:pt idx="11">
                    <c:v>Malard Nicolas</c:v>
                  </c:pt>
                  <c:pt idx="12">
                    <c:v>Total</c:v>
                  </c:pt>
                  <c:pt idx="13">
                    <c:v>Malard Nicolas</c:v>
                  </c:pt>
                  <c:pt idx="14">
                    <c:v>Total</c:v>
                  </c:pt>
                  <c:pt idx="15">
                    <c:v>Malard Nicolas</c:v>
                  </c:pt>
                  <c:pt idx="16">
                    <c:v>Total</c:v>
                  </c:pt>
                  <c:pt idx="17">
                    <c:v>Malard Nicolas</c:v>
                  </c:pt>
                </c:lvl>
                <c:lvl>
                  <c:pt idx="0">
                    <c:v>Bruts</c:v>
                  </c:pt>
                  <c:pt idx="2">
                    <c:v>Blanc De Blancs</c:v>
                  </c:pt>
                  <c:pt idx="4">
                    <c:v>Rosés</c:v>
                  </c:pt>
                  <c:pt idx="6">
                    <c:v>Crus</c:v>
                  </c:pt>
                  <c:pt idx="8">
                    <c:v>Extra Brut</c:v>
                  </c:pt>
                  <c:pt idx="10">
                    <c:v>Millesimes</c:v>
                  </c:pt>
                  <c:pt idx="12">
                    <c:v>Mousseux Italiens</c:v>
                  </c:pt>
                  <c:pt idx="14">
                    <c:v>Mousseux Val De Loire</c:v>
                  </c:pt>
                  <c:pt idx="16">
                    <c:v>Mousseux Alsace</c:v>
                  </c:pt>
                </c:lvl>
                <c:lvl>
                  <c:pt idx="0">
                    <c:v>Champagnes</c:v>
                  </c:pt>
                  <c:pt idx="12">
                    <c:v>Mousseux</c:v>
                  </c:pt>
                </c:lvl>
              </c:multiLvlStrCache>
            </c:multiLvlStrRef>
          </c:cat>
          <c:val>
            <c:numRef>
              <c:f>Sheet1!$D$2:$D$19</c:f>
              <c:numCache>
                <c:formatCode>General</c:formatCode>
                <c:ptCount val="18"/>
                <c:pt idx="0">
                  <c:v>6.2</c:v>
                </c:pt>
                <c:pt idx="1">
                  <c:v>0.7</c:v>
                </c:pt>
                <c:pt idx="2">
                  <c:v>1</c:v>
                </c:pt>
                <c:pt idx="3">
                  <c:v>0.1</c:v>
                </c:pt>
                <c:pt idx="4">
                  <c:v>0.6</c:v>
                </c:pt>
                <c:pt idx="5">
                  <c:v>0.1</c:v>
                </c:pt>
                <c:pt idx="6">
                  <c:v>0.4</c:v>
                </c:pt>
                <c:pt idx="7">
                  <c:v>0</c:v>
                </c:pt>
                <c:pt idx="8">
                  <c:v>0.3</c:v>
                </c:pt>
                <c:pt idx="9">
                  <c:v>0</c:v>
                </c:pt>
                <c:pt idx="10">
                  <c:v>0.3</c:v>
                </c:pt>
                <c:pt idx="11">
                  <c:v>0</c:v>
                </c:pt>
                <c:pt idx="12">
                  <c:v>0.2</c:v>
                </c:pt>
                <c:pt idx="13">
                  <c:v>0</c:v>
                </c:pt>
                <c:pt idx="14">
                  <c:v>0.2</c:v>
                </c:pt>
                <c:pt idx="15">
                  <c:v>0</c:v>
                </c:pt>
                <c:pt idx="16">
                  <c:v>0.1</c:v>
                </c:pt>
                <c:pt idx="17">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52.2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29.4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96.4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53.0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71.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5348-4556-BE39-D7791C5F1D22}"/>
                </c:ext>
              </c:extLst>
            </c:dLbl>
            <c:dLbl>
              <c:idx val="5"/>
              <c:tx>
                <c:rich>
                  <a:bodyPr/>
                  <a:lstStyle/>
                  <a:p>
                    <a:r>
                      <a:t>38.4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5348-4556-BE39-D7791C5F1D22}"/>
                </c:ext>
              </c:extLst>
            </c:dLbl>
            <c:dLbl>
              <c:idx val="6"/>
              <c:tx>
                <c:rich>
                  <a:bodyPr/>
                  <a:lstStyle/>
                  <a:p>
                    <a:r>
                      <a:t>4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5348-4556-BE39-D7791C5F1D22}"/>
                </c:ext>
              </c:extLst>
            </c:dLbl>
            <c:dLbl>
              <c:idx val="7"/>
              <c:tx>
                <c:rich>
                  <a:bodyPr/>
                  <a:lstStyle/>
                  <a:p>
                    <a:r>
                      <a:t>43.6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5348-4556-BE39-D7791C5F1D22}"/>
                </c:ext>
              </c:extLst>
            </c:dLbl>
            <c:dLbl>
              <c:idx val="8"/>
              <c:tx>
                <c:rich>
                  <a:bodyPr/>
                  <a:lstStyle/>
                  <a:p>
                    <a:r>
                      <a:t>44.6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5348-4556-BE39-D7791C5F1D22}"/>
                </c:ext>
              </c:extLst>
            </c:dLbl>
            <c:dLbl>
              <c:idx val="9"/>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5348-4556-BE39-D7791C5F1D22}"/>
                </c:ext>
              </c:extLst>
            </c:dLbl>
            <c:dLbl>
              <c:idx val="10"/>
              <c:tx>
                <c:rich>
                  <a:bodyPr/>
                  <a:lstStyle/>
                  <a:p>
                    <a:r>
                      <a:t>172.9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5348-4556-BE39-D7791C5F1D22}"/>
                </c:ext>
              </c:extLst>
            </c:dLbl>
            <c:dLbl>
              <c:idx val="1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5348-4556-BE39-D7791C5F1D22}"/>
                </c:ext>
              </c:extLst>
            </c:dLbl>
            <c:dLbl>
              <c:idx val="12"/>
              <c:tx>
                <c:rich>
                  <a:bodyPr/>
                  <a:lstStyle/>
                  <a:p>
                    <a:r>
                      <a:t>11.8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5348-4556-BE39-D7791C5F1D22}"/>
                </c:ext>
              </c:extLst>
            </c:dLbl>
            <c:dLbl>
              <c:idx val="1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5348-4556-BE39-D7791C5F1D22}"/>
                </c:ext>
              </c:extLst>
            </c:dLbl>
            <c:dLbl>
              <c:idx val="14"/>
              <c:tx>
                <c:rich>
                  <a:bodyPr/>
                  <a:lstStyle/>
                  <a:p>
                    <a:r>
                      <a:t>15.3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5348-4556-BE39-D7791C5F1D22}"/>
                </c:ext>
              </c:extLst>
            </c:dLbl>
            <c:dLbl>
              <c:idx val="1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5348-4556-BE39-D7791C5F1D22}"/>
                </c:ext>
              </c:extLst>
            </c:dLbl>
            <c:dLbl>
              <c:idx val="16"/>
              <c:tx>
                <c:rich>
                  <a:bodyPr/>
                  <a:lstStyle/>
                  <a:p>
                    <a:r>
                      <a:t>19.1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5348-4556-BE39-D7791C5F1D22}"/>
                </c:ext>
              </c:extLst>
            </c:dLbl>
            <c:dLbl>
              <c:idx val="1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5348-4556-BE39-D7791C5F1D22}"/>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9</c:f>
              <c:multiLvlStrCache>
                <c:ptCount val="18"/>
                <c:lvl>
                  <c:pt idx="0">
                    <c:v>Total</c:v>
                  </c:pt>
                  <c:pt idx="1">
                    <c:v>Malard Nicolas</c:v>
                  </c:pt>
                  <c:pt idx="2">
                    <c:v>Total</c:v>
                  </c:pt>
                  <c:pt idx="3">
                    <c:v>Malard Nicolas</c:v>
                  </c:pt>
                  <c:pt idx="4">
                    <c:v>Total</c:v>
                  </c:pt>
                  <c:pt idx="5">
                    <c:v>Malard Nicolas</c:v>
                  </c:pt>
                  <c:pt idx="6">
                    <c:v>Total</c:v>
                  </c:pt>
                  <c:pt idx="7">
                    <c:v>Malard Nicolas</c:v>
                  </c:pt>
                  <c:pt idx="8">
                    <c:v>Total</c:v>
                  </c:pt>
                  <c:pt idx="9">
                    <c:v>Malard Nicolas</c:v>
                  </c:pt>
                  <c:pt idx="10">
                    <c:v>Total</c:v>
                  </c:pt>
                  <c:pt idx="11">
                    <c:v>Malard Nicolas</c:v>
                  </c:pt>
                  <c:pt idx="12">
                    <c:v>Total</c:v>
                  </c:pt>
                  <c:pt idx="13">
                    <c:v>Malard Nicolas</c:v>
                  </c:pt>
                  <c:pt idx="14">
                    <c:v>Total</c:v>
                  </c:pt>
                  <c:pt idx="15">
                    <c:v>Malard Nicolas</c:v>
                  </c:pt>
                  <c:pt idx="16">
                    <c:v>Total</c:v>
                  </c:pt>
                  <c:pt idx="17">
                    <c:v>Malard Nicolas</c:v>
                  </c:pt>
                </c:lvl>
                <c:lvl>
                  <c:pt idx="0">
                    <c:v>Bruts</c:v>
                  </c:pt>
                  <c:pt idx="2">
                    <c:v>Blanc De Blancs</c:v>
                  </c:pt>
                  <c:pt idx="4">
                    <c:v>Rosés</c:v>
                  </c:pt>
                  <c:pt idx="6">
                    <c:v>Crus</c:v>
                  </c:pt>
                  <c:pt idx="8">
                    <c:v>Extra Brut</c:v>
                  </c:pt>
                  <c:pt idx="10">
                    <c:v>Millesimes</c:v>
                  </c:pt>
                  <c:pt idx="12">
                    <c:v>Mousseux Italiens</c:v>
                  </c:pt>
                  <c:pt idx="14">
                    <c:v>Mousseux Val De Loire</c:v>
                  </c:pt>
                  <c:pt idx="16">
                    <c:v>Mousseux Alsace</c:v>
                  </c:pt>
                </c:lvl>
                <c:lvl>
                  <c:pt idx="0">
                    <c:v>Champagnes</c:v>
                  </c:pt>
                  <c:pt idx="12">
                    <c:v>Mousseux</c:v>
                  </c:pt>
                </c:lvl>
              </c:multiLvlStrCache>
            </c:multiLvlStrRef>
          </c:cat>
          <c:val>
            <c:numRef>
              <c:f>Sheet1!$E$2:$E$19</c:f>
              <c:numCache>
                <c:formatCode>General</c:formatCode>
                <c:ptCount val="18"/>
                <c:pt idx="0">
                  <c:v>52.288400000000003</c:v>
                </c:pt>
                <c:pt idx="1">
                  <c:v>29.443300000000001</c:v>
                </c:pt>
                <c:pt idx="2">
                  <c:v>96.4328</c:v>
                </c:pt>
                <c:pt idx="3">
                  <c:v>53.074300000000001</c:v>
                </c:pt>
                <c:pt idx="4">
                  <c:v>71.403099999999995</c:v>
                </c:pt>
                <c:pt idx="5">
                  <c:v>38.486699999999999</c:v>
                </c:pt>
                <c:pt idx="6">
                  <c:v>40.002000000000002</c:v>
                </c:pt>
                <c:pt idx="7">
                  <c:v>43.6907</c:v>
                </c:pt>
                <c:pt idx="8">
                  <c:v>44.6783</c:v>
                </c:pt>
                <c:pt idx="9">
                  <c:v>0</c:v>
                </c:pt>
                <c:pt idx="10">
                  <c:v>172.92179999999999</c:v>
                </c:pt>
                <c:pt idx="11">
                  <c:v>0</c:v>
                </c:pt>
                <c:pt idx="12">
                  <c:v>11.8932</c:v>
                </c:pt>
                <c:pt idx="13">
                  <c:v>0</c:v>
                </c:pt>
                <c:pt idx="14">
                  <c:v>15.3527</c:v>
                </c:pt>
                <c:pt idx="15">
                  <c:v>0</c:v>
                </c:pt>
                <c:pt idx="16">
                  <c:v>19.110700000000001</c:v>
                </c:pt>
                <c:pt idx="17">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0"/>
            <c:bubble3D val="0"/>
            <c:spPr>
              <a:solidFill>
                <a:srgbClr val="AEABAB"/>
              </a:solidFill>
              <a:ln>
                <a:noFill/>
              </a:ln>
              <a:effectLst/>
            </c:spPr>
            <c:extLst>
              <c:ext xmlns:c16="http://schemas.microsoft.com/office/drawing/2014/chart" uri="{C3380CC4-5D6E-409C-BE32-E72D297353CC}">
                <c16:uniqueId val="{00000026-4B23-4768-AE96-7AAF69EC1929}"/>
              </c:ext>
            </c:extLst>
          </c:dPt>
          <c:dPt>
            <c:idx val="5"/>
            <c:invertIfNegative val="0"/>
            <c:bubble3D val="0"/>
            <c:spPr>
              <a:solidFill>
                <a:srgbClr val="CBEAE7"/>
              </a:solidFill>
              <a:ln>
                <a:noFill/>
              </a:ln>
              <a:effectLst/>
            </c:spPr>
            <c:extLst>
              <c:ext xmlns:c16="http://schemas.microsoft.com/office/drawing/2014/chart" uri="{C3380CC4-5D6E-409C-BE32-E72D297353CC}">
                <c16:uniqueId val="{00000006-C486-4167-8002-0794DD94CC5C}"/>
              </c:ext>
            </c:extLst>
          </c:dPt>
          <c:dPt>
            <c:idx val="6"/>
            <c:invertIfNegative val="1"/>
            <c:bubble3D val="0"/>
            <c:spPr>
              <a:solidFill>
                <a:srgbClr val="AEABAB"/>
              </a:solidFill>
              <a:ln>
                <a:noFill/>
              </a:ln>
              <a:effectLst/>
            </c:spPr>
            <c:extLst>
              <c:ext xmlns:c16="http://schemas.microsoft.com/office/drawing/2014/chart" uri="{C3380CC4-5D6E-409C-BE32-E72D297353CC}">
                <c16:uniqueId val="{00000029-232D-4E02-B8F6-FB7BD0586488}"/>
              </c:ext>
            </c:extLst>
          </c:dPt>
          <c:dPt>
            <c:idx val="7"/>
            <c:invertIfNegative val="0"/>
            <c:bubble3D val="0"/>
            <c:spPr>
              <a:solidFill>
                <a:srgbClr val="CBEAE7"/>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AEABA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AEABA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AEABA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AEABA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AEABA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AEABA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AEABA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AEABA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AEABA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AEABA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AEABA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AEABA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AEABA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7</c:f>
              <c:multiLvlStrCache>
                <c:ptCount val="16"/>
                <c:lvl>
                  <c:pt idx="0">
                    <c:v>Total</c:v>
                  </c:pt>
                  <c:pt idx="1">
                    <c:v>Malard Nicolas</c:v>
                  </c:pt>
                  <c:pt idx="2">
                    <c:v>Total</c:v>
                  </c:pt>
                  <c:pt idx="3">
                    <c:v>Malard Nicolas</c:v>
                  </c:pt>
                  <c:pt idx="4">
                    <c:v>Total</c:v>
                  </c:pt>
                  <c:pt idx="5">
                    <c:v>Malard Nicolas</c:v>
                  </c:pt>
                  <c:pt idx="6">
                    <c:v>Total</c:v>
                  </c:pt>
                  <c:pt idx="7">
                    <c:v>Malard Nicolas</c:v>
                  </c:pt>
                  <c:pt idx="8">
                    <c:v>Total</c:v>
                  </c:pt>
                  <c:pt idx="9">
                    <c:v>Malard Nicolas</c:v>
                  </c:pt>
                  <c:pt idx="10">
                    <c:v>Total</c:v>
                  </c:pt>
                  <c:pt idx="11">
                    <c:v>Malard Nicolas</c:v>
                  </c:pt>
                  <c:pt idx="12">
                    <c:v>Total</c:v>
                  </c:pt>
                  <c:pt idx="13">
                    <c:v>Malard Nicolas</c:v>
                  </c:pt>
                  <c:pt idx="14">
                    <c:v>Total</c:v>
                  </c:pt>
                  <c:pt idx="15">
                    <c:v>Malard Nicolas</c:v>
                  </c:pt>
                </c:lvl>
                <c:lvl>
                  <c:pt idx="0">
                    <c:v>Bruts</c:v>
                  </c:pt>
                  <c:pt idx="2">
                    <c:v>Blanc De Blancs</c:v>
                  </c:pt>
                  <c:pt idx="4">
                    <c:v>Rosés</c:v>
                  </c:pt>
                  <c:pt idx="6">
                    <c:v>Crus</c:v>
                  </c:pt>
                  <c:pt idx="8">
                    <c:v>Extra Brut</c:v>
                  </c:pt>
                  <c:pt idx="10">
                    <c:v>Millesimes</c:v>
                  </c:pt>
                  <c:pt idx="12">
                    <c:v>Mousseux Italiens</c:v>
                  </c:pt>
                  <c:pt idx="14">
                    <c:v>Mousseux Val De Loire</c:v>
                  </c:pt>
                </c:lvl>
                <c:lvl>
                  <c:pt idx="0">
                    <c:v>Champagnes</c:v>
                  </c:pt>
                  <c:pt idx="12">
                    <c:v>Mousseux</c:v>
                  </c:pt>
                </c:lvl>
              </c:multiLvlStrCache>
            </c:multiLvlStrRef>
          </c:cat>
          <c:val>
            <c:numRef>
              <c:f>Sheet1!$D$2:$D$17</c:f>
              <c:numCache>
                <c:formatCode>General</c:formatCode>
                <c:ptCount val="16"/>
                <c:pt idx="0">
                  <c:v>9.4</c:v>
                </c:pt>
                <c:pt idx="1">
                  <c:v>1.1000000000000001</c:v>
                </c:pt>
                <c:pt idx="2">
                  <c:v>1.7</c:v>
                </c:pt>
                <c:pt idx="3">
                  <c:v>0.1</c:v>
                </c:pt>
                <c:pt idx="4">
                  <c:v>0.9</c:v>
                </c:pt>
                <c:pt idx="5">
                  <c:v>0.1</c:v>
                </c:pt>
                <c:pt idx="6">
                  <c:v>0.6</c:v>
                </c:pt>
                <c:pt idx="7">
                  <c:v>0</c:v>
                </c:pt>
                <c:pt idx="8">
                  <c:v>0.5</c:v>
                </c:pt>
                <c:pt idx="9">
                  <c:v>0</c:v>
                </c:pt>
                <c:pt idx="10">
                  <c:v>0.5</c:v>
                </c:pt>
                <c:pt idx="11">
                  <c:v>0</c:v>
                </c:pt>
                <c:pt idx="12">
                  <c:v>0.4</c:v>
                </c:pt>
                <c:pt idx="13">
                  <c:v>0</c:v>
                </c:pt>
                <c:pt idx="14">
                  <c:v>0.3</c:v>
                </c:pt>
                <c:pt idx="15">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51.9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29.5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95.0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53.9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71.4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232D-4E02-B8F6-FB7BD0586488}"/>
                </c:ext>
              </c:extLst>
            </c:dLbl>
            <c:dLbl>
              <c:idx val="5"/>
              <c:tx>
                <c:rich>
                  <a:bodyPr/>
                  <a:lstStyle/>
                  <a:p>
                    <a:r>
                      <a:t>38.7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232D-4E02-B8F6-FB7BD0586488}"/>
                </c:ext>
              </c:extLst>
            </c:dLbl>
            <c:dLbl>
              <c:idx val="6"/>
              <c:tx>
                <c:rich>
                  <a:bodyPr/>
                  <a:lstStyle/>
                  <a:p>
                    <a:r>
                      <a:t>39.9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232D-4E02-B8F6-FB7BD0586488}"/>
                </c:ext>
              </c:extLst>
            </c:dLbl>
            <c:dLbl>
              <c:idx val="7"/>
              <c:tx>
                <c:rich>
                  <a:bodyPr/>
                  <a:lstStyle/>
                  <a:p>
                    <a:r>
                      <a:t>43.7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232D-4E02-B8F6-FB7BD0586488}"/>
                </c:ext>
              </c:extLst>
            </c:dLbl>
            <c:dLbl>
              <c:idx val="8"/>
              <c:tx>
                <c:rich>
                  <a:bodyPr/>
                  <a:lstStyle/>
                  <a:p>
                    <a:r>
                      <a:t>44.0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232D-4E02-B8F6-FB7BD0586488}"/>
                </c:ext>
              </c:extLst>
            </c:dLbl>
            <c:dLbl>
              <c:idx val="9"/>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232D-4E02-B8F6-FB7BD0586488}"/>
                </c:ext>
              </c:extLst>
            </c:dLbl>
            <c:dLbl>
              <c:idx val="10"/>
              <c:tx>
                <c:rich>
                  <a:bodyPr/>
                  <a:lstStyle/>
                  <a:p>
                    <a:r>
                      <a:t>181.4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232D-4E02-B8F6-FB7BD0586488}"/>
                </c:ext>
              </c:extLst>
            </c:dLbl>
            <c:dLbl>
              <c:idx val="1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232D-4E02-B8F6-FB7BD0586488}"/>
                </c:ext>
              </c:extLst>
            </c:dLbl>
            <c:dLbl>
              <c:idx val="12"/>
              <c:tx>
                <c:rich>
                  <a:bodyPr/>
                  <a:lstStyle/>
                  <a:p>
                    <a:r>
                      <a:t>12.0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232D-4E02-B8F6-FB7BD0586488}"/>
                </c:ext>
              </c:extLst>
            </c:dLbl>
            <c:dLbl>
              <c:idx val="1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232D-4E02-B8F6-FB7BD0586488}"/>
                </c:ext>
              </c:extLst>
            </c:dLbl>
            <c:dLbl>
              <c:idx val="14"/>
              <c:tx>
                <c:rich>
                  <a:bodyPr/>
                  <a:lstStyle/>
                  <a:p>
                    <a:r>
                      <a:t>15.5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232D-4E02-B8F6-FB7BD0586488}"/>
                </c:ext>
              </c:extLst>
            </c:dLbl>
            <c:dLbl>
              <c:idx val="1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232D-4E02-B8F6-FB7BD0586488}"/>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7</c:f>
              <c:multiLvlStrCache>
                <c:ptCount val="16"/>
                <c:lvl>
                  <c:pt idx="0">
                    <c:v>Total</c:v>
                  </c:pt>
                  <c:pt idx="1">
                    <c:v>Malard Nicolas</c:v>
                  </c:pt>
                  <c:pt idx="2">
                    <c:v>Total</c:v>
                  </c:pt>
                  <c:pt idx="3">
                    <c:v>Malard Nicolas</c:v>
                  </c:pt>
                  <c:pt idx="4">
                    <c:v>Total</c:v>
                  </c:pt>
                  <c:pt idx="5">
                    <c:v>Malard Nicolas</c:v>
                  </c:pt>
                  <c:pt idx="6">
                    <c:v>Total</c:v>
                  </c:pt>
                  <c:pt idx="7">
                    <c:v>Malard Nicolas</c:v>
                  </c:pt>
                  <c:pt idx="8">
                    <c:v>Total</c:v>
                  </c:pt>
                  <c:pt idx="9">
                    <c:v>Malard Nicolas</c:v>
                  </c:pt>
                  <c:pt idx="10">
                    <c:v>Total</c:v>
                  </c:pt>
                  <c:pt idx="11">
                    <c:v>Malard Nicolas</c:v>
                  </c:pt>
                  <c:pt idx="12">
                    <c:v>Total</c:v>
                  </c:pt>
                  <c:pt idx="13">
                    <c:v>Malard Nicolas</c:v>
                  </c:pt>
                  <c:pt idx="14">
                    <c:v>Total</c:v>
                  </c:pt>
                  <c:pt idx="15">
                    <c:v>Malard Nicolas</c:v>
                  </c:pt>
                </c:lvl>
                <c:lvl>
                  <c:pt idx="0">
                    <c:v>Bruts</c:v>
                  </c:pt>
                  <c:pt idx="2">
                    <c:v>Blanc De Blancs</c:v>
                  </c:pt>
                  <c:pt idx="4">
                    <c:v>Rosés</c:v>
                  </c:pt>
                  <c:pt idx="6">
                    <c:v>Crus</c:v>
                  </c:pt>
                  <c:pt idx="8">
                    <c:v>Extra Brut</c:v>
                  </c:pt>
                  <c:pt idx="10">
                    <c:v>Millesimes</c:v>
                  </c:pt>
                  <c:pt idx="12">
                    <c:v>Mousseux Italiens</c:v>
                  </c:pt>
                  <c:pt idx="14">
                    <c:v>Mousseux Val De Loire</c:v>
                  </c:pt>
                </c:lvl>
                <c:lvl>
                  <c:pt idx="0">
                    <c:v>Champagnes</c:v>
                  </c:pt>
                  <c:pt idx="12">
                    <c:v>Mousseux</c:v>
                  </c:pt>
                </c:lvl>
              </c:multiLvlStrCache>
            </c:multiLvlStrRef>
          </c:cat>
          <c:val>
            <c:numRef>
              <c:f>Sheet1!$E$2:$E$17</c:f>
              <c:numCache>
                <c:formatCode>General</c:formatCode>
                <c:ptCount val="16"/>
                <c:pt idx="0">
                  <c:v>51.913600000000002</c:v>
                </c:pt>
                <c:pt idx="1">
                  <c:v>29.5412</c:v>
                </c:pt>
                <c:pt idx="2">
                  <c:v>95.071700000000007</c:v>
                </c:pt>
                <c:pt idx="3">
                  <c:v>53.9056</c:v>
                </c:pt>
                <c:pt idx="4">
                  <c:v>71.443700000000007</c:v>
                </c:pt>
                <c:pt idx="5">
                  <c:v>38.719799999999999</c:v>
                </c:pt>
                <c:pt idx="6">
                  <c:v>39.950000000000003</c:v>
                </c:pt>
                <c:pt idx="7">
                  <c:v>43.762900000000002</c:v>
                </c:pt>
                <c:pt idx="8">
                  <c:v>44.064500000000002</c:v>
                </c:pt>
                <c:pt idx="9">
                  <c:v>0</c:v>
                </c:pt>
                <c:pt idx="10">
                  <c:v>181.48410000000001</c:v>
                </c:pt>
                <c:pt idx="11">
                  <c:v>0</c:v>
                </c:pt>
                <c:pt idx="12">
                  <c:v>12.017200000000001</c:v>
                </c:pt>
                <c:pt idx="13">
                  <c:v>0</c:v>
                </c:pt>
                <c:pt idx="14">
                  <c:v>15.5825</c:v>
                </c:pt>
                <c:pt idx="15">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0"/>
            <c:bubble3D val="0"/>
            <c:spPr>
              <a:solidFill>
                <a:srgbClr val="AEABAB"/>
              </a:solidFill>
              <a:ln>
                <a:noFill/>
              </a:ln>
              <a:effectLst/>
            </c:spPr>
            <c:extLst>
              <c:ext xmlns:c16="http://schemas.microsoft.com/office/drawing/2014/chart" uri="{C3380CC4-5D6E-409C-BE32-E72D297353CC}">
                <c16:uniqueId val="{00000026-4B23-4768-AE96-7AAF69EC1929}"/>
              </c:ext>
            </c:extLst>
          </c:dPt>
          <c:dPt>
            <c:idx val="5"/>
            <c:invertIfNegative val="0"/>
            <c:bubble3D val="0"/>
            <c:spPr>
              <a:solidFill>
                <a:srgbClr val="CBEAE7"/>
              </a:solidFill>
              <a:ln>
                <a:noFill/>
              </a:ln>
              <a:effectLst/>
            </c:spPr>
            <c:extLst>
              <c:ext xmlns:c16="http://schemas.microsoft.com/office/drawing/2014/chart" uri="{C3380CC4-5D6E-409C-BE32-E72D297353CC}">
                <c16:uniqueId val="{00000006-C486-4167-8002-0794DD94CC5C}"/>
              </c:ext>
            </c:extLst>
          </c:dPt>
          <c:dPt>
            <c:idx val="6"/>
            <c:invertIfNegative val="1"/>
            <c:bubble3D val="0"/>
            <c:spPr>
              <a:solidFill>
                <a:srgbClr val="AEABAB"/>
              </a:solidFill>
              <a:ln>
                <a:noFill/>
              </a:ln>
              <a:effectLst/>
            </c:spPr>
            <c:extLst>
              <c:ext xmlns:c16="http://schemas.microsoft.com/office/drawing/2014/chart" uri="{C3380CC4-5D6E-409C-BE32-E72D297353CC}">
                <c16:uniqueId val="{00000029-0BB7-41A3-8560-CFC34FE136BA}"/>
              </c:ext>
            </c:extLst>
          </c:dPt>
          <c:dPt>
            <c:idx val="7"/>
            <c:invertIfNegative val="0"/>
            <c:bubble3D val="0"/>
            <c:spPr>
              <a:solidFill>
                <a:srgbClr val="CBEAE7"/>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AEABA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AEABA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AEABA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AEABA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AEABA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AEABA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AEABA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AEABA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AEABA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AEABA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AEABA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AEABA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AEABA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9</c:f>
              <c:multiLvlStrCache>
                <c:ptCount val="18"/>
                <c:lvl>
                  <c:pt idx="0">
                    <c:v>Total</c:v>
                  </c:pt>
                  <c:pt idx="1">
                    <c:v>Malard Nicolas</c:v>
                  </c:pt>
                  <c:pt idx="2">
                    <c:v>Total</c:v>
                  </c:pt>
                  <c:pt idx="3">
                    <c:v>Malard Nicolas</c:v>
                  </c:pt>
                  <c:pt idx="4">
                    <c:v>Total</c:v>
                  </c:pt>
                  <c:pt idx="5">
                    <c:v>Malard Nicolas</c:v>
                  </c:pt>
                  <c:pt idx="6">
                    <c:v>Total</c:v>
                  </c:pt>
                  <c:pt idx="7">
                    <c:v>Malard Nicolas</c:v>
                  </c:pt>
                  <c:pt idx="8">
                    <c:v>Total</c:v>
                  </c:pt>
                  <c:pt idx="9">
                    <c:v>Malard Nicolas</c:v>
                  </c:pt>
                  <c:pt idx="10">
                    <c:v>Total</c:v>
                  </c:pt>
                  <c:pt idx="11">
                    <c:v>Malard Nicolas</c:v>
                  </c:pt>
                  <c:pt idx="12">
                    <c:v>Total</c:v>
                  </c:pt>
                  <c:pt idx="13">
                    <c:v>Malard Nicolas</c:v>
                  </c:pt>
                  <c:pt idx="14">
                    <c:v>Total</c:v>
                  </c:pt>
                  <c:pt idx="15">
                    <c:v>Malard Nicolas</c:v>
                  </c:pt>
                  <c:pt idx="16">
                    <c:v>Total</c:v>
                  </c:pt>
                  <c:pt idx="17">
                    <c:v>Malard Nicolas</c:v>
                  </c:pt>
                </c:lvl>
                <c:lvl>
                  <c:pt idx="0">
                    <c:v>Bruts</c:v>
                  </c:pt>
                  <c:pt idx="2">
                    <c:v>Blanc De Blancs</c:v>
                  </c:pt>
                  <c:pt idx="4">
                    <c:v>Rosés</c:v>
                  </c:pt>
                  <c:pt idx="6">
                    <c:v>Crus</c:v>
                  </c:pt>
                  <c:pt idx="8">
                    <c:v>Extra Brut</c:v>
                  </c:pt>
                  <c:pt idx="10">
                    <c:v>Millesimes</c:v>
                  </c:pt>
                  <c:pt idx="12">
                    <c:v>Mousseux Italiens</c:v>
                  </c:pt>
                  <c:pt idx="14">
                    <c:v>Mousseux Val De Loire</c:v>
                  </c:pt>
                  <c:pt idx="16">
                    <c:v>Mousseux Bourgogne</c:v>
                  </c:pt>
                </c:lvl>
                <c:lvl>
                  <c:pt idx="0">
                    <c:v>Champagnes</c:v>
                  </c:pt>
                  <c:pt idx="12">
                    <c:v>Mousseux</c:v>
                  </c:pt>
                </c:lvl>
              </c:multiLvlStrCache>
            </c:multiLvlStrRef>
          </c:cat>
          <c:val>
            <c:numRef>
              <c:f>Sheet1!$D$2:$D$19</c:f>
              <c:numCache>
                <c:formatCode>General</c:formatCode>
                <c:ptCount val="18"/>
                <c:pt idx="0">
                  <c:v>7.6</c:v>
                </c:pt>
                <c:pt idx="1">
                  <c:v>0.8</c:v>
                </c:pt>
                <c:pt idx="2">
                  <c:v>1.4</c:v>
                </c:pt>
                <c:pt idx="3">
                  <c:v>0.1</c:v>
                </c:pt>
                <c:pt idx="4">
                  <c:v>0.7</c:v>
                </c:pt>
                <c:pt idx="5">
                  <c:v>0.1</c:v>
                </c:pt>
                <c:pt idx="6">
                  <c:v>0.6</c:v>
                </c:pt>
                <c:pt idx="7">
                  <c:v>0</c:v>
                </c:pt>
                <c:pt idx="8">
                  <c:v>0.4</c:v>
                </c:pt>
                <c:pt idx="9">
                  <c:v>0</c:v>
                </c:pt>
                <c:pt idx="10">
                  <c:v>0.4</c:v>
                </c:pt>
                <c:pt idx="11">
                  <c:v>0</c:v>
                </c:pt>
                <c:pt idx="12">
                  <c:v>0.3</c:v>
                </c:pt>
                <c:pt idx="13">
                  <c:v>0</c:v>
                </c:pt>
                <c:pt idx="14">
                  <c:v>0.2</c:v>
                </c:pt>
                <c:pt idx="15">
                  <c:v>0</c:v>
                </c:pt>
                <c:pt idx="16">
                  <c:v>0.1</c:v>
                </c:pt>
                <c:pt idx="17">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52.0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29.7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96.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53.4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70.8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0BB7-41A3-8560-CFC34FE136BA}"/>
                </c:ext>
              </c:extLst>
            </c:dLbl>
            <c:dLbl>
              <c:idx val="5"/>
              <c:tx>
                <c:rich>
                  <a:bodyPr/>
                  <a:lstStyle/>
                  <a:p>
                    <a:r>
                      <a:t>38.1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0BB7-41A3-8560-CFC34FE136BA}"/>
                </c:ext>
              </c:extLst>
            </c:dLbl>
            <c:dLbl>
              <c:idx val="6"/>
              <c:tx>
                <c:rich>
                  <a:bodyPr/>
                  <a:lstStyle/>
                  <a:p>
                    <a:r>
                      <a:t>40.0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0BB7-41A3-8560-CFC34FE136BA}"/>
                </c:ext>
              </c:extLst>
            </c:dLbl>
            <c:dLbl>
              <c:idx val="7"/>
              <c:tx>
                <c:rich>
                  <a:bodyPr/>
                  <a:lstStyle/>
                  <a:p>
                    <a:r>
                      <a:t>42.7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0BB7-41A3-8560-CFC34FE136BA}"/>
                </c:ext>
              </c:extLst>
            </c:dLbl>
            <c:dLbl>
              <c:idx val="8"/>
              <c:tx>
                <c:rich>
                  <a:bodyPr/>
                  <a:lstStyle/>
                  <a:p>
                    <a:r>
                      <a:t>44.0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0BB7-41A3-8560-CFC34FE136BA}"/>
                </c:ext>
              </c:extLst>
            </c:dLbl>
            <c:dLbl>
              <c:idx val="9"/>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0BB7-41A3-8560-CFC34FE136BA}"/>
                </c:ext>
              </c:extLst>
            </c:dLbl>
            <c:dLbl>
              <c:idx val="10"/>
              <c:tx>
                <c:rich>
                  <a:bodyPr/>
                  <a:lstStyle/>
                  <a:p>
                    <a:r>
                      <a:t>169.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0BB7-41A3-8560-CFC34FE136BA}"/>
                </c:ext>
              </c:extLst>
            </c:dLbl>
            <c:dLbl>
              <c:idx val="1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0BB7-41A3-8560-CFC34FE136BA}"/>
                </c:ext>
              </c:extLst>
            </c:dLbl>
            <c:dLbl>
              <c:idx val="12"/>
              <c:tx>
                <c:rich>
                  <a:bodyPr/>
                  <a:lstStyle/>
                  <a:p>
                    <a:r>
                      <a:t>11.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0BB7-41A3-8560-CFC34FE136BA}"/>
                </c:ext>
              </c:extLst>
            </c:dLbl>
            <c:dLbl>
              <c:idx val="1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0BB7-41A3-8560-CFC34FE136BA}"/>
                </c:ext>
              </c:extLst>
            </c:dLbl>
            <c:dLbl>
              <c:idx val="14"/>
              <c:tx>
                <c:rich>
                  <a:bodyPr/>
                  <a:lstStyle/>
                  <a:p>
                    <a:r>
                      <a:t>15.4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0BB7-41A3-8560-CFC34FE136BA}"/>
                </c:ext>
              </c:extLst>
            </c:dLbl>
            <c:dLbl>
              <c:idx val="1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0BB7-41A3-8560-CFC34FE136BA}"/>
                </c:ext>
              </c:extLst>
            </c:dLbl>
            <c:dLbl>
              <c:idx val="16"/>
              <c:tx>
                <c:rich>
                  <a:bodyPr/>
                  <a:lstStyle/>
                  <a:p>
                    <a:r>
                      <a:t>17.4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0BB7-41A3-8560-CFC34FE136BA}"/>
                </c:ext>
              </c:extLst>
            </c:dLbl>
            <c:dLbl>
              <c:idx val="1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0BB7-41A3-8560-CFC34FE136BA}"/>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9</c:f>
              <c:multiLvlStrCache>
                <c:ptCount val="18"/>
                <c:lvl>
                  <c:pt idx="0">
                    <c:v>Total</c:v>
                  </c:pt>
                  <c:pt idx="1">
                    <c:v>Malard Nicolas</c:v>
                  </c:pt>
                  <c:pt idx="2">
                    <c:v>Total</c:v>
                  </c:pt>
                  <c:pt idx="3">
                    <c:v>Malard Nicolas</c:v>
                  </c:pt>
                  <c:pt idx="4">
                    <c:v>Total</c:v>
                  </c:pt>
                  <c:pt idx="5">
                    <c:v>Malard Nicolas</c:v>
                  </c:pt>
                  <c:pt idx="6">
                    <c:v>Total</c:v>
                  </c:pt>
                  <c:pt idx="7">
                    <c:v>Malard Nicolas</c:v>
                  </c:pt>
                  <c:pt idx="8">
                    <c:v>Total</c:v>
                  </c:pt>
                  <c:pt idx="9">
                    <c:v>Malard Nicolas</c:v>
                  </c:pt>
                  <c:pt idx="10">
                    <c:v>Total</c:v>
                  </c:pt>
                  <c:pt idx="11">
                    <c:v>Malard Nicolas</c:v>
                  </c:pt>
                  <c:pt idx="12">
                    <c:v>Total</c:v>
                  </c:pt>
                  <c:pt idx="13">
                    <c:v>Malard Nicolas</c:v>
                  </c:pt>
                  <c:pt idx="14">
                    <c:v>Total</c:v>
                  </c:pt>
                  <c:pt idx="15">
                    <c:v>Malard Nicolas</c:v>
                  </c:pt>
                  <c:pt idx="16">
                    <c:v>Total</c:v>
                  </c:pt>
                  <c:pt idx="17">
                    <c:v>Malard Nicolas</c:v>
                  </c:pt>
                </c:lvl>
                <c:lvl>
                  <c:pt idx="0">
                    <c:v>Bruts</c:v>
                  </c:pt>
                  <c:pt idx="2">
                    <c:v>Blanc De Blancs</c:v>
                  </c:pt>
                  <c:pt idx="4">
                    <c:v>Rosés</c:v>
                  </c:pt>
                  <c:pt idx="6">
                    <c:v>Crus</c:v>
                  </c:pt>
                  <c:pt idx="8">
                    <c:v>Extra Brut</c:v>
                  </c:pt>
                  <c:pt idx="10">
                    <c:v>Millesimes</c:v>
                  </c:pt>
                  <c:pt idx="12">
                    <c:v>Mousseux Italiens</c:v>
                  </c:pt>
                  <c:pt idx="14">
                    <c:v>Mousseux Val De Loire</c:v>
                  </c:pt>
                  <c:pt idx="16">
                    <c:v>Mousseux Bourgogne</c:v>
                  </c:pt>
                </c:lvl>
                <c:lvl>
                  <c:pt idx="0">
                    <c:v>Champagnes</c:v>
                  </c:pt>
                  <c:pt idx="12">
                    <c:v>Mousseux</c:v>
                  </c:pt>
                </c:lvl>
              </c:multiLvlStrCache>
            </c:multiLvlStrRef>
          </c:cat>
          <c:val>
            <c:numRef>
              <c:f>Sheet1!$E$2:$E$19</c:f>
              <c:numCache>
                <c:formatCode>General</c:formatCode>
                <c:ptCount val="18"/>
                <c:pt idx="0">
                  <c:v>52.087000000000003</c:v>
                </c:pt>
                <c:pt idx="1">
                  <c:v>29.7624</c:v>
                </c:pt>
                <c:pt idx="2">
                  <c:v>96.240099999999998</c:v>
                </c:pt>
                <c:pt idx="3">
                  <c:v>53.482700000000001</c:v>
                </c:pt>
                <c:pt idx="4">
                  <c:v>70.820599999999999</c:v>
                </c:pt>
                <c:pt idx="5">
                  <c:v>38.188899999999997</c:v>
                </c:pt>
                <c:pt idx="6">
                  <c:v>40.056399999999996</c:v>
                </c:pt>
                <c:pt idx="7">
                  <c:v>42.754899999999999</c:v>
                </c:pt>
                <c:pt idx="8">
                  <c:v>44.022100000000002</c:v>
                </c:pt>
                <c:pt idx="9">
                  <c:v>0</c:v>
                </c:pt>
                <c:pt idx="10">
                  <c:v>169.0966</c:v>
                </c:pt>
                <c:pt idx="11">
                  <c:v>0</c:v>
                </c:pt>
                <c:pt idx="12">
                  <c:v>11.9002</c:v>
                </c:pt>
                <c:pt idx="13">
                  <c:v>0</c:v>
                </c:pt>
                <c:pt idx="14">
                  <c:v>15.480499999999999</c:v>
                </c:pt>
                <c:pt idx="15">
                  <c:v>0</c:v>
                </c:pt>
                <c:pt idx="16">
                  <c:v>17.416399999999999</c:v>
                </c:pt>
                <c:pt idx="17">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0"/>
            <c:bubble3D val="0"/>
            <c:spPr>
              <a:solidFill>
                <a:srgbClr val="AEABAB"/>
              </a:solidFill>
              <a:ln>
                <a:noFill/>
              </a:ln>
              <a:effectLst/>
            </c:spPr>
            <c:extLst>
              <c:ext xmlns:c16="http://schemas.microsoft.com/office/drawing/2014/chart" uri="{C3380CC4-5D6E-409C-BE32-E72D297353CC}">
                <c16:uniqueId val="{00000026-4B23-4768-AE96-7AAF69EC1929}"/>
              </c:ext>
            </c:extLst>
          </c:dPt>
          <c:dPt>
            <c:idx val="5"/>
            <c:invertIfNegative val="0"/>
            <c:bubble3D val="0"/>
            <c:spPr>
              <a:solidFill>
                <a:srgbClr val="CBEAE7"/>
              </a:solidFill>
              <a:ln>
                <a:noFill/>
              </a:ln>
              <a:effectLst/>
            </c:spPr>
            <c:extLst>
              <c:ext xmlns:c16="http://schemas.microsoft.com/office/drawing/2014/chart" uri="{C3380CC4-5D6E-409C-BE32-E72D297353CC}">
                <c16:uniqueId val="{00000006-C486-4167-8002-0794DD94CC5C}"/>
              </c:ext>
            </c:extLst>
          </c:dPt>
          <c:dPt>
            <c:idx val="6"/>
            <c:invertIfNegative val="1"/>
            <c:bubble3D val="0"/>
            <c:spPr>
              <a:solidFill>
                <a:srgbClr val="AEABAB"/>
              </a:solidFill>
              <a:ln>
                <a:noFill/>
              </a:ln>
              <a:effectLst/>
            </c:spPr>
            <c:extLst>
              <c:ext xmlns:c16="http://schemas.microsoft.com/office/drawing/2014/chart" uri="{C3380CC4-5D6E-409C-BE32-E72D297353CC}">
                <c16:uniqueId val="{00000029-1FC9-41A2-BC95-45ECBA9710CD}"/>
              </c:ext>
            </c:extLst>
          </c:dPt>
          <c:dPt>
            <c:idx val="7"/>
            <c:invertIfNegative val="0"/>
            <c:bubble3D val="0"/>
            <c:spPr>
              <a:solidFill>
                <a:srgbClr val="CBEAE7"/>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AEABA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AEABA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AEABA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AEABA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AEABA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AEABA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AEABA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AEABA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AEABA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AEABA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AEABA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AEABA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AEABA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9</c:f>
              <c:multiLvlStrCache>
                <c:ptCount val="18"/>
                <c:lvl>
                  <c:pt idx="0">
                    <c:v>Total</c:v>
                  </c:pt>
                  <c:pt idx="1">
                    <c:v>Malard Nicolas</c:v>
                  </c:pt>
                  <c:pt idx="2">
                    <c:v>Total</c:v>
                  </c:pt>
                  <c:pt idx="3">
                    <c:v>Malard Nicolas</c:v>
                  </c:pt>
                  <c:pt idx="4">
                    <c:v>Total</c:v>
                  </c:pt>
                  <c:pt idx="5">
                    <c:v>Malard Nicolas</c:v>
                  </c:pt>
                  <c:pt idx="6">
                    <c:v>Total</c:v>
                  </c:pt>
                  <c:pt idx="7">
                    <c:v>Malard Nicolas</c:v>
                  </c:pt>
                  <c:pt idx="8">
                    <c:v>Total</c:v>
                  </c:pt>
                  <c:pt idx="9">
                    <c:v>Malard Nicolas</c:v>
                  </c:pt>
                  <c:pt idx="10">
                    <c:v>Total</c:v>
                  </c:pt>
                  <c:pt idx="11">
                    <c:v>Malard Nicolas</c:v>
                  </c:pt>
                  <c:pt idx="12">
                    <c:v>Total</c:v>
                  </c:pt>
                  <c:pt idx="13">
                    <c:v>Malard Nicolas</c:v>
                  </c:pt>
                  <c:pt idx="14">
                    <c:v>Total</c:v>
                  </c:pt>
                  <c:pt idx="15">
                    <c:v>Malard Nicolas</c:v>
                  </c:pt>
                  <c:pt idx="16">
                    <c:v>Total</c:v>
                  </c:pt>
                  <c:pt idx="17">
                    <c:v>Malard Nicolas</c:v>
                  </c:pt>
                </c:lvl>
                <c:lvl>
                  <c:pt idx="0">
                    <c:v>Bruts</c:v>
                  </c:pt>
                  <c:pt idx="2">
                    <c:v>Blanc De Blancs</c:v>
                  </c:pt>
                  <c:pt idx="4">
                    <c:v>Rosés</c:v>
                  </c:pt>
                  <c:pt idx="6">
                    <c:v>Crus</c:v>
                  </c:pt>
                  <c:pt idx="8">
                    <c:v>Extra Brut</c:v>
                  </c:pt>
                  <c:pt idx="10">
                    <c:v>Millesimes</c:v>
                  </c:pt>
                  <c:pt idx="12">
                    <c:v>Mousseux Italiens</c:v>
                  </c:pt>
                  <c:pt idx="14">
                    <c:v>Mousseux Val De Loire</c:v>
                  </c:pt>
                  <c:pt idx="16">
                    <c:v>Mousseux Alsace</c:v>
                  </c:pt>
                </c:lvl>
                <c:lvl>
                  <c:pt idx="0">
                    <c:v>Champagnes</c:v>
                  </c:pt>
                  <c:pt idx="12">
                    <c:v>Mousseux</c:v>
                  </c:pt>
                </c:lvl>
              </c:multiLvlStrCache>
            </c:multiLvlStrRef>
          </c:cat>
          <c:val>
            <c:numRef>
              <c:f>Sheet1!$D$2:$D$19</c:f>
              <c:numCache>
                <c:formatCode>General</c:formatCode>
                <c:ptCount val="18"/>
                <c:pt idx="0">
                  <c:v>6.9</c:v>
                </c:pt>
                <c:pt idx="1">
                  <c:v>0.8</c:v>
                </c:pt>
                <c:pt idx="2">
                  <c:v>1.3</c:v>
                </c:pt>
                <c:pt idx="3">
                  <c:v>0.1</c:v>
                </c:pt>
                <c:pt idx="4">
                  <c:v>0.6</c:v>
                </c:pt>
                <c:pt idx="5">
                  <c:v>0.1</c:v>
                </c:pt>
                <c:pt idx="6">
                  <c:v>0.5</c:v>
                </c:pt>
                <c:pt idx="7">
                  <c:v>0</c:v>
                </c:pt>
                <c:pt idx="8">
                  <c:v>0.3</c:v>
                </c:pt>
                <c:pt idx="9">
                  <c:v>0</c:v>
                </c:pt>
                <c:pt idx="10">
                  <c:v>0.3</c:v>
                </c:pt>
                <c:pt idx="11">
                  <c:v>0</c:v>
                </c:pt>
                <c:pt idx="12">
                  <c:v>0.3</c:v>
                </c:pt>
                <c:pt idx="13">
                  <c:v>0</c:v>
                </c:pt>
                <c:pt idx="14">
                  <c:v>0.2</c:v>
                </c:pt>
                <c:pt idx="15">
                  <c:v>0</c:v>
                </c:pt>
                <c:pt idx="16">
                  <c:v>0.1</c:v>
                </c:pt>
                <c:pt idx="17">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51.5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29.5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91.7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53.4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69.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FC9-41A2-BC95-45ECBA9710CD}"/>
                </c:ext>
              </c:extLst>
            </c:dLbl>
            <c:dLbl>
              <c:idx val="5"/>
              <c:tx>
                <c:rich>
                  <a:bodyPr/>
                  <a:lstStyle/>
                  <a:p>
                    <a:r>
                      <a:t>37.5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FC9-41A2-BC95-45ECBA9710CD}"/>
                </c:ext>
              </c:extLst>
            </c:dLbl>
            <c:dLbl>
              <c:idx val="6"/>
              <c:tx>
                <c:rich>
                  <a:bodyPr/>
                  <a:lstStyle/>
                  <a:p>
                    <a:r>
                      <a:t>40.0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FC9-41A2-BC95-45ECBA9710CD}"/>
                </c:ext>
              </c:extLst>
            </c:dLbl>
            <c:dLbl>
              <c:idx val="7"/>
              <c:tx>
                <c:rich>
                  <a:bodyPr/>
                  <a:lstStyle/>
                  <a:p>
                    <a:r>
                      <a:t>42.4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FC9-41A2-BC95-45ECBA9710CD}"/>
                </c:ext>
              </c:extLst>
            </c:dLbl>
            <c:dLbl>
              <c:idx val="8"/>
              <c:tx>
                <c:rich>
                  <a:bodyPr/>
                  <a:lstStyle/>
                  <a:p>
                    <a:r>
                      <a:t>44.4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FC9-41A2-BC95-45ECBA9710CD}"/>
                </c:ext>
              </c:extLst>
            </c:dLbl>
            <c:dLbl>
              <c:idx val="9"/>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FC9-41A2-BC95-45ECBA9710CD}"/>
                </c:ext>
              </c:extLst>
            </c:dLbl>
            <c:dLbl>
              <c:idx val="10"/>
              <c:tx>
                <c:rich>
                  <a:bodyPr/>
                  <a:lstStyle/>
                  <a:p>
                    <a:r>
                      <a:t>139.6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FC9-41A2-BC95-45ECBA9710CD}"/>
                </c:ext>
              </c:extLst>
            </c:dLbl>
            <c:dLbl>
              <c:idx val="1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FC9-41A2-BC95-45ECBA9710CD}"/>
                </c:ext>
              </c:extLst>
            </c:dLbl>
            <c:dLbl>
              <c:idx val="12"/>
              <c:tx>
                <c:rich>
                  <a:bodyPr/>
                  <a:lstStyle/>
                  <a:p>
                    <a:r>
                      <a:t>11.7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FC9-41A2-BC95-45ECBA9710CD}"/>
                </c:ext>
              </c:extLst>
            </c:dLbl>
            <c:dLbl>
              <c:idx val="1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FC9-41A2-BC95-45ECBA9710CD}"/>
                </c:ext>
              </c:extLst>
            </c:dLbl>
            <c:dLbl>
              <c:idx val="14"/>
              <c:tx>
                <c:rich>
                  <a:bodyPr/>
                  <a:lstStyle/>
                  <a:p>
                    <a:r>
                      <a:t>15.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FC9-41A2-BC95-45ECBA9710CD}"/>
                </c:ext>
              </c:extLst>
            </c:dLbl>
            <c:dLbl>
              <c:idx val="1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FC9-41A2-BC95-45ECBA9710CD}"/>
                </c:ext>
              </c:extLst>
            </c:dLbl>
            <c:dLbl>
              <c:idx val="16"/>
              <c:tx>
                <c:rich>
                  <a:bodyPr/>
                  <a:lstStyle/>
                  <a:p>
                    <a:r>
                      <a:t>19.2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FC9-41A2-BC95-45ECBA9710CD}"/>
                </c:ext>
              </c:extLst>
            </c:dLbl>
            <c:dLbl>
              <c:idx val="1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FC9-41A2-BC95-45ECBA9710CD}"/>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9</c:f>
              <c:multiLvlStrCache>
                <c:ptCount val="18"/>
                <c:lvl>
                  <c:pt idx="0">
                    <c:v>Total</c:v>
                  </c:pt>
                  <c:pt idx="1">
                    <c:v>Malard Nicolas</c:v>
                  </c:pt>
                  <c:pt idx="2">
                    <c:v>Total</c:v>
                  </c:pt>
                  <c:pt idx="3">
                    <c:v>Malard Nicolas</c:v>
                  </c:pt>
                  <c:pt idx="4">
                    <c:v>Total</c:v>
                  </c:pt>
                  <c:pt idx="5">
                    <c:v>Malard Nicolas</c:v>
                  </c:pt>
                  <c:pt idx="6">
                    <c:v>Total</c:v>
                  </c:pt>
                  <c:pt idx="7">
                    <c:v>Malard Nicolas</c:v>
                  </c:pt>
                  <c:pt idx="8">
                    <c:v>Total</c:v>
                  </c:pt>
                  <c:pt idx="9">
                    <c:v>Malard Nicolas</c:v>
                  </c:pt>
                  <c:pt idx="10">
                    <c:v>Total</c:v>
                  </c:pt>
                  <c:pt idx="11">
                    <c:v>Malard Nicolas</c:v>
                  </c:pt>
                  <c:pt idx="12">
                    <c:v>Total</c:v>
                  </c:pt>
                  <c:pt idx="13">
                    <c:v>Malard Nicolas</c:v>
                  </c:pt>
                  <c:pt idx="14">
                    <c:v>Total</c:v>
                  </c:pt>
                  <c:pt idx="15">
                    <c:v>Malard Nicolas</c:v>
                  </c:pt>
                  <c:pt idx="16">
                    <c:v>Total</c:v>
                  </c:pt>
                  <c:pt idx="17">
                    <c:v>Malard Nicolas</c:v>
                  </c:pt>
                </c:lvl>
                <c:lvl>
                  <c:pt idx="0">
                    <c:v>Bruts</c:v>
                  </c:pt>
                  <c:pt idx="2">
                    <c:v>Blanc De Blancs</c:v>
                  </c:pt>
                  <c:pt idx="4">
                    <c:v>Rosés</c:v>
                  </c:pt>
                  <c:pt idx="6">
                    <c:v>Crus</c:v>
                  </c:pt>
                  <c:pt idx="8">
                    <c:v>Extra Brut</c:v>
                  </c:pt>
                  <c:pt idx="10">
                    <c:v>Millesimes</c:v>
                  </c:pt>
                  <c:pt idx="12">
                    <c:v>Mousseux Italiens</c:v>
                  </c:pt>
                  <c:pt idx="14">
                    <c:v>Mousseux Val De Loire</c:v>
                  </c:pt>
                  <c:pt idx="16">
                    <c:v>Mousseux Alsace</c:v>
                  </c:pt>
                </c:lvl>
                <c:lvl>
                  <c:pt idx="0">
                    <c:v>Champagnes</c:v>
                  </c:pt>
                  <c:pt idx="12">
                    <c:v>Mousseux</c:v>
                  </c:pt>
                </c:lvl>
              </c:multiLvlStrCache>
            </c:multiLvlStrRef>
          </c:cat>
          <c:val>
            <c:numRef>
              <c:f>Sheet1!$E$2:$E$19</c:f>
              <c:numCache>
                <c:formatCode>General</c:formatCode>
                <c:ptCount val="18"/>
                <c:pt idx="0">
                  <c:v>51.553199999999997</c:v>
                </c:pt>
                <c:pt idx="1">
                  <c:v>29.5824</c:v>
                </c:pt>
                <c:pt idx="2">
                  <c:v>91.7941</c:v>
                </c:pt>
                <c:pt idx="3">
                  <c:v>53.469299999999997</c:v>
                </c:pt>
                <c:pt idx="4">
                  <c:v>69.801000000000002</c:v>
                </c:pt>
                <c:pt idx="5">
                  <c:v>37.558</c:v>
                </c:pt>
                <c:pt idx="6">
                  <c:v>40.034799999999997</c:v>
                </c:pt>
                <c:pt idx="7">
                  <c:v>42.422400000000003</c:v>
                </c:pt>
                <c:pt idx="8">
                  <c:v>44.418100000000003</c:v>
                </c:pt>
                <c:pt idx="9">
                  <c:v>0</c:v>
                </c:pt>
                <c:pt idx="10">
                  <c:v>139.68</c:v>
                </c:pt>
                <c:pt idx="11">
                  <c:v>0</c:v>
                </c:pt>
                <c:pt idx="12">
                  <c:v>11.7942</c:v>
                </c:pt>
                <c:pt idx="13">
                  <c:v>0</c:v>
                </c:pt>
                <c:pt idx="14">
                  <c:v>15.0991</c:v>
                </c:pt>
                <c:pt idx="15">
                  <c:v>0</c:v>
                </c:pt>
                <c:pt idx="16">
                  <c:v>19.282299999999999</c:v>
                </c:pt>
                <c:pt idx="17">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0"/>
            <c:bubble3D val="0"/>
            <c:spPr>
              <a:solidFill>
                <a:srgbClr val="AEABAB"/>
              </a:solidFill>
              <a:ln>
                <a:noFill/>
              </a:ln>
              <a:effectLst/>
            </c:spPr>
            <c:extLst>
              <c:ext xmlns:c16="http://schemas.microsoft.com/office/drawing/2014/chart" uri="{C3380CC4-5D6E-409C-BE32-E72D297353CC}">
                <c16:uniqueId val="{00000026-4B23-4768-AE96-7AAF69EC1929}"/>
              </c:ext>
            </c:extLst>
          </c:dPt>
          <c:dPt>
            <c:idx val="5"/>
            <c:invertIfNegative val="0"/>
            <c:bubble3D val="0"/>
            <c:spPr>
              <a:solidFill>
                <a:srgbClr val="CBEAE7"/>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AEABA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AEABA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AEABA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AEABA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AEABA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AEABA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AEABA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AEABA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AEABA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AEABA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AEABA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AEABA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AEABA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3</c:f>
              <c:multiLvlStrCache>
                <c:ptCount val="12"/>
                <c:lvl>
                  <c:pt idx="0">
                    <c:v>Total</c:v>
                  </c:pt>
                  <c:pt idx="1">
                    <c:v>Nicolas</c:v>
                  </c:pt>
                  <c:pt idx="2">
                    <c:v>Total</c:v>
                  </c:pt>
                  <c:pt idx="3">
                    <c:v>Nicolas</c:v>
                  </c:pt>
                  <c:pt idx="4">
                    <c:v>Total</c:v>
                  </c:pt>
                  <c:pt idx="5">
                    <c:v>Nicolas</c:v>
                  </c:pt>
                  <c:pt idx="6">
                    <c:v>Total</c:v>
                  </c:pt>
                  <c:pt idx="7">
                    <c:v>Nicolas</c:v>
                  </c:pt>
                  <c:pt idx="8">
                    <c:v>Total</c:v>
                  </c:pt>
                  <c:pt idx="9">
                    <c:v>Nicolas</c:v>
                  </c:pt>
                  <c:pt idx="10">
                    <c:v>Total</c:v>
                  </c:pt>
                  <c:pt idx="11">
                    <c:v>Nicolas</c:v>
                  </c:pt>
                </c:lvl>
                <c:lvl>
                  <c:pt idx="0">
                    <c:v>Bruts</c:v>
                  </c:pt>
                  <c:pt idx="2">
                    <c:v>Rosés</c:v>
                  </c:pt>
                  <c:pt idx="4">
                    <c:v>Mousseux Italiens</c:v>
                  </c:pt>
                  <c:pt idx="6">
                    <c:v>Mousseux Alsace</c:v>
                  </c:pt>
                  <c:pt idx="8">
                    <c:v>Mousseux Val De Loire</c:v>
                  </c:pt>
                  <c:pt idx="10">
                    <c:v>Mousseux Bourgogne</c:v>
                  </c:pt>
                </c:lvl>
                <c:lvl>
                  <c:pt idx="0">
                    <c:v>Champagnes</c:v>
                  </c:pt>
                  <c:pt idx="4">
                    <c:v>Mousseux</c:v>
                  </c:pt>
                </c:lvl>
              </c:multiLvlStrCache>
            </c:multiLvlStrRef>
          </c:cat>
          <c:val>
            <c:numRef>
              <c:f>Sheet1!$D$2:$D$13</c:f>
              <c:numCache>
                <c:formatCode>General</c:formatCode>
                <c:ptCount val="12"/>
                <c:pt idx="0">
                  <c:v>475.5</c:v>
                </c:pt>
                <c:pt idx="1">
                  <c:v>4.5999999999999996</c:v>
                </c:pt>
                <c:pt idx="2">
                  <c:v>43.9</c:v>
                </c:pt>
                <c:pt idx="3">
                  <c:v>0.4</c:v>
                </c:pt>
                <c:pt idx="4">
                  <c:v>131.1</c:v>
                </c:pt>
                <c:pt idx="5">
                  <c:v>0</c:v>
                </c:pt>
                <c:pt idx="6">
                  <c:v>103.8</c:v>
                </c:pt>
                <c:pt idx="7">
                  <c:v>0</c:v>
                </c:pt>
                <c:pt idx="8">
                  <c:v>70.3</c:v>
                </c:pt>
                <c:pt idx="9">
                  <c:v>0</c:v>
                </c:pt>
                <c:pt idx="10">
                  <c:v>41.2</c:v>
                </c:pt>
                <c:pt idx="11">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rPr lang="en-CH"/>
                      <a:t>26.3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rPr lang="en-CH"/>
                      <a:t>29.5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rPr lang="en-CH"/>
                      <a:t>41.9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rPr lang="en-CH"/>
                      <a:t>37.9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rPr lang="en-CH"/>
                      <a:t>8.2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EED8-4A0A-B514-CFD10DD0D9C9}"/>
                </c:ext>
              </c:extLst>
            </c:dLbl>
            <c:dLbl>
              <c:idx val="5"/>
              <c:tx>
                <c:rich>
                  <a:bodyPr/>
                  <a:lstStyle/>
                  <a:p>
                    <a:r>
                      <a:rPr lang="en-CH"/>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EED8-4A0A-B514-CFD10DD0D9C9}"/>
                </c:ext>
              </c:extLst>
            </c:dLbl>
            <c:dLbl>
              <c:idx val="6"/>
              <c:tx>
                <c:rich>
                  <a:bodyPr/>
                  <a:lstStyle/>
                  <a:p>
                    <a:r>
                      <a:rPr lang="en-CH"/>
                      <a:t>6.9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EED8-4A0A-B514-CFD10DD0D9C9}"/>
                </c:ext>
              </c:extLst>
            </c:dLbl>
            <c:dLbl>
              <c:idx val="7"/>
              <c:tx>
                <c:rich>
                  <a:bodyPr/>
                  <a:lstStyle/>
                  <a:p>
                    <a:r>
                      <a:rPr lang="en-CH"/>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EED8-4A0A-B514-CFD10DD0D9C9}"/>
                </c:ext>
              </c:extLst>
            </c:dLbl>
            <c:dLbl>
              <c:idx val="8"/>
              <c:tx>
                <c:rich>
                  <a:bodyPr/>
                  <a:lstStyle/>
                  <a:p>
                    <a:r>
                      <a:rPr lang="en-CH"/>
                      <a:t>7.1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EED8-4A0A-B514-CFD10DD0D9C9}"/>
                </c:ext>
              </c:extLst>
            </c:dLbl>
            <c:dLbl>
              <c:idx val="9"/>
              <c:tx>
                <c:rich>
                  <a:bodyPr/>
                  <a:lstStyle/>
                  <a:p>
                    <a:r>
                      <a:rPr lang="en-CH"/>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EED8-4A0A-B514-CFD10DD0D9C9}"/>
                </c:ext>
              </c:extLst>
            </c:dLbl>
            <c:dLbl>
              <c:idx val="10"/>
              <c:tx>
                <c:rich>
                  <a:bodyPr/>
                  <a:lstStyle/>
                  <a:p>
                    <a:r>
                      <a:rPr lang="en-CH"/>
                      <a:t>9.4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EED8-4A0A-B514-CFD10DD0D9C9}"/>
                </c:ext>
              </c:extLst>
            </c:dLbl>
            <c:dLbl>
              <c:idx val="11"/>
              <c:tx>
                <c:rich>
                  <a:bodyPr/>
                  <a:lstStyle/>
                  <a:p>
                    <a:r>
                      <a:rPr lang="en-CH"/>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EED8-4A0A-B514-CFD10DD0D9C9}"/>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3</c:f>
              <c:multiLvlStrCache>
                <c:ptCount val="12"/>
                <c:lvl>
                  <c:pt idx="0">
                    <c:v>Total</c:v>
                  </c:pt>
                  <c:pt idx="1">
                    <c:v>Nicolas</c:v>
                  </c:pt>
                  <c:pt idx="2">
                    <c:v>Total</c:v>
                  </c:pt>
                  <c:pt idx="3">
                    <c:v>Nicolas</c:v>
                  </c:pt>
                  <c:pt idx="4">
                    <c:v>Total</c:v>
                  </c:pt>
                  <c:pt idx="5">
                    <c:v>Nicolas</c:v>
                  </c:pt>
                  <c:pt idx="6">
                    <c:v>Total</c:v>
                  </c:pt>
                  <c:pt idx="7">
                    <c:v>Nicolas</c:v>
                  </c:pt>
                  <c:pt idx="8">
                    <c:v>Total</c:v>
                  </c:pt>
                  <c:pt idx="9">
                    <c:v>Nicolas</c:v>
                  </c:pt>
                  <c:pt idx="10">
                    <c:v>Total</c:v>
                  </c:pt>
                  <c:pt idx="11">
                    <c:v>Nicolas</c:v>
                  </c:pt>
                </c:lvl>
                <c:lvl>
                  <c:pt idx="0">
                    <c:v>Bruts</c:v>
                  </c:pt>
                  <c:pt idx="2">
                    <c:v>Rosés</c:v>
                  </c:pt>
                  <c:pt idx="4">
                    <c:v>Mousseux Italiens</c:v>
                  </c:pt>
                  <c:pt idx="6">
                    <c:v>Mousseux Alsace</c:v>
                  </c:pt>
                  <c:pt idx="8">
                    <c:v>Mousseux Val De Loire</c:v>
                  </c:pt>
                  <c:pt idx="10">
                    <c:v>Mousseux Bourgogne</c:v>
                  </c:pt>
                </c:lvl>
                <c:lvl>
                  <c:pt idx="0">
                    <c:v>Champagnes</c:v>
                  </c:pt>
                  <c:pt idx="4">
                    <c:v>Mousseux</c:v>
                  </c:pt>
                </c:lvl>
              </c:multiLvlStrCache>
            </c:multiLvlStrRef>
          </c:cat>
          <c:val>
            <c:numRef>
              <c:f>Sheet1!$E$2:$E$13</c:f>
              <c:numCache>
                <c:formatCode>General</c:formatCode>
                <c:ptCount val="12"/>
                <c:pt idx="0">
                  <c:v>26.361699999999999</c:v>
                </c:pt>
                <c:pt idx="1">
                  <c:v>29.526199999999999</c:v>
                </c:pt>
                <c:pt idx="2">
                  <c:v>41.983699999999999</c:v>
                </c:pt>
                <c:pt idx="3">
                  <c:v>37.991900000000001</c:v>
                </c:pt>
                <c:pt idx="4">
                  <c:v>8.2279999999999998</c:v>
                </c:pt>
                <c:pt idx="5">
                  <c:v>0</c:v>
                </c:pt>
                <c:pt idx="6">
                  <c:v>6.9306000000000001</c:v>
                </c:pt>
                <c:pt idx="7">
                  <c:v>0</c:v>
                </c:pt>
                <c:pt idx="8">
                  <c:v>7.1753</c:v>
                </c:pt>
                <c:pt idx="9">
                  <c:v>0</c:v>
                </c:pt>
                <c:pt idx="10">
                  <c:v>9.4803999999999995</c:v>
                </c:pt>
                <c:pt idx="11">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0"/>
            <c:bubble3D val="0"/>
            <c:spPr>
              <a:solidFill>
                <a:srgbClr val="AEABAB"/>
              </a:solidFill>
              <a:ln>
                <a:noFill/>
              </a:ln>
              <a:effectLst/>
            </c:spPr>
            <c:extLst>
              <c:ext xmlns:c16="http://schemas.microsoft.com/office/drawing/2014/chart" uri="{C3380CC4-5D6E-409C-BE32-E72D297353CC}">
                <c16:uniqueId val="{00000026-4B23-4768-AE96-7AAF69EC1929}"/>
              </c:ext>
            </c:extLst>
          </c:dPt>
          <c:dPt>
            <c:idx val="5"/>
            <c:invertIfNegative val="0"/>
            <c:bubble3D val="0"/>
            <c:spPr>
              <a:solidFill>
                <a:srgbClr val="CBEAE7"/>
              </a:solidFill>
              <a:ln>
                <a:noFill/>
              </a:ln>
              <a:effectLst/>
            </c:spPr>
            <c:extLst>
              <c:ext xmlns:c16="http://schemas.microsoft.com/office/drawing/2014/chart" uri="{C3380CC4-5D6E-409C-BE32-E72D297353CC}">
                <c16:uniqueId val="{00000006-C486-4167-8002-0794DD94CC5C}"/>
              </c:ext>
            </c:extLst>
          </c:dPt>
          <c:dPt>
            <c:idx val="6"/>
            <c:invertIfNegative val="1"/>
            <c:bubble3D val="0"/>
            <c:spPr>
              <a:solidFill>
                <a:srgbClr val="AEABAB"/>
              </a:solidFill>
              <a:ln>
                <a:noFill/>
              </a:ln>
              <a:effectLst/>
            </c:spPr>
            <c:extLst>
              <c:ext xmlns:c16="http://schemas.microsoft.com/office/drawing/2014/chart" uri="{C3380CC4-5D6E-409C-BE32-E72D297353CC}">
                <c16:uniqueId val="{00000029-90CD-48A1-9DFE-1F463149B1AF}"/>
              </c:ext>
            </c:extLst>
          </c:dPt>
          <c:dPt>
            <c:idx val="7"/>
            <c:invertIfNegative val="0"/>
            <c:bubble3D val="0"/>
            <c:spPr>
              <a:solidFill>
                <a:srgbClr val="CBEAE7"/>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AEABA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AEABA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AEABA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AEABA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AEABA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AEABA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AEABA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AEABA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AEABA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AEABA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AEABA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AEABA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AEABA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7</c:f>
              <c:multiLvlStrCache>
                <c:ptCount val="16"/>
                <c:lvl>
                  <c:pt idx="0">
                    <c:v>Total</c:v>
                  </c:pt>
                  <c:pt idx="1">
                    <c:v>Nicolas</c:v>
                  </c:pt>
                  <c:pt idx="2">
                    <c:v>Total</c:v>
                  </c:pt>
                  <c:pt idx="3">
                    <c:v>Nicolas</c:v>
                  </c:pt>
                  <c:pt idx="4">
                    <c:v>Total</c:v>
                  </c:pt>
                  <c:pt idx="5">
                    <c:v>Nicolas</c:v>
                  </c:pt>
                  <c:pt idx="6">
                    <c:v>Total</c:v>
                  </c:pt>
                  <c:pt idx="7">
                    <c:v>Nicolas</c:v>
                  </c:pt>
                  <c:pt idx="8">
                    <c:v>Total</c:v>
                  </c:pt>
                  <c:pt idx="9">
                    <c:v>Nicolas</c:v>
                  </c:pt>
                  <c:pt idx="10">
                    <c:v>Total</c:v>
                  </c:pt>
                  <c:pt idx="11">
                    <c:v>Nicolas</c:v>
                  </c:pt>
                  <c:pt idx="12">
                    <c:v>Total</c:v>
                  </c:pt>
                  <c:pt idx="13">
                    <c:v>Nicolas</c:v>
                  </c:pt>
                  <c:pt idx="14">
                    <c:v>Total</c:v>
                  </c:pt>
                  <c:pt idx="15">
                    <c:v>Nicolas</c:v>
                  </c:pt>
                </c:lvl>
                <c:lvl>
                  <c:pt idx="0">
                    <c:v>Bruts</c:v>
                  </c:pt>
                  <c:pt idx="2">
                    <c:v>Blanc De Blancs</c:v>
                  </c:pt>
                  <c:pt idx="4">
                    <c:v>Rosés</c:v>
                  </c:pt>
                  <c:pt idx="6">
                    <c:v>Crus</c:v>
                  </c:pt>
                  <c:pt idx="8">
                    <c:v>Millesimes</c:v>
                  </c:pt>
                  <c:pt idx="10">
                    <c:v>Extra Brut</c:v>
                  </c:pt>
                  <c:pt idx="12">
                    <c:v>Mousseux Italiens</c:v>
                  </c:pt>
                  <c:pt idx="14">
                    <c:v>Mousseux Val De Loire</c:v>
                  </c:pt>
                </c:lvl>
                <c:lvl>
                  <c:pt idx="0">
                    <c:v>Champagnes</c:v>
                  </c:pt>
                  <c:pt idx="12">
                    <c:v>Mousseux</c:v>
                  </c:pt>
                </c:lvl>
              </c:multiLvlStrCache>
            </c:multiLvlStrRef>
          </c:cat>
          <c:val>
            <c:numRef>
              <c:f>Sheet1!$D$2:$D$17</c:f>
              <c:numCache>
                <c:formatCode>General</c:formatCode>
                <c:ptCount val="16"/>
                <c:pt idx="0">
                  <c:v>42</c:v>
                </c:pt>
                <c:pt idx="1">
                  <c:v>4.5999999999999996</c:v>
                </c:pt>
                <c:pt idx="2">
                  <c:v>8.1</c:v>
                </c:pt>
                <c:pt idx="3">
                  <c:v>0.5</c:v>
                </c:pt>
                <c:pt idx="4">
                  <c:v>4.3</c:v>
                </c:pt>
                <c:pt idx="5">
                  <c:v>0.4</c:v>
                </c:pt>
                <c:pt idx="6">
                  <c:v>2.9</c:v>
                </c:pt>
                <c:pt idx="7">
                  <c:v>0.1</c:v>
                </c:pt>
                <c:pt idx="8">
                  <c:v>2.5</c:v>
                </c:pt>
                <c:pt idx="9">
                  <c:v>0</c:v>
                </c:pt>
                <c:pt idx="10">
                  <c:v>2.2999999999999998</c:v>
                </c:pt>
                <c:pt idx="11">
                  <c:v>0</c:v>
                </c:pt>
                <c:pt idx="12">
                  <c:v>1.7</c:v>
                </c:pt>
                <c:pt idx="13">
                  <c:v>0</c:v>
                </c:pt>
                <c:pt idx="14">
                  <c:v>1.1000000000000001</c:v>
                </c:pt>
                <c:pt idx="15">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52.4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29.5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97.5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54.8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75.7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90CD-48A1-9DFE-1F463149B1AF}"/>
                </c:ext>
              </c:extLst>
            </c:dLbl>
            <c:dLbl>
              <c:idx val="5"/>
              <c:tx>
                <c:rich>
                  <a:bodyPr/>
                  <a:lstStyle/>
                  <a:p>
                    <a:r>
                      <a:t>38.1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90CD-48A1-9DFE-1F463149B1AF}"/>
                </c:ext>
              </c:extLst>
            </c:dLbl>
            <c:dLbl>
              <c:idx val="6"/>
              <c:tx>
                <c:rich>
                  <a:bodyPr/>
                  <a:lstStyle/>
                  <a:p>
                    <a:r>
                      <a:t>39.9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90CD-48A1-9DFE-1F463149B1AF}"/>
                </c:ext>
              </c:extLst>
            </c:dLbl>
            <c:dLbl>
              <c:idx val="7"/>
              <c:tx>
                <c:rich>
                  <a:bodyPr/>
                  <a:lstStyle/>
                  <a:p>
                    <a:r>
                      <a:t>43.0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90CD-48A1-9DFE-1F463149B1AF}"/>
                </c:ext>
              </c:extLst>
            </c:dLbl>
            <c:dLbl>
              <c:idx val="8"/>
              <c:tx>
                <c:rich>
                  <a:bodyPr/>
                  <a:lstStyle/>
                  <a:p>
                    <a:r>
                      <a:t>180.0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90CD-48A1-9DFE-1F463149B1AF}"/>
                </c:ext>
              </c:extLst>
            </c:dLbl>
            <c:dLbl>
              <c:idx val="9"/>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90CD-48A1-9DFE-1F463149B1AF}"/>
                </c:ext>
              </c:extLst>
            </c:dLbl>
            <c:dLbl>
              <c:idx val="10"/>
              <c:tx>
                <c:rich>
                  <a:bodyPr/>
                  <a:lstStyle/>
                  <a:p>
                    <a:r>
                      <a:t>44.3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90CD-48A1-9DFE-1F463149B1AF}"/>
                </c:ext>
              </c:extLst>
            </c:dLbl>
            <c:dLbl>
              <c:idx val="1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90CD-48A1-9DFE-1F463149B1AF}"/>
                </c:ext>
              </c:extLst>
            </c:dLbl>
            <c:dLbl>
              <c:idx val="12"/>
              <c:tx>
                <c:rich>
                  <a:bodyPr/>
                  <a:lstStyle/>
                  <a:p>
                    <a:r>
                      <a:t>11.9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90CD-48A1-9DFE-1F463149B1AF}"/>
                </c:ext>
              </c:extLst>
            </c:dLbl>
            <c:dLbl>
              <c:idx val="1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90CD-48A1-9DFE-1F463149B1AF}"/>
                </c:ext>
              </c:extLst>
            </c:dLbl>
            <c:dLbl>
              <c:idx val="14"/>
              <c:tx>
                <c:rich>
                  <a:bodyPr/>
                  <a:lstStyle/>
                  <a:p>
                    <a:r>
                      <a:t>15.4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90CD-48A1-9DFE-1F463149B1AF}"/>
                </c:ext>
              </c:extLst>
            </c:dLbl>
            <c:dLbl>
              <c:idx val="1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90CD-48A1-9DFE-1F463149B1AF}"/>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7</c:f>
              <c:multiLvlStrCache>
                <c:ptCount val="16"/>
                <c:lvl>
                  <c:pt idx="0">
                    <c:v>Total</c:v>
                  </c:pt>
                  <c:pt idx="1">
                    <c:v>Nicolas</c:v>
                  </c:pt>
                  <c:pt idx="2">
                    <c:v>Total</c:v>
                  </c:pt>
                  <c:pt idx="3">
                    <c:v>Nicolas</c:v>
                  </c:pt>
                  <c:pt idx="4">
                    <c:v>Total</c:v>
                  </c:pt>
                  <c:pt idx="5">
                    <c:v>Nicolas</c:v>
                  </c:pt>
                  <c:pt idx="6">
                    <c:v>Total</c:v>
                  </c:pt>
                  <c:pt idx="7">
                    <c:v>Nicolas</c:v>
                  </c:pt>
                  <c:pt idx="8">
                    <c:v>Total</c:v>
                  </c:pt>
                  <c:pt idx="9">
                    <c:v>Nicolas</c:v>
                  </c:pt>
                  <c:pt idx="10">
                    <c:v>Total</c:v>
                  </c:pt>
                  <c:pt idx="11">
                    <c:v>Nicolas</c:v>
                  </c:pt>
                  <c:pt idx="12">
                    <c:v>Total</c:v>
                  </c:pt>
                  <c:pt idx="13">
                    <c:v>Nicolas</c:v>
                  </c:pt>
                  <c:pt idx="14">
                    <c:v>Total</c:v>
                  </c:pt>
                  <c:pt idx="15">
                    <c:v>Nicolas</c:v>
                  </c:pt>
                </c:lvl>
                <c:lvl>
                  <c:pt idx="0">
                    <c:v>Bruts</c:v>
                  </c:pt>
                  <c:pt idx="2">
                    <c:v>Blanc De Blancs</c:v>
                  </c:pt>
                  <c:pt idx="4">
                    <c:v>Rosés</c:v>
                  </c:pt>
                  <c:pt idx="6">
                    <c:v>Crus</c:v>
                  </c:pt>
                  <c:pt idx="8">
                    <c:v>Millesimes</c:v>
                  </c:pt>
                  <c:pt idx="10">
                    <c:v>Extra Brut</c:v>
                  </c:pt>
                  <c:pt idx="12">
                    <c:v>Mousseux Italiens</c:v>
                  </c:pt>
                  <c:pt idx="14">
                    <c:v>Mousseux Val De Loire</c:v>
                  </c:pt>
                </c:lvl>
                <c:lvl>
                  <c:pt idx="0">
                    <c:v>Champagnes</c:v>
                  </c:pt>
                  <c:pt idx="12">
                    <c:v>Mousseux</c:v>
                  </c:pt>
                </c:lvl>
              </c:multiLvlStrCache>
            </c:multiLvlStrRef>
          </c:cat>
          <c:val>
            <c:numRef>
              <c:f>Sheet1!$E$2:$E$17</c:f>
              <c:numCache>
                <c:formatCode>General</c:formatCode>
                <c:ptCount val="16"/>
                <c:pt idx="0">
                  <c:v>52.466700000000003</c:v>
                </c:pt>
                <c:pt idx="1">
                  <c:v>29.543600000000001</c:v>
                </c:pt>
                <c:pt idx="2">
                  <c:v>97.591700000000003</c:v>
                </c:pt>
                <c:pt idx="3">
                  <c:v>54.874099999999999</c:v>
                </c:pt>
                <c:pt idx="4">
                  <c:v>75.725800000000007</c:v>
                </c:pt>
                <c:pt idx="5">
                  <c:v>38.1937</c:v>
                </c:pt>
                <c:pt idx="6">
                  <c:v>39.992199999999997</c:v>
                </c:pt>
                <c:pt idx="7">
                  <c:v>43.083599999999997</c:v>
                </c:pt>
                <c:pt idx="8">
                  <c:v>180.0427</c:v>
                </c:pt>
                <c:pt idx="9">
                  <c:v>0</c:v>
                </c:pt>
                <c:pt idx="10">
                  <c:v>44.387300000000003</c:v>
                </c:pt>
                <c:pt idx="11">
                  <c:v>0</c:v>
                </c:pt>
                <c:pt idx="12">
                  <c:v>11.944100000000001</c:v>
                </c:pt>
                <c:pt idx="13">
                  <c:v>0</c:v>
                </c:pt>
                <c:pt idx="14">
                  <c:v>15.4686</c:v>
                </c:pt>
                <c:pt idx="15">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0"/>
            <c:bubble3D val="0"/>
            <c:spPr>
              <a:solidFill>
                <a:srgbClr val="AEABAB"/>
              </a:solidFill>
              <a:ln>
                <a:noFill/>
              </a:ln>
              <a:effectLst/>
            </c:spPr>
            <c:extLst>
              <c:ext xmlns:c16="http://schemas.microsoft.com/office/drawing/2014/chart" uri="{C3380CC4-5D6E-409C-BE32-E72D297353CC}">
                <c16:uniqueId val="{00000026-4B23-4768-AE96-7AAF69EC1929}"/>
              </c:ext>
            </c:extLst>
          </c:dPt>
          <c:dPt>
            <c:idx val="5"/>
            <c:invertIfNegative val="0"/>
            <c:bubble3D val="0"/>
            <c:spPr>
              <a:solidFill>
                <a:srgbClr val="CBEAE7"/>
              </a:solidFill>
              <a:ln>
                <a:noFill/>
              </a:ln>
              <a:effectLst/>
            </c:spPr>
            <c:extLst>
              <c:ext xmlns:c16="http://schemas.microsoft.com/office/drawing/2014/chart" uri="{C3380CC4-5D6E-409C-BE32-E72D297353CC}">
                <c16:uniqueId val="{00000006-C486-4167-8002-0794DD94CC5C}"/>
              </c:ext>
            </c:extLst>
          </c:dPt>
          <c:dPt>
            <c:idx val="6"/>
            <c:invertIfNegative val="1"/>
            <c:bubble3D val="0"/>
            <c:spPr>
              <a:solidFill>
                <a:srgbClr val="AEABAB"/>
              </a:solidFill>
              <a:ln>
                <a:noFill/>
              </a:ln>
              <a:effectLst/>
            </c:spPr>
            <c:extLst>
              <c:ext xmlns:c16="http://schemas.microsoft.com/office/drawing/2014/chart" uri="{C3380CC4-5D6E-409C-BE32-E72D297353CC}">
                <c16:uniqueId val="{00000029-92BF-4AD8-B6EA-90A4426F6E6A}"/>
              </c:ext>
            </c:extLst>
          </c:dPt>
          <c:dPt>
            <c:idx val="7"/>
            <c:invertIfNegative val="0"/>
            <c:bubble3D val="0"/>
            <c:spPr>
              <a:solidFill>
                <a:srgbClr val="CBEAE7"/>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AEABA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AEABA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AEABA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AEABA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AEABA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AEABA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AEABA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AEABA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AEABA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AEABA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AEABA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AEABA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AEABA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7</c:f>
              <c:multiLvlStrCache>
                <c:ptCount val="16"/>
                <c:lvl>
                  <c:pt idx="0">
                    <c:v>Total</c:v>
                  </c:pt>
                  <c:pt idx="1">
                    <c:v>Nicolas</c:v>
                  </c:pt>
                  <c:pt idx="2">
                    <c:v>Total</c:v>
                  </c:pt>
                  <c:pt idx="3">
                    <c:v>Nicolas</c:v>
                  </c:pt>
                  <c:pt idx="4">
                    <c:v>Total</c:v>
                  </c:pt>
                  <c:pt idx="5">
                    <c:v>Nicolas</c:v>
                  </c:pt>
                  <c:pt idx="6">
                    <c:v>Total</c:v>
                  </c:pt>
                  <c:pt idx="7">
                    <c:v>Nicolas</c:v>
                  </c:pt>
                  <c:pt idx="8">
                    <c:v>Total</c:v>
                  </c:pt>
                  <c:pt idx="9">
                    <c:v>Nicolas</c:v>
                  </c:pt>
                  <c:pt idx="10">
                    <c:v>Total</c:v>
                  </c:pt>
                  <c:pt idx="11">
                    <c:v>Nicolas</c:v>
                  </c:pt>
                  <c:pt idx="12">
                    <c:v>Total</c:v>
                  </c:pt>
                  <c:pt idx="13">
                    <c:v>Nicolas</c:v>
                  </c:pt>
                  <c:pt idx="14">
                    <c:v>Total</c:v>
                  </c:pt>
                  <c:pt idx="15">
                    <c:v>Nicolas</c:v>
                  </c:pt>
                </c:lvl>
                <c:lvl>
                  <c:pt idx="0">
                    <c:v>Bruts</c:v>
                  </c:pt>
                  <c:pt idx="2">
                    <c:v>Blanc De Blancs</c:v>
                  </c:pt>
                  <c:pt idx="4">
                    <c:v>Rosés</c:v>
                  </c:pt>
                  <c:pt idx="6">
                    <c:v>Crus</c:v>
                  </c:pt>
                  <c:pt idx="8">
                    <c:v>Extra Brut</c:v>
                  </c:pt>
                  <c:pt idx="10">
                    <c:v>Millesimes</c:v>
                  </c:pt>
                  <c:pt idx="12">
                    <c:v>Mousseux Italiens</c:v>
                  </c:pt>
                  <c:pt idx="14">
                    <c:v>Mousseux Val De Loire</c:v>
                  </c:pt>
                </c:lvl>
                <c:lvl>
                  <c:pt idx="0">
                    <c:v>Champagnes</c:v>
                  </c:pt>
                  <c:pt idx="12">
                    <c:v>Mousseux</c:v>
                  </c:pt>
                </c:lvl>
              </c:multiLvlStrCache>
            </c:multiLvlStrRef>
          </c:cat>
          <c:val>
            <c:numRef>
              <c:f>Sheet1!$D$2:$D$17</c:f>
              <c:numCache>
                <c:formatCode>General</c:formatCode>
                <c:ptCount val="16"/>
                <c:pt idx="0">
                  <c:v>18.8</c:v>
                </c:pt>
                <c:pt idx="1">
                  <c:v>2.1</c:v>
                </c:pt>
                <c:pt idx="2">
                  <c:v>2.8</c:v>
                </c:pt>
                <c:pt idx="3">
                  <c:v>0.2</c:v>
                </c:pt>
                <c:pt idx="4">
                  <c:v>1.8</c:v>
                </c:pt>
                <c:pt idx="5">
                  <c:v>0.2</c:v>
                </c:pt>
                <c:pt idx="6">
                  <c:v>1.4</c:v>
                </c:pt>
                <c:pt idx="7">
                  <c:v>0</c:v>
                </c:pt>
                <c:pt idx="8">
                  <c:v>1.1000000000000001</c:v>
                </c:pt>
                <c:pt idx="9">
                  <c:v>0</c:v>
                </c:pt>
                <c:pt idx="10">
                  <c:v>0.9</c:v>
                </c:pt>
                <c:pt idx="11">
                  <c:v>0</c:v>
                </c:pt>
                <c:pt idx="12">
                  <c:v>0.8</c:v>
                </c:pt>
                <c:pt idx="13">
                  <c:v>0</c:v>
                </c:pt>
                <c:pt idx="14">
                  <c:v>0.6</c:v>
                </c:pt>
                <c:pt idx="15">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52.0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29.6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93.4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54.4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74.9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92BF-4AD8-B6EA-90A4426F6E6A}"/>
                </c:ext>
              </c:extLst>
            </c:dLbl>
            <c:dLbl>
              <c:idx val="5"/>
              <c:tx>
                <c:rich>
                  <a:bodyPr/>
                  <a:lstStyle/>
                  <a:p>
                    <a:r>
                      <a:t>38.4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92BF-4AD8-B6EA-90A4426F6E6A}"/>
                </c:ext>
              </c:extLst>
            </c:dLbl>
            <c:dLbl>
              <c:idx val="6"/>
              <c:tx>
                <c:rich>
                  <a:bodyPr/>
                  <a:lstStyle/>
                  <a:p>
                    <a:r>
                      <a:t>40.0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92BF-4AD8-B6EA-90A4426F6E6A}"/>
                </c:ext>
              </c:extLst>
            </c:dLbl>
            <c:dLbl>
              <c:idx val="7"/>
              <c:tx>
                <c:rich>
                  <a:bodyPr/>
                  <a:lstStyle/>
                  <a:p>
                    <a:r>
                      <a:t>43.5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92BF-4AD8-B6EA-90A4426F6E6A}"/>
                </c:ext>
              </c:extLst>
            </c:dLbl>
            <c:dLbl>
              <c:idx val="8"/>
              <c:tx>
                <c:rich>
                  <a:bodyPr/>
                  <a:lstStyle/>
                  <a:p>
                    <a:r>
                      <a:t>44.2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92BF-4AD8-B6EA-90A4426F6E6A}"/>
                </c:ext>
              </c:extLst>
            </c:dLbl>
            <c:dLbl>
              <c:idx val="9"/>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92BF-4AD8-B6EA-90A4426F6E6A}"/>
                </c:ext>
              </c:extLst>
            </c:dLbl>
            <c:dLbl>
              <c:idx val="10"/>
              <c:tx>
                <c:rich>
                  <a:bodyPr/>
                  <a:lstStyle/>
                  <a:p>
                    <a:r>
                      <a:t>162.9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92BF-4AD8-B6EA-90A4426F6E6A}"/>
                </c:ext>
              </c:extLst>
            </c:dLbl>
            <c:dLbl>
              <c:idx val="1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92BF-4AD8-B6EA-90A4426F6E6A}"/>
                </c:ext>
              </c:extLst>
            </c:dLbl>
            <c:dLbl>
              <c:idx val="12"/>
              <c:tx>
                <c:rich>
                  <a:bodyPr/>
                  <a:lstStyle/>
                  <a:p>
                    <a:r>
                      <a:t>11.9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92BF-4AD8-B6EA-90A4426F6E6A}"/>
                </c:ext>
              </c:extLst>
            </c:dLbl>
            <c:dLbl>
              <c:idx val="1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92BF-4AD8-B6EA-90A4426F6E6A}"/>
                </c:ext>
              </c:extLst>
            </c:dLbl>
            <c:dLbl>
              <c:idx val="14"/>
              <c:tx>
                <c:rich>
                  <a:bodyPr/>
                  <a:lstStyle/>
                  <a:p>
                    <a:r>
                      <a:t>15.5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92BF-4AD8-B6EA-90A4426F6E6A}"/>
                </c:ext>
              </c:extLst>
            </c:dLbl>
            <c:dLbl>
              <c:idx val="1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92BF-4AD8-B6EA-90A4426F6E6A}"/>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7</c:f>
              <c:multiLvlStrCache>
                <c:ptCount val="16"/>
                <c:lvl>
                  <c:pt idx="0">
                    <c:v>Total</c:v>
                  </c:pt>
                  <c:pt idx="1">
                    <c:v>Nicolas</c:v>
                  </c:pt>
                  <c:pt idx="2">
                    <c:v>Total</c:v>
                  </c:pt>
                  <c:pt idx="3">
                    <c:v>Nicolas</c:v>
                  </c:pt>
                  <c:pt idx="4">
                    <c:v>Total</c:v>
                  </c:pt>
                  <c:pt idx="5">
                    <c:v>Nicolas</c:v>
                  </c:pt>
                  <c:pt idx="6">
                    <c:v>Total</c:v>
                  </c:pt>
                  <c:pt idx="7">
                    <c:v>Nicolas</c:v>
                  </c:pt>
                  <c:pt idx="8">
                    <c:v>Total</c:v>
                  </c:pt>
                  <c:pt idx="9">
                    <c:v>Nicolas</c:v>
                  </c:pt>
                  <c:pt idx="10">
                    <c:v>Total</c:v>
                  </c:pt>
                  <c:pt idx="11">
                    <c:v>Nicolas</c:v>
                  </c:pt>
                  <c:pt idx="12">
                    <c:v>Total</c:v>
                  </c:pt>
                  <c:pt idx="13">
                    <c:v>Nicolas</c:v>
                  </c:pt>
                  <c:pt idx="14">
                    <c:v>Total</c:v>
                  </c:pt>
                  <c:pt idx="15">
                    <c:v>Nicolas</c:v>
                  </c:pt>
                </c:lvl>
                <c:lvl>
                  <c:pt idx="0">
                    <c:v>Bruts</c:v>
                  </c:pt>
                  <c:pt idx="2">
                    <c:v>Blanc De Blancs</c:v>
                  </c:pt>
                  <c:pt idx="4">
                    <c:v>Rosés</c:v>
                  </c:pt>
                  <c:pt idx="6">
                    <c:v>Crus</c:v>
                  </c:pt>
                  <c:pt idx="8">
                    <c:v>Extra Brut</c:v>
                  </c:pt>
                  <c:pt idx="10">
                    <c:v>Millesimes</c:v>
                  </c:pt>
                  <c:pt idx="12">
                    <c:v>Mousseux Italiens</c:v>
                  </c:pt>
                  <c:pt idx="14">
                    <c:v>Mousseux Val De Loire</c:v>
                  </c:pt>
                </c:lvl>
                <c:lvl>
                  <c:pt idx="0">
                    <c:v>Champagnes</c:v>
                  </c:pt>
                  <c:pt idx="12">
                    <c:v>Mousseux</c:v>
                  </c:pt>
                </c:lvl>
              </c:multiLvlStrCache>
            </c:multiLvlStrRef>
          </c:cat>
          <c:val>
            <c:numRef>
              <c:f>Sheet1!$E$2:$E$17</c:f>
              <c:numCache>
                <c:formatCode>General</c:formatCode>
                <c:ptCount val="16"/>
                <c:pt idx="0">
                  <c:v>52.0747</c:v>
                </c:pt>
                <c:pt idx="1">
                  <c:v>29.639299999999999</c:v>
                </c:pt>
                <c:pt idx="2">
                  <c:v>93.406300000000002</c:v>
                </c:pt>
                <c:pt idx="3">
                  <c:v>54.441699999999997</c:v>
                </c:pt>
                <c:pt idx="4">
                  <c:v>74.968500000000006</c:v>
                </c:pt>
                <c:pt idx="5">
                  <c:v>38.447499999999998</c:v>
                </c:pt>
                <c:pt idx="6">
                  <c:v>40.025500000000001</c:v>
                </c:pt>
                <c:pt idx="7">
                  <c:v>43.528599999999997</c:v>
                </c:pt>
                <c:pt idx="8">
                  <c:v>44.255899999999997</c:v>
                </c:pt>
                <c:pt idx="9">
                  <c:v>0</c:v>
                </c:pt>
                <c:pt idx="10">
                  <c:v>162.9813</c:v>
                </c:pt>
                <c:pt idx="11">
                  <c:v>0</c:v>
                </c:pt>
                <c:pt idx="12">
                  <c:v>11.971500000000001</c:v>
                </c:pt>
                <c:pt idx="13">
                  <c:v>0</c:v>
                </c:pt>
                <c:pt idx="14">
                  <c:v>15.5694</c:v>
                </c:pt>
                <c:pt idx="15">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0"/>
            <c:bubble3D val="0"/>
            <c:spPr>
              <a:solidFill>
                <a:srgbClr val="AEABAB"/>
              </a:solidFill>
              <a:ln>
                <a:noFill/>
              </a:ln>
              <a:effectLst/>
            </c:spPr>
            <c:extLst>
              <c:ext xmlns:c16="http://schemas.microsoft.com/office/drawing/2014/chart" uri="{C3380CC4-5D6E-409C-BE32-E72D297353CC}">
                <c16:uniqueId val="{00000026-4B23-4768-AE96-7AAF69EC1929}"/>
              </c:ext>
            </c:extLst>
          </c:dPt>
          <c:dPt>
            <c:idx val="5"/>
            <c:invertIfNegative val="0"/>
            <c:bubble3D val="0"/>
            <c:spPr>
              <a:solidFill>
                <a:srgbClr val="CBEAE7"/>
              </a:solidFill>
              <a:ln>
                <a:noFill/>
              </a:ln>
              <a:effectLst/>
            </c:spPr>
            <c:extLst>
              <c:ext xmlns:c16="http://schemas.microsoft.com/office/drawing/2014/chart" uri="{C3380CC4-5D6E-409C-BE32-E72D297353CC}">
                <c16:uniqueId val="{00000006-C486-4167-8002-0794DD94CC5C}"/>
              </c:ext>
            </c:extLst>
          </c:dPt>
          <c:dPt>
            <c:idx val="6"/>
            <c:invertIfNegative val="1"/>
            <c:bubble3D val="0"/>
            <c:spPr>
              <a:solidFill>
                <a:srgbClr val="AEABAB"/>
              </a:solidFill>
              <a:ln>
                <a:noFill/>
              </a:ln>
              <a:effectLst/>
            </c:spPr>
            <c:extLst>
              <c:ext xmlns:c16="http://schemas.microsoft.com/office/drawing/2014/chart" uri="{C3380CC4-5D6E-409C-BE32-E72D297353CC}">
                <c16:uniqueId val="{00000029-2DF0-459C-B577-C030822B0DC1}"/>
              </c:ext>
            </c:extLst>
          </c:dPt>
          <c:dPt>
            <c:idx val="7"/>
            <c:invertIfNegative val="0"/>
            <c:bubble3D val="0"/>
            <c:spPr>
              <a:solidFill>
                <a:srgbClr val="CBEAE7"/>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AEABA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AEABA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AEABA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AEABA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AEABA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AEABA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AEABA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AEABA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AEABA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AEABA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AEABA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AEABA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AEABA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7</c:f>
              <c:multiLvlStrCache>
                <c:ptCount val="16"/>
                <c:lvl>
                  <c:pt idx="0">
                    <c:v>Total</c:v>
                  </c:pt>
                  <c:pt idx="1">
                    <c:v>Nicolas</c:v>
                  </c:pt>
                  <c:pt idx="2">
                    <c:v>Total</c:v>
                  </c:pt>
                  <c:pt idx="3">
                    <c:v>Nicolas</c:v>
                  </c:pt>
                  <c:pt idx="4">
                    <c:v>Total</c:v>
                  </c:pt>
                  <c:pt idx="5">
                    <c:v>Nicolas</c:v>
                  </c:pt>
                  <c:pt idx="6">
                    <c:v>Total</c:v>
                  </c:pt>
                  <c:pt idx="7">
                    <c:v>Nicolas</c:v>
                  </c:pt>
                  <c:pt idx="8">
                    <c:v>Total</c:v>
                  </c:pt>
                  <c:pt idx="9">
                    <c:v>Nicolas</c:v>
                  </c:pt>
                  <c:pt idx="10">
                    <c:v>Total</c:v>
                  </c:pt>
                  <c:pt idx="11">
                    <c:v>Nicolas</c:v>
                  </c:pt>
                  <c:pt idx="12">
                    <c:v>Total</c:v>
                  </c:pt>
                  <c:pt idx="13">
                    <c:v>Nicolas</c:v>
                  </c:pt>
                  <c:pt idx="14">
                    <c:v>Total</c:v>
                  </c:pt>
                  <c:pt idx="15">
                    <c:v>Nicolas</c:v>
                  </c:pt>
                </c:lvl>
                <c:lvl>
                  <c:pt idx="0">
                    <c:v>Bruts</c:v>
                  </c:pt>
                  <c:pt idx="2">
                    <c:v>Blanc De Blancs</c:v>
                  </c:pt>
                  <c:pt idx="4">
                    <c:v>Rosés</c:v>
                  </c:pt>
                  <c:pt idx="6">
                    <c:v>Crus</c:v>
                  </c:pt>
                  <c:pt idx="8">
                    <c:v>Millesimes</c:v>
                  </c:pt>
                  <c:pt idx="10">
                    <c:v>Extra Brut</c:v>
                  </c:pt>
                  <c:pt idx="12">
                    <c:v>Mousseux Italiens</c:v>
                  </c:pt>
                  <c:pt idx="14">
                    <c:v>Mousseux Val De Loire</c:v>
                  </c:pt>
                </c:lvl>
                <c:lvl>
                  <c:pt idx="0">
                    <c:v>Champagnes</c:v>
                  </c:pt>
                  <c:pt idx="12">
                    <c:v>Mousseux</c:v>
                  </c:pt>
                </c:lvl>
              </c:multiLvlStrCache>
            </c:multiLvlStrRef>
          </c:cat>
          <c:val>
            <c:numRef>
              <c:f>Sheet1!$D$2:$D$17</c:f>
              <c:numCache>
                <c:formatCode>General</c:formatCode>
                <c:ptCount val="16"/>
                <c:pt idx="0">
                  <c:v>8</c:v>
                </c:pt>
                <c:pt idx="1">
                  <c:v>1</c:v>
                </c:pt>
                <c:pt idx="2">
                  <c:v>1.8</c:v>
                </c:pt>
                <c:pt idx="3">
                  <c:v>0.1</c:v>
                </c:pt>
                <c:pt idx="4">
                  <c:v>0.8</c:v>
                </c:pt>
                <c:pt idx="5">
                  <c:v>0.1</c:v>
                </c:pt>
                <c:pt idx="6">
                  <c:v>0.6</c:v>
                </c:pt>
                <c:pt idx="7">
                  <c:v>0</c:v>
                </c:pt>
                <c:pt idx="8">
                  <c:v>0.4</c:v>
                </c:pt>
                <c:pt idx="9">
                  <c:v>0</c:v>
                </c:pt>
                <c:pt idx="10">
                  <c:v>0.4</c:v>
                </c:pt>
                <c:pt idx="11">
                  <c:v>0</c:v>
                </c:pt>
                <c:pt idx="12">
                  <c:v>0.3</c:v>
                </c:pt>
                <c:pt idx="13">
                  <c:v>0</c:v>
                </c:pt>
                <c:pt idx="14">
                  <c:v>0.2</c:v>
                </c:pt>
                <c:pt idx="15">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50.8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29.4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89.9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54.3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69.4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2DF0-459C-B577-C030822B0DC1}"/>
                </c:ext>
              </c:extLst>
            </c:dLbl>
            <c:dLbl>
              <c:idx val="5"/>
              <c:tx>
                <c:rich>
                  <a:bodyPr/>
                  <a:lstStyle/>
                  <a:p>
                    <a:r>
                      <a:t>37.5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2DF0-459C-B577-C030822B0DC1}"/>
                </c:ext>
              </c:extLst>
            </c:dLbl>
            <c:dLbl>
              <c:idx val="6"/>
              <c:tx>
                <c:rich>
                  <a:bodyPr/>
                  <a:lstStyle/>
                  <a:p>
                    <a:r>
                      <a:t>39.7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2DF0-459C-B577-C030822B0DC1}"/>
                </c:ext>
              </c:extLst>
            </c:dLbl>
            <c:dLbl>
              <c:idx val="7"/>
              <c:tx>
                <c:rich>
                  <a:bodyPr/>
                  <a:lstStyle/>
                  <a:p>
                    <a:r>
                      <a:t>42.7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2DF0-459C-B577-C030822B0DC1}"/>
                </c:ext>
              </c:extLst>
            </c:dLbl>
            <c:dLbl>
              <c:idx val="8"/>
              <c:tx>
                <c:rich>
                  <a:bodyPr/>
                  <a:lstStyle/>
                  <a:p>
                    <a:r>
                      <a:t>165.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2DF0-459C-B577-C030822B0DC1}"/>
                </c:ext>
              </c:extLst>
            </c:dLbl>
            <c:dLbl>
              <c:idx val="9"/>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2DF0-459C-B577-C030822B0DC1}"/>
                </c:ext>
              </c:extLst>
            </c:dLbl>
            <c:dLbl>
              <c:idx val="10"/>
              <c:tx>
                <c:rich>
                  <a:bodyPr/>
                  <a:lstStyle/>
                  <a:p>
                    <a:r>
                      <a:t>43.8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2DF0-459C-B577-C030822B0DC1}"/>
                </c:ext>
              </c:extLst>
            </c:dLbl>
            <c:dLbl>
              <c:idx val="1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2DF0-459C-B577-C030822B0DC1}"/>
                </c:ext>
              </c:extLst>
            </c:dLbl>
            <c:dLbl>
              <c:idx val="12"/>
              <c:tx>
                <c:rich>
                  <a:bodyPr/>
                  <a:lstStyle/>
                  <a:p>
                    <a:r>
                      <a:t>11.8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2DF0-459C-B577-C030822B0DC1}"/>
                </c:ext>
              </c:extLst>
            </c:dLbl>
            <c:dLbl>
              <c:idx val="1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2DF0-459C-B577-C030822B0DC1}"/>
                </c:ext>
              </c:extLst>
            </c:dLbl>
            <c:dLbl>
              <c:idx val="14"/>
              <c:tx>
                <c:rich>
                  <a:bodyPr/>
                  <a:lstStyle/>
                  <a:p>
                    <a:r>
                      <a:t>15.2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2DF0-459C-B577-C030822B0DC1}"/>
                </c:ext>
              </c:extLst>
            </c:dLbl>
            <c:dLbl>
              <c:idx val="1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2DF0-459C-B577-C030822B0DC1}"/>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7</c:f>
              <c:multiLvlStrCache>
                <c:ptCount val="16"/>
                <c:lvl>
                  <c:pt idx="0">
                    <c:v>Total</c:v>
                  </c:pt>
                  <c:pt idx="1">
                    <c:v>Nicolas</c:v>
                  </c:pt>
                  <c:pt idx="2">
                    <c:v>Total</c:v>
                  </c:pt>
                  <c:pt idx="3">
                    <c:v>Nicolas</c:v>
                  </c:pt>
                  <c:pt idx="4">
                    <c:v>Total</c:v>
                  </c:pt>
                  <c:pt idx="5">
                    <c:v>Nicolas</c:v>
                  </c:pt>
                  <c:pt idx="6">
                    <c:v>Total</c:v>
                  </c:pt>
                  <c:pt idx="7">
                    <c:v>Nicolas</c:v>
                  </c:pt>
                  <c:pt idx="8">
                    <c:v>Total</c:v>
                  </c:pt>
                  <c:pt idx="9">
                    <c:v>Nicolas</c:v>
                  </c:pt>
                  <c:pt idx="10">
                    <c:v>Total</c:v>
                  </c:pt>
                  <c:pt idx="11">
                    <c:v>Nicolas</c:v>
                  </c:pt>
                  <c:pt idx="12">
                    <c:v>Total</c:v>
                  </c:pt>
                  <c:pt idx="13">
                    <c:v>Nicolas</c:v>
                  </c:pt>
                  <c:pt idx="14">
                    <c:v>Total</c:v>
                  </c:pt>
                  <c:pt idx="15">
                    <c:v>Nicolas</c:v>
                  </c:pt>
                </c:lvl>
                <c:lvl>
                  <c:pt idx="0">
                    <c:v>Bruts</c:v>
                  </c:pt>
                  <c:pt idx="2">
                    <c:v>Blanc De Blancs</c:v>
                  </c:pt>
                  <c:pt idx="4">
                    <c:v>Rosés</c:v>
                  </c:pt>
                  <c:pt idx="6">
                    <c:v>Crus</c:v>
                  </c:pt>
                  <c:pt idx="8">
                    <c:v>Millesimes</c:v>
                  </c:pt>
                  <c:pt idx="10">
                    <c:v>Extra Brut</c:v>
                  </c:pt>
                  <c:pt idx="12">
                    <c:v>Mousseux Italiens</c:v>
                  </c:pt>
                  <c:pt idx="14">
                    <c:v>Mousseux Val De Loire</c:v>
                  </c:pt>
                </c:lvl>
                <c:lvl>
                  <c:pt idx="0">
                    <c:v>Champagnes</c:v>
                  </c:pt>
                  <c:pt idx="12">
                    <c:v>Mousseux</c:v>
                  </c:pt>
                </c:lvl>
              </c:multiLvlStrCache>
            </c:multiLvlStrRef>
          </c:cat>
          <c:val>
            <c:numRef>
              <c:f>Sheet1!$E$2:$E$17</c:f>
              <c:numCache>
                <c:formatCode>General</c:formatCode>
                <c:ptCount val="16"/>
                <c:pt idx="0">
                  <c:v>50.809600000000003</c:v>
                </c:pt>
                <c:pt idx="1">
                  <c:v>29.407</c:v>
                </c:pt>
                <c:pt idx="2">
                  <c:v>89.915599999999998</c:v>
                </c:pt>
                <c:pt idx="3">
                  <c:v>54.375500000000002</c:v>
                </c:pt>
                <c:pt idx="4">
                  <c:v>69.418400000000005</c:v>
                </c:pt>
                <c:pt idx="5">
                  <c:v>37.555500000000002</c:v>
                </c:pt>
                <c:pt idx="6">
                  <c:v>39.741700000000002</c:v>
                </c:pt>
                <c:pt idx="7">
                  <c:v>42.764400000000002</c:v>
                </c:pt>
                <c:pt idx="8">
                  <c:v>165.1045</c:v>
                </c:pt>
                <c:pt idx="9">
                  <c:v>0</c:v>
                </c:pt>
                <c:pt idx="10">
                  <c:v>43.831200000000003</c:v>
                </c:pt>
                <c:pt idx="11">
                  <c:v>0</c:v>
                </c:pt>
                <c:pt idx="12">
                  <c:v>11.875500000000001</c:v>
                </c:pt>
                <c:pt idx="13">
                  <c:v>0</c:v>
                </c:pt>
                <c:pt idx="14">
                  <c:v>15.2592</c:v>
                </c:pt>
                <c:pt idx="15">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0"/>
            <c:bubble3D val="0"/>
            <c:spPr>
              <a:solidFill>
                <a:srgbClr val="AEABAB"/>
              </a:solidFill>
              <a:ln>
                <a:noFill/>
              </a:ln>
              <a:effectLst/>
            </c:spPr>
            <c:extLst>
              <c:ext xmlns:c16="http://schemas.microsoft.com/office/drawing/2014/chart" uri="{C3380CC4-5D6E-409C-BE32-E72D297353CC}">
                <c16:uniqueId val="{00000026-4B23-4768-AE96-7AAF69EC1929}"/>
              </c:ext>
            </c:extLst>
          </c:dPt>
          <c:dPt>
            <c:idx val="5"/>
            <c:invertIfNegative val="0"/>
            <c:bubble3D val="0"/>
            <c:spPr>
              <a:solidFill>
                <a:srgbClr val="CBEAE7"/>
              </a:solidFill>
              <a:ln>
                <a:noFill/>
              </a:ln>
              <a:effectLst/>
            </c:spPr>
            <c:extLst>
              <c:ext xmlns:c16="http://schemas.microsoft.com/office/drawing/2014/chart" uri="{C3380CC4-5D6E-409C-BE32-E72D297353CC}">
                <c16:uniqueId val="{00000006-C486-4167-8002-0794DD94CC5C}"/>
              </c:ext>
            </c:extLst>
          </c:dPt>
          <c:dPt>
            <c:idx val="6"/>
            <c:invertIfNegative val="1"/>
            <c:bubble3D val="0"/>
            <c:spPr>
              <a:solidFill>
                <a:srgbClr val="AEABAB"/>
              </a:solidFill>
              <a:ln>
                <a:noFill/>
              </a:ln>
              <a:effectLst/>
            </c:spPr>
            <c:extLst>
              <c:ext xmlns:c16="http://schemas.microsoft.com/office/drawing/2014/chart" uri="{C3380CC4-5D6E-409C-BE32-E72D297353CC}">
                <c16:uniqueId val="{00000029-B5F8-49B0-AFB6-DA7D62287EF2}"/>
              </c:ext>
            </c:extLst>
          </c:dPt>
          <c:dPt>
            <c:idx val="7"/>
            <c:invertIfNegative val="0"/>
            <c:bubble3D val="0"/>
            <c:spPr>
              <a:solidFill>
                <a:srgbClr val="CBEAE7"/>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AEABA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AEABA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AEABA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AEABA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AEABA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AEABA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AEABA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AEABA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AEABA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AEABA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AEABA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AEABA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AEABA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7</c:f>
              <c:multiLvlStrCache>
                <c:ptCount val="16"/>
                <c:lvl>
                  <c:pt idx="0">
                    <c:v>Total</c:v>
                  </c:pt>
                  <c:pt idx="1">
                    <c:v>Nicolas</c:v>
                  </c:pt>
                  <c:pt idx="2">
                    <c:v>Total</c:v>
                  </c:pt>
                  <c:pt idx="3">
                    <c:v>Nicolas</c:v>
                  </c:pt>
                  <c:pt idx="4">
                    <c:v>Total</c:v>
                  </c:pt>
                  <c:pt idx="5">
                    <c:v>Nicolas</c:v>
                  </c:pt>
                  <c:pt idx="6">
                    <c:v>Total</c:v>
                  </c:pt>
                  <c:pt idx="7">
                    <c:v>Nicolas</c:v>
                  </c:pt>
                  <c:pt idx="8">
                    <c:v>Total</c:v>
                  </c:pt>
                  <c:pt idx="9">
                    <c:v>Nicolas</c:v>
                  </c:pt>
                  <c:pt idx="10">
                    <c:v>Total</c:v>
                  </c:pt>
                  <c:pt idx="11">
                    <c:v>Nicolas</c:v>
                  </c:pt>
                  <c:pt idx="12">
                    <c:v>Total</c:v>
                  </c:pt>
                  <c:pt idx="13">
                    <c:v>Nicolas</c:v>
                  </c:pt>
                  <c:pt idx="14">
                    <c:v>Total</c:v>
                  </c:pt>
                  <c:pt idx="15">
                    <c:v>Nicolas</c:v>
                  </c:pt>
                </c:lvl>
                <c:lvl>
                  <c:pt idx="0">
                    <c:v>Bruts</c:v>
                  </c:pt>
                  <c:pt idx="2">
                    <c:v>Blanc De Blancs</c:v>
                  </c:pt>
                  <c:pt idx="4">
                    <c:v>Rosés</c:v>
                  </c:pt>
                  <c:pt idx="6">
                    <c:v>Millesimes</c:v>
                  </c:pt>
                  <c:pt idx="8">
                    <c:v>Crus</c:v>
                  </c:pt>
                  <c:pt idx="10">
                    <c:v>Extra Brut</c:v>
                  </c:pt>
                  <c:pt idx="12">
                    <c:v>Mousseux Italiens</c:v>
                  </c:pt>
                  <c:pt idx="14">
                    <c:v>Mousseux Val De Loire</c:v>
                  </c:pt>
                </c:lvl>
                <c:lvl>
                  <c:pt idx="0">
                    <c:v>Champagnes</c:v>
                  </c:pt>
                  <c:pt idx="12">
                    <c:v>Mousseux</c:v>
                  </c:pt>
                </c:lvl>
              </c:multiLvlStrCache>
            </c:multiLvlStrRef>
          </c:cat>
          <c:val>
            <c:numRef>
              <c:f>Sheet1!$D$2:$D$17</c:f>
              <c:numCache>
                <c:formatCode>General</c:formatCode>
                <c:ptCount val="16"/>
                <c:pt idx="0">
                  <c:v>5</c:v>
                </c:pt>
                <c:pt idx="1">
                  <c:v>0.5</c:v>
                </c:pt>
                <c:pt idx="2">
                  <c:v>1</c:v>
                </c:pt>
                <c:pt idx="3">
                  <c:v>0</c:v>
                </c:pt>
                <c:pt idx="4">
                  <c:v>0.5</c:v>
                </c:pt>
                <c:pt idx="5">
                  <c:v>0</c:v>
                </c:pt>
                <c:pt idx="6">
                  <c:v>0.4</c:v>
                </c:pt>
                <c:pt idx="7">
                  <c:v>0</c:v>
                </c:pt>
                <c:pt idx="8">
                  <c:v>0.4</c:v>
                </c:pt>
                <c:pt idx="9">
                  <c:v>0</c:v>
                </c:pt>
                <c:pt idx="10">
                  <c:v>0.3</c:v>
                </c:pt>
                <c:pt idx="11">
                  <c:v>0</c:v>
                </c:pt>
                <c:pt idx="12">
                  <c:v>0.2</c:v>
                </c:pt>
                <c:pt idx="13">
                  <c:v>0</c:v>
                </c:pt>
                <c:pt idx="14">
                  <c:v>0.1</c:v>
                </c:pt>
                <c:pt idx="15">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54.1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29.7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105.4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55.9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77.8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B5F8-49B0-AFB6-DA7D62287EF2}"/>
                </c:ext>
              </c:extLst>
            </c:dLbl>
            <c:dLbl>
              <c:idx val="5"/>
              <c:tx>
                <c:rich>
                  <a:bodyPr/>
                  <a:lstStyle/>
                  <a:p>
                    <a:r>
                      <a:t>39.3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B5F8-49B0-AFB6-DA7D62287EF2}"/>
                </c:ext>
              </c:extLst>
            </c:dLbl>
            <c:dLbl>
              <c:idx val="6"/>
              <c:tx>
                <c:rich>
                  <a:bodyPr/>
                  <a:lstStyle/>
                  <a:p>
                    <a:r>
                      <a:t>199.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B5F8-49B0-AFB6-DA7D62287EF2}"/>
                </c:ext>
              </c:extLst>
            </c:dLbl>
            <c:dLbl>
              <c:idx val="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B5F8-49B0-AFB6-DA7D62287EF2}"/>
                </c:ext>
              </c:extLst>
            </c:dLbl>
            <c:dLbl>
              <c:idx val="8"/>
              <c:tx>
                <c:rich>
                  <a:bodyPr/>
                  <a:lstStyle/>
                  <a:p>
                    <a:r>
                      <a:t>40.2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B5F8-49B0-AFB6-DA7D62287EF2}"/>
                </c:ext>
              </c:extLst>
            </c:dLbl>
            <c:dLbl>
              <c:idx val="9"/>
              <c:tx>
                <c:rich>
                  <a:bodyPr/>
                  <a:lstStyle/>
                  <a:p>
                    <a:r>
                      <a:t>43.1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B5F8-49B0-AFB6-DA7D62287EF2}"/>
                </c:ext>
              </c:extLst>
            </c:dLbl>
            <c:dLbl>
              <c:idx val="10"/>
              <c:tx>
                <c:rich>
                  <a:bodyPr/>
                  <a:lstStyle/>
                  <a:p>
                    <a:r>
                      <a:t>44.9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B5F8-49B0-AFB6-DA7D62287EF2}"/>
                </c:ext>
              </c:extLst>
            </c:dLbl>
            <c:dLbl>
              <c:idx val="1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B5F8-49B0-AFB6-DA7D62287EF2}"/>
                </c:ext>
              </c:extLst>
            </c:dLbl>
            <c:dLbl>
              <c:idx val="12"/>
              <c:tx>
                <c:rich>
                  <a:bodyPr/>
                  <a:lstStyle/>
                  <a:p>
                    <a:r>
                      <a:t>12.1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B5F8-49B0-AFB6-DA7D62287EF2}"/>
                </c:ext>
              </c:extLst>
            </c:dLbl>
            <c:dLbl>
              <c:idx val="1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B5F8-49B0-AFB6-DA7D62287EF2}"/>
                </c:ext>
              </c:extLst>
            </c:dLbl>
            <c:dLbl>
              <c:idx val="14"/>
              <c:tx>
                <c:rich>
                  <a:bodyPr/>
                  <a:lstStyle/>
                  <a:p>
                    <a:r>
                      <a:t>15.9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B5F8-49B0-AFB6-DA7D62287EF2}"/>
                </c:ext>
              </c:extLst>
            </c:dLbl>
            <c:dLbl>
              <c:idx val="1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B5F8-49B0-AFB6-DA7D62287EF2}"/>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7</c:f>
              <c:multiLvlStrCache>
                <c:ptCount val="16"/>
                <c:lvl>
                  <c:pt idx="0">
                    <c:v>Total</c:v>
                  </c:pt>
                  <c:pt idx="1">
                    <c:v>Nicolas</c:v>
                  </c:pt>
                  <c:pt idx="2">
                    <c:v>Total</c:v>
                  </c:pt>
                  <c:pt idx="3">
                    <c:v>Nicolas</c:v>
                  </c:pt>
                  <c:pt idx="4">
                    <c:v>Total</c:v>
                  </c:pt>
                  <c:pt idx="5">
                    <c:v>Nicolas</c:v>
                  </c:pt>
                  <c:pt idx="6">
                    <c:v>Total</c:v>
                  </c:pt>
                  <c:pt idx="7">
                    <c:v>Nicolas</c:v>
                  </c:pt>
                  <c:pt idx="8">
                    <c:v>Total</c:v>
                  </c:pt>
                  <c:pt idx="9">
                    <c:v>Nicolas</c:v>
                  </c:pt>
                  <c:pt idx="10">
                    <c:v>Total</c:v>
                  </c:pt>
                  <c:pt idx="11">
                    <c:v>Nicolas</c:v>
                  </c:pt>
                  <c:pt idx="12">
                    <c:v>Total</c:v>
                  </c:pt>
                  <c:pt idx="13">
                    <c:v>Nicolas</c:v>
                  </c:pt>
                  <c:pt idx="14">
                    <c:v>Total</c:v>
                  </c:pt>
                  <c:pt idx="15">
                    <c:v>Nicolas</c:v>
                  </c:pt>
                </c:lvl>
                <c:lvl>
                  <c:pt idx="0">
                    <c:v>Bruts</c:v>
                  </c:pt>
                  <c:pt idx="2">
                    <c:v>Blanc De Blancs</c:v>
                  </c:pt>
                  <c:pt idx="4">
                    <c:v>Rosés</c:v>
                  </c:pt>
                  <c:pt idx="6">
                    <c:v>Millesimes</c:v>
                  </c:pt>
                  <c:pt idx="8">
                    <c:v>Crus</c:v>
                  </c:pt>
                  <c:pt idx="10">
                    <c:v>Extra Brut</c:v>
                  </c:pt>
                  <c:pt idx="12">
                    <c:v>Mousseux Italiens</c:v>
                  </c:pt>
                  <c:pt idx="14">
                    <c:v>Mousseux Val De Loire</c:v>
                  </c:pt>
                </c:lvl>
                <c:lvl>
                  <c:pt idx="0">
                    <c:v>Champagnes</c:v>
                  </c:pt>
                  <c:pt idx="12">
                    <c:v>Mousseux</c:v>
                  </c:pt>
                </c:lvl>
              </c:multiLvlStrCache>
            </c:multiLvlStrRef>
          </c:cat>
          <c:val>
            <c:numRef>
              <c:f>Sheet1!$E$2:$E$17</c:f>
              <c:numCache>
                <c:formatCode>General</c:formatCode>
                <c:ptCount val="16"/>
                <c:pt idx="0">
                  <c:v>54.107599999999998</c:v>
                </c:pt>
                <c:pt idx="1">
                  <c:v>29.730899999999998</c:v>
                </c:pt>
                <c:pt idx="2">
                  <c:v>105.47490000000001</c:v>
                </c:pt>
                <c:pt idx="3">
                  <c:v>55.932699999999997</c:v>
                </c:pt>
                <c:pt idx="4">
                  <c:v>77.8583</c:v>
                </c:pt>
                <c:pt idx="5">
                  <c:v>39.375799999999998</c:v>
                </c:pt>
                <c:pt idx="6">
                  <c:v>199.89930000000001</c:v>
                </c:pt>
                <c:pt idx="7">
                  <c:v>0</c:v>
                </c:pt>
                <c:pt idx="8">
                  <c:v>40.273899999999998</c:v>
                </c:pt>
                <c:pt idx="9">
                  <c:v>43.153799999999997</c:v>
                </c:pt>
                <c:pt idx="10">
                  <c:v>44.922400000000003</c:v>
                </c:pt>
                <c:pt idx="11">
                  <c:v>0</c:v>
                </c:pt>
                <c:pt idx="12">
                  <c:v>12.126799999999999</c:v>
                </c:pt>
                <c:pt idx="13">
                  <c:v>0</c:v>
                </c:pt>
                <c:pt idx="14">
                  <c:v>15.9879</c:v>
                </c:pt>
                <c:pt idx="15">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4880216B-3129-4762-9A90-B9F2516BAEE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9EAE5578-C809-45FE-875D-E30B95508B9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71-46D6-BBFE-7C00E0D51738}"/>
                </c:ext>
              </c:extLst>
            </c:dLbl>
            <c:dLbl>
              <c:idx val="3"/>
              <c:tx>
                <c:rich>
                  <a:bodyPr/>
                  <a:lstStyle/>
                  <a:p>
                    <a:fld id="{D088B383-0A32-4137-B73B-11B66610138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71-46D6-BBFE-7C00E0D51738}"/>
                </c:ext>
              </c:extLst>
            </c:dLbl>
            <c:dLbl>
              <c:idx val="4"/>
              <c:tx>
                <c:rich>
                  <a:bodyPr/>
                  <a:lstStyle/>
                  <a:p>
                    <a:fld id="{7A7119C2-3B57-44EC-B2DE-72F8FCACDB5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871-46D6-BBFE-7C00E0D51738}"/>
                </c:ext>
              </c:extLst>
            </c:dLbl>
            <c:dLbl>
              <c:idx val="5"/>
              <c:tx>
                <c:rich>
                  <a:bodyPr/>
                  <a:lstStyle/>
                  <a:p>
                    <a:fld id="{1A77116A-B8AB-46F7-BFB2-B4C8B88B042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D871-46D6-BBFE-7C00E0D51738}"/>
                </c:ext>
              </c:extLst>
            </c:dLbl>
            <c:dLbl>
              <c:idx val="6"/>
              <c:tx>
                <c:rich>
                  <a:bodyPr/>
                  <a:lstStyle/>
                  <a:p>
                    <a:fld id="{2B1787D9-76FF-4F00-9D25-39B933937A3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D871-46D6-BBFE-7C00E0D51738}"/>
                </c:ext>
              </c:extLst>
            </c:dLbl>
            <c:dLbl>
              <c:idx val="7"/>
              <c:tx>
                <c:rich>
                  <a:bodyPr/>
                  <a:lstStyle/>
                  <a:p>
                    <a:fld id="{DB422B81-C3D4-4FC5-90EC-D412D46993C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71-46D6-BBFE-7C00E0D51738}"/>
                </c:ext>
              </c:extLst>
            </c:dLbl>
            <c:dLbl>
              <c:idx val="8"/>
              <c:tx>
                <c:rich>
                  <a:bodyPr/>
                  <a:lstStyle/>
                  <a:p>
                    <a:fld id="{A5AC439E-1E62-4C4D-9983-2DFD184E153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5.3131000000000004</c:v>
                </c:pt>
                <c:pt idx="1">
                  <c:v>7.2641</c:v>
                </c:pt>
                <c:pt idx="2">
                  <c:v>6.9162999999999997</c:v>
                </c:pt>
                <c:pt idx="3">
                  <c:v>6.5225999999999997</c:v>
                </c:pt>
                <c:pt idx="4">
                  <c:v>7.99</c:v>
                </c:pt>
                <c:pt idx="5">
                  <c:v>7.0077999999999996</c:v>
                </c:pt>
                <c:pt idx="6">
                  <c:v>5.8705999999999996</c:v>
                </c:pt>
              </c:numCache>
            </c:numRef>
          </c:xVal>
          <c:yVal>
            <c:numRef>
              <c:f>Sheet1!$B$2:$B$8</c:f>
              <c:numCache>
                <c:formatCode>General</c:formatCode>
                <c:ptCount val="7"/>
                <c:pt idx="0">
                  <c:v>0.92200000000000004</c:v>
                </c:pt>
                <c:pt idx="1">
                  <c:v>1.083</c:v>
                </c:pt>
                <c:pt idx="2">
                  <c:v>1.22</c:v>
                </c:pt>
                <c:pt idx="3">
                  <c:v>0.96299999999999997</c:v>
                </c:pt>
                <c:pt idx="4">
                  <c:v>1.373</c:v>
                </c:pt>
                <c:pt idx="5">
                  <c:v>1.2350000000000001</c:v>
                </c:pt>
                <c:pt idx="6">
                  <c:v>0.29699999999999999</c:v>
                </c:pt>
              </c:numCache>
            </c:numRef>
          </c:yVal>
          <c:bubbleSize>
            <c:numRef>
              <c:f>Sheet1!$C$2:$C$8</c:f>
              <c:numCache>
                <c:formatCode>General</c:formatCode>
                <c:ptCount val="7"/>
                <c:pt idx="0">
                  <c:v>3233122</c:v>
                </c:pt>
                <c:pt idx="1">
                  <c:v>2298436</c:v>
                </c:pt>
                <c:pt idx="2">
                  <c:v>2130700</c:v>
                </c:pt>
                <c:pt idx="3">
                  <c:v>1540334</c:v>
                </c:pt>
                <c:pt idx="4">
                  <c:v>1026974</c:v>
                </c:pt>
                <c:pt idx="5">
                  <c:v>477794</c:v>
                </c:pt>
                <c:pt idx="6">
                  <c:v>162181</c:v>
                </c:pt>
              </c:numCache>
            </c:numRef>
          </c:bubbleSize>
          <c:bubble3D val="0"/>
          <c:extLst>
            <c:ext xmlns:c15="http://schemas.microsoft.com/office/drawing/2012/chart" uri="{02D57815-91ED-43cb-92C2-25804820EDAC}">
              <c15:datalabelsRange>
                <c15:f>Sheet1!$E$2:$E$10</c15:f>
                <c15:dlblRangeCache>
                  <c:ptCount val="9"/>
                  <c:pt idx="0">
                    <c:v>Mdd</c:v>
                  </c:pt>
                  <c:pt idx="1">
                    <c:v>Ballarin Jean Louis</c:v>
                  </c:pt>
                  <c:pt idx="2">
                    <c:v>Malesan</c:v>
                  </c:pt>
                  <c:pt idx="3">
                    <c:v>Jaillance</c:v>
                  </c:pt>
                  <c:pt idx="4">
                    <c:v>Sieur Gaillard</c:v>
                  </c:pt>
                  <c:pt idx="5">
                    <c:v>Les Cordeliers</c:v>
                  </c:pt>
                  <c:pt idx="6">
                    <c:v>Calvet</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0"/>
          <c:min val="4"/>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0"/>
            <c:bubble3D val="0"/>
            <c:spPr>
              <a:solidFill>
                <a:srgbClr val="AEABAB"/>
              </a:solidFill>
              <a:ln>
                <a:noFill/>
              </a:ln>
              <a:effectLst/>
            </c:spPr>
            <c:extLst>
              <c:ext xmlns:c16="http://schemas.microsoft.com/office/drawing/2014/chart" uri="{C3380CC4-5D6E-409C-BE32-E72D297353CC}">
                <c16:uniqueId val="{00000026-4B23-4768-AE96-7AAF69EC1929}"/>
              </c:ext>
            </c:extLst>
          </c:dPt>
          <c:dPt>
            <c:idx val="5"/>
            <c:invertIfNegative val="0"/>
            <c:bubble3D val="0"/>
            <c:spPr>
              <a:solidFill>
                <a:srgbClr val="CBEAE7"/>
              </a:solidFill>
              <a:ln>
                <a:noFill/>
              </a:ln>
              <a:effectLst/>
            </c:spPr>
            <c:extLst>
              <c:ext xmlns:c16="http://schemas.microsoft.com/office/drawing/2014/chart" uri="{C3380CC4-5D6E-409C-BE32-E72D297353CC}">
                <c16:uniqueId val="{00000006-C486-4167-8002-0794DD94CC5C}"/>
              </c:ext>
            </c:extLst>
          </c:dPt>
          <c:dPt>
            <c:idx val="6"/>
            <c:invertIfNegative val="1"/>
            <c:bubble3D val="0"/>
            <c:spPr>
              <a:solidFill>
                <a:srgbClr val="AEABAB"/>
              </a:solidFill>
              <a:ln>
                <a:noFill/>
              </a:ln>
              <a:effectLst/>
            </c:spPr>
            <c:extLst>
              <c:ext xmlns:c16="http://schemas.microsoft.com/office/drawing/2014/chart" uri="{C3380CC4-5D6E-409C-BE32-E72D297353CC}">
                <c16:uniqueId val="{00000029-E66E-4B23-B436-AFB28BCCF1FA}"/>
              </c:ext>
            </c:extLst>
          </c:dPt>
          <c:dPt>
            <c:idx val="7"/>
            <c:invertIfNegative val="0"/>
            <c:bubble3D val="0"/>
            <c:spPr>
              <a:solidFill>
                <a:srgbClr val="AEABA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AEABA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AEABA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AEABA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AEABA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AEABA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AEABA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AEABA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AEABA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AEABA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AEABA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AEABA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AEABA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AEABA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5</c:f>
              <c:multiLvlStrCache>
                <c:ptCount val="14"/>
                <c:lvl>
                  <c:pt idx="0">
                    <c:v>Total</c:v>
                  </c:pt>
                  <c:pt idx="1">
                    <c:v>Nicolas</c:v>
                  </c:pt>
                  <c:pt idx="2">
                    <c:v>Total</c:v>
                  </c:pt>
                  <c:pt idx="3">
                    <c:v>Nicolas</c:v>
                  </c:pt>
                  <c:pt idx="4">
                    <c:v>Total</c:v>
                  </c:pt>
                  <c:pt idx="5">
                    <c:v>Nicolas</c:v>
                  </c:pt>
                  <c:pt idx="6">
                    <c:v>Total</c:v>
                  </c:pt>
                  <c:pt idx="7">
                    <c:v>Nicolas</c:v>
                  </c:pt>
                  <c:pt idx="8">
                    <c:v>Total</c:v>
                  </c:pt>
                  <c:pt idx="9">
                    <c:v>Nicolas</c:v>
                  </c:pt>
                  <c:pt idx="10">
                    <c:v>Total</c:v>
                  </c:pt>
                  <c:pt idx="11">
                    <c:v>Nicolas</c:v>
                  </c:pt>
                  <c:pt idx="12">
                    <c:v>Total</c:v>
                  </c:pt>
                  <c:pt idx="13">
                    <c:v>Nicolas</c:v>
                  </c:pt>
                </c:lvl>
                <c:lvl>
                  <c:pt idx="0">
                    <c:v>Bruts</c:v>
                  </c:pt>
                  <c:pt idx="2">
                    <c:v>Blanc De Blancs</c:v>
                  </c:pt>
                  <c:pt idx="4">
                    <c:v>Rosés</c:v>
                  </c:pt>
                  <c:pt idx="6">
                    <c:v>Millesimes</c:v>
                  </c:pt>
                  <c:pt idx="8">
                    <c:v>Extra Brut</c:v>
                  </c:pt>
                  <c:pt idx="10">
                    <c:v>Crus</c:v>
                  </c:pt>
                  <c:pt idx="12">
                    <c:v>Mousseux Italiens</c:v>
                  </c:pt>
                </c:lvl>
                <c:lvl>
                  <c:pt idx="0">
                    <c:v>Champagnes</c:v>
                  </c:pt>
                  <c:pt idx="12">
                    <c:v>Mousseux</c:v>
                  </c:pt>
                </c:lvl>
              </c:multiLvlStrCache>
            </c:multiLvlStrRef>
          </c:cat>
          <c:val>
            <c:numRef>
              <c:f>Sheet1!$D$2:$D$15</c:f>
              <c:numCache>
                <c:formatCode>General</c:formatCode>
                <c:ptCount val="14"/>
                <c:pt idx="0">
                  <c:v>3.3</c:v>
                </c:pt>
                <c:pt idx="1">
                  <c:v>0.3</c:v>
                </c:pt>
                <c:pt idx="2">
                  <c:v>1</c:v>
                </c:pt>
                <c:pt idx="3">
                  <c:v>0</c:v>
                </c:pt>
                <c:pt idx="4">
                  <c:v>0.4</c:v>
                </c:pt>
                <c:pt idx="5">
                  <c:v>0</c:v>
                </c:pt>
                <c:pt idx="6">
                  <c:v>0.3</c:v>
                </c:pt>
                <c:pt idx="7">
                  <c:v>0</c:v>
                </c:pt>
                <c:pt idx="8">
                  <c:v>0.2</c:v>
                </c:pt>
                <c:pt idx="9">
                  <c:v>0</c:v>
                </c:pt>
                <c:pt idx="10">
                  <c:v>0.2</c:v>
                </c:pt>
                <c:pt idx="11">
                  <c:v>0</c:v>
                </c:pt>
                <c:pt idx="12">
                  <c:v>0.1</c:v>
                </c:pt>
                <c:pt idx="13">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55.9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29.5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111.7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55.5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93.7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E66E-4B23-B436-AFB28BCCF1FA}"/>
                </c:ext>
              </c:extLst>
            </c:dLbl>
            <c:dLbl>
              <c:idx val="5"/>
              <c:tx>
                <c:rich>
                  <a:bodyPr/>
                  <a:lstStyle/>
                  <a:p>
                    <a:r>
                      <a:t>38.3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E66E-4B23-B436-AFB28BCCF1FA}"/>
                </c:ext>
              </c:extLst>
            </c:dLbl>
            <c:dLbl>
              <c:idx val="6"/>
              <c:tx>
                <c:rich>
                  <a:bodyPr/>
                  <a:lstStyle/>
                  <a:p>
                    <a:r>
                      <a:t>215.5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E66E-4B23-B436-AFB28BCCF1FA}"/>
                </c:ext>
              </c:extLst>
            </c:dLbl>
            <c:dLbl>
              <c:idx val="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E66E-4B23-B436-AFB28BCCF1FA}"/>
                </c:ext>
              </c:extLst>
            </c:dLbl>
            <c:dLbl>
              <c:idx val="8"/>
              <c:tx>
                <c:rich>
                  <a:bodyPr/>
                  <a:lstStyle/>
                  <a:p>
                    <a:r>
                      <a:t>45.1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E66E-4B23-B436-AFB28BCCF1FA}"/>
                </c:ext>
              </c:extLst>
            </c:dLbl>
            <c:dLbl>
              <c:idx val="9"/>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E66E-4B23-B436-AFB28BCCF1FA}"/>
                </c:ext>
              </c:extLst>
            </c:dLbl>
            <c:dLbl>
              <c:idx val="10"/>
              <c:tx>
                <c:rich>
                  <a:bodyPr/>
                  <a:lstStyle/>
                  <a:p>
                    <a:r>
                      <a:t>40.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E66E-4B23-B436-AFB28BCCF1FA}"/>
                </c:ext>
              </c:extLst>
            </c:dLbl>
            <c:dLbl>
              <c:idx val="11"/>
              <c:tx>
                <c:rich>
                  <a:bodyPr/>
                  <a:lstStyle/>
                  <a:p>
                    <a:r>
                      <a:t>42.8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E66E-4B23-B436-AFB28BCCF1FA}"/>
                </c:ext>
              </c:extLst>
            </c:dLbl>
            <c:dLbl>
              <c:idx val="12"/>
              <c:tx>
                <c:rich>
                  <a:bodyPr/>
                  <a:lstStyle/>
                  <a:p>
                    <a:r>
                      <a:t>12.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E66E-4B23-B436-AFB28BCCF1FA}"/>
                </c:ext>
              </c:extLst>
            </c:dLbl>
            <c:dLbl>
              <c:idx val="1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E66E-4B23-B436-AFB28BCCF1FA}"/>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5</c:f>
              <c:multiLvlStrCache>
                <c:ptCount val="14"/>
                <c:lvl>
                  <c:pt idx="0">
                    <c:v>Total</c:v>
                  </c:pt>
                  <c:pt idx="1">
                    <c:v>Nicolas</c:v>
                  </c:pt>
                  <c:pt idx="2">
                    <c:v>Total</c:v>
                  </c:pt>
                  <c:pt idx="3">
                    <c:v>Nicolas</c:v>
                  </c:pt>
                  <c:pt idx="4">
                    <c:v>Total</c:v>
                  </c:pt>
                  <c:pt idx="5">
                    <c:v>Nicolas</c:v>
                  </c:pt>
                  <c:pt idx="6">
                    <c:v>Total</c:v>
                  </c:pt>
                  <c:pt idx="7">
                    <c:v>Nicolas</c:v>
                  </c:pt>
                  <c:pt idx="8">
                    <c:v>Total</c:v>
                  </c:pt>
                  <c:pt idx="9">
                    <c:v>Nicolas</c:v>
                  </c:pt>
                  <c:pt idx="10">
                    <c:v>Total</c:v>
                  </c:pt>
                  <c:pt idx="11">
                    <c:v>Nicolas</c:v>
                  </c:pt>
                  <c:pt idx="12">
                    <c:v>Total</c:v>
                  </c:pt>
                  <c:pt idx="13">
                    <c:v>Nicolas</c:v>
                  </c:pt>
                </c:lvl>
                <c:lvl>
                  <c:pt idx="0">
                    <c:v>Bruts</c:v>
                  </c:pt>
                  <c:pt idx="2">
                    <c:v>Blanc De Blancs</c:v>
                  </c:pt>
                  <c:pt idx="4">
                    <c:v>Rosés</c:v>
                  </c:pt>
                  <c:pt idx="6">
                    <c:v>Millesimes</c:v>
                  </c:pt>
                  <c:pt idx="8">
                    <c:v>Extra Brut</c:v>
                  </c:pt>
                  <c:pt idx="10">
                    <c:v>Crus</c:v>
                  </c:pt>
                  <c:pt idx="12">
                    <c:v>Mousseux Italiens</c:v>
                  </c:pt>
                </c:lvl>
                <c:lvl>
                  <c:pt idx="0">
                    <c:v>Champagnes</c:v>
                  </c:pt>
                  <c:pt idx="12">
                    <c:v>Mousseux</c:v>
                  </c:pt>
                </c:lvl>
              </c:multiLvlStrCache>
            </c:multiLvlStrRef>
          </c:cat>
          <c:val>
            <c:numRef>
              <c:f>Sheet1!$E$2:$E$15</c:f>
              <c:numCache>
                <c:formatCode>General</c:formatCode>
                <c:ptCount val="14"/>
                <c:pt idx="0">
                  <c:v>55.952300000000001</c:v>
                </c:pt>
                <c:pt idx="1">
                  <c:v>29.520299999999999</c:v>
                </c:pt>
                <c:pt idx="2">
                  <c:v>111.7274</c:v>
                </c:pt>
                <c:pt idx="3">
                  <c:v>55.527999999999999</c:v>
                </c:pt>
                <c:pt idx="4">
                  <c:v>93.713300000000004</c:v>
                </c:pt>
                <c:pt idx="5">
                  <c:v>38.324199999999998</c:v>
                </c:pt>
                <c:pt idx="6">
                  <c:v>215.56800000000001</c:v>
                </c:pt>
                <c:pt idx="7">
                  <c:v>0</c:v>
                </c:pt>
                <c:pt idx="8">
                  <c:v>45.168300000000002</c:v>
                </c:pt>
                <c:pt idx="9">
                  <c:v>0</c:v>
                </c:pt>
                <c:pt idx="10">
                  <c:v>40.239899999999999</c:v>
                </c:pt>
                <c:pt idx="11">
                  <c:v>42.831899999999997</c:v>
                </c:pt>
                <c:pt idx="12">
                  <c:v>12.2026</c:v>
                </c:pt>
                <c:pt idx="13">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0"/>
            <c:bubble3D val="0"/>
            <c:spPr>
              <a:solidFill>
                <a:srgbClr val="AEABAB"/>
              </a:solidFill>
              <a:ln>
                <a:noFill/>
              </a:ln>
              <a:effectLst/>
            </c:spPr>
            <c:extLst>
              <c:ext xmlns:c16="http://schemas.microsoft.com/office/drawing/2014/chart" uri="{C3380CC4-5D6E-409C-BE32-E72D297353CC}">
                <c16:uniqueId val="{00000026-4B23-4768-AE96-7AAF69EC1929}"/>
              </c:ext>
            </c:extLst>
          </c:dPt>
          <c:dPt>
            <c:idx val="5"/>
            <c:invertIfNegative val="0"/>
            <c:bubble3D val="0"/>
            <c:spPr>
              <a:solidFill>
                <a:srgbClr val="CBEAE7"/>
              </a:solidFill>
              <a:ln>
                <a:noFill/>
              </a:ln>
              <a:effectLst/>
            </c:spPr>
            <c:extLst>
              <c:ext xmlns:c16="http://schemas.microsoft.com/office/drawing/2014/chart" uri="{C3380CC4-5D6E-409C-BE32-E72D297353CC}">
                <c16:uniqueId val="{00000006-C486-4167-8002-0794DD94CC5C}"/>
              </c:ext>
            </c:extLst>
          </c:dPt>
          <c:dPt>
            <c:idx val="6"/>
            <c:invertIfNegative val="1"/>
            <c:bubble3D val="0"/>
            <c:spPr>
              <a:solidFill>
                <a:srgbClr val="AEABAB"/>
              </a:solidFill>
              <a:ln>
                <a:noFill/>
              </a:ln>
              <a:effectLst/>
            </c:spPr>
            <c:extLst>
              <c:ext xmlns:c16="http://schemas.microsoft.com/office/drawing/2014/chart" uri="{C3380CC4-5D6E-409C-BE32-E72D297353CC}">
                <c16:uniqueId val="{00000029-C4D5-453B-AE33-6B42826E91DD}"/>
              </c:ext>
            </c:extLst>
          </c:dPt>
          <c:dPt>
            <c:idx val="7"/>
            <c:invertIfNegative val="0"/>
            <c:bubble3D val="0"/>
            <c:spPr>
              <a:solidFill>
                <a:srgbClr val="CBEAE7"/>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AEABA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AEABA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AEABA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AEABA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AEABA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AEABA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AEABA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AEABA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AEABA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AEABA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AEABA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AEABA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AEABA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9</c:f>
              <c:multiLvlStrCache>
                <c:ptCount val="18"/>
                <c:lvl>
                  <c:pt idx="0">
                    <c:v>Total</c:v>
                  </c:pt>
                  <c:pt idx="1">
                    <c:v>Nicolas</c:v>
                  </c:pt>
                  <c:pt idx="2">
                    <c:v>Total</c:v>
                  </c:pt>
                  <c:pt idx="3">
                    <c:v>Nicolas</c:v>
                  </c:pt>
                  <c:pt idx="4">
                    <c:v>Total</c:v>
                  </c:pt>
                  <c:pt idx="5">
                    <c:v>Nicolas</c:v>
                  </c:pt>
                  <c:pt idx="6">
                    <c:v>Total</c:v>
                  </c:pt>
                  <c:pt idx="7">
                    <c:v>Nicolas</c:v>
                  </c:pt>
                  <c:pt idx="8">
                    <c:v>Total</c:v>
                  </c:pt>
                  <c:pt idx="9">
                    <c:v>Nicolas</c:v>
                  </c:pt>
                  <c:pt idx="10">
                    <c:v>Total</c:v>
                  </c:pt>
                  <c:pt idx="11">
                    <c:v>Nicolas</c:v>
                  </c:pt>
                  <c:pt idx="12">
                    <c:v>Total</c:v>
                  </c:pt>
                  <c:pt idx="13">
                    <c:v>Nicolas</c:v>
                  </c:pt>
                  <c:pt idx="14">
                    <c:v>Total</c:v>
                  </c:pt>
                  <c:pt idx="15">
                    <c:v>Nicolas</c:v>
                  </c:pt>
                  <c:pt idx="16">
                    <c:v>Total</c:v>
                  </c:pt>
                  <c:pt idx="17">
                    <c:v>Nicolas</c:v>
                  </c:pt>
                </c:lvl>
                <c:lvl>
                  <c:pt idx="0">
                    <c:v>Bruts</c:v>
                  </c:pt>
                  <c:pt idx="2">
                    <c:v>Blanc De Blancs</c:v>
                  </c:pt>
                  <c:pt idx="4">
                    <c:v>Rosés</c:v>
                  </c:pt>
                  <c:pt idx="6">
                    <c:v>Millesimes</c:v>
                  </c:pt>
                  <c:pt idx="8">
                    <c:v>Extra Brut</c:v>
                  </c:pt>
                  <c:pt idx="10">
                    <c:v>Crus</c:v>
                  </c:pt>
                  <c:pt idx="12">
                    <c:v>Mousseux Italiens</c:v>
                  </c:pt>
                  <c:pt idx="14">
                    <c:v>Mousseux Val De Loire</c:v>
                  </c:pt>
                  <c:pt idx="16">
                    <c:v>Mousseux Alsace</c:v>
                  </c:pt>
                </c:lvl>
                <c:lvl>
                  <c:pt idx="0">
                    <c:v>Champagnes</c:v>
                  </c:pt>
                  <c:pt idx="12">
                    <c:v>Mousseux</c:v>
                  </c:pt>
                </c:lvl>
              </c:multiLvlStrCache>
            </c:multiLvlStrRef>
          </c:cat>
          <c:val>
            <c:numRef>
              <c:f>Sheet1!$D$2:$D$19</c:f>
              <c:numCache>
                <c:formatCode>General</c:formatCode>
                <c:ptCount val="18"/>
                <c:pt idx="0">
                  <c:v>2</c:v>
                </c:pt>
                <c:pt idx="1">
                  <c:v>0.2</c:v>
                </c:pt>
                <c:pt idx="2">
                  <c:v>0.6</c:v>
                </c:pt>
                <c:pt idx="3">
                  <c:v>0</c:v>
                </c:pt>
                <c:pt idx="4">
                  <c:v>0.2</c:v>
                </c:pt>
                <c:pt idx="5">
                  <c:v>0</c:v>
                </c:pt>
                <c:pt idx="6">
                  <c:v>0.2</c:v>
                </c:pt>
                <c:pt idx="7">
                  <c:v>0</c:v>
                </c:pt>
                <c:pt idx="8">
                  <c:v>0.1</c:v>
                </c:pt>
                <c:pt idx="9">
                  <c:v>0</c:v>
                </c:pt>
                <c:pt idx="10">
                  <c:v>0.1</c:v>
                </c:pt>
                <c:pt idx="11">
                  <c:v>0</c:v>
                </c:pt>
                <c:pt idx="12">
                  <c:v>0.1</c:v>
                </c:pt>
                <c:pt idx="13">
                  <c:v>0</c:v>
                </c:pt>
                <c:pt idx="14">
                  <c:v>0</c:v>
                </c:pt>
                <c:pt idx="15">
                  <c:v>0</c:v>
                </c:pt>
                <c:pt idx="16">
                  <c:v>0</c:v>
                </c:pt>
                <c:pt idx="17">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54.5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29.3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106.9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56.3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77.2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C4D5-453B-AE33-6B42826E91DD}"/>
                </c:ext>
              </c:extLst>
            </c:dLbl>
            <c:dLbl>
              <c:idx val="5"/>
              <c:tx>
                <c:rich>
                  <a:bodyPr/>
                  <a:lstStyle/>
                  <a:p>
                    <a:r>
                      <a:t>38.1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C4D5-453B-AE33-6B42826E91DD}"/>
                </c:ext>
              </c:extLst>
            </c:dLbl>
            <c:dLbl>
              <c:idx val="6"/>
              <c:tx>
                <c:rich>
                  <a:bodyPr/>
                  <a:lstStyle/>
                  <a:p>
                    <a:r>
                      <a:t>184.5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C4D5-453B-AE33-6B42826E91DD}"/>
                </c:ext>
              </c:extLst>
            </c:dLbl>
            <c:dLbl>
              <c:idx val="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C4D5-453B-AE33-6B42826E91DD}"/>
                </c:ext>
              </c:extLst>
            </c:dLbl>
            <c:dLbl>
              <c:idx val="8"/>
              <c:tx>
                <c:rich>
                  <a:bodyPr/>
                  <a:lstStyle/>
                  <a:p>
                    <a:r>
                      <a:t>44.2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C4D5-453B-AE33-6B42826E91DD}"/>
                </c:ext>
              </c:extLst>
            </c:dLbl>
            <c:dLbl>
              <c:idx val="9"/>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C4D5-453B-AE33-6B42826E91DD}"/>
                </c:ext>
              </c:extLst>
            </c:dLbl>
            <c:dLbl>
              <c:idx val="10"/>
              <c:tx>
                <c:rich>
                  <a:bodyPr/>
                  <a:lstStyle/>
                  <a:p>
                    <a:r>
                      <a:t>39.7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C4D5-453B-AE33-6B42826E91DD}"/>
                </c:ext>
              </c:extLst>
            </c:dLbl>
            <c:dLbl>
              <c:idx val="11"/>
              <c:tx>
                <c:rich>
                  <a:bodyPr/>
                  <a:lstStyle/>
                  <a:p>
                    <a:r>
                      <a:t>40.9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C4D5-453B-AE33-6B42826E91DD}"/>
                </c:ext>
              </c:extLst>
            </c:dLbl>
            <c:dLbl>
              <c:idx val="12"/>
              <c:tx>
                <c:rich>
                  <a:bodyPr/>
                  <a:lstStyle/>
                  <a:p>
                    <a:r>
                      <a:t>11.5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C4D5-453B-AE33-6B42826E91DD}"/>
                </c:ext>
              </c:extLst>
            </c:dLbl>
            <c:dLbl>
              <c:idx val="1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C4D5-453B-AE33-6B42826E91DD}"/>
                </c:ext>
              </c:extLst>
            </c:dLbl>
            <c:dLbl>
              <c:idx val="14"/>
              <c:tx>
                <c:rich>
                  <a:bodyPr/>
                  <a:lstStyle/>
                  <a:p>
                    <a:r>
                      <a:t>15.2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C4D5-453B-AE33-6B42826E91DD}"/>
                </c:ext>
              </c:extLst>
            </c:dLbl>
            <c:dLbl>
              <c:idx val="1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C4D5-453B-AE33-6B42826E91DD}"/>
                </c:ext>
              </c:extLst>
            </c:dLbl>
            <c:dLbl>
              <c:idx val="16"/>
              <c:tx>
                <c:rich>
                  <a:bodyPr/>
                  <a:lstStyle/>
                  <a:p>
                    <a:r>
                      <a:t>17.6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C4D5-453B-AE33-6B42826E91DD}"/>
                </c:ext>
              </c:extLst>
            </c:dLbl>
            <c:dLbl>
              <c:idx val="1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C4D5-453B-AE33-6B42826E91DD}"/>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9</c:f>
              <c:multiLvlStrCache>
                <c:ptCount val="18"/>
                <c:lvl>
                  <c:pt idx="0">
                    <c:v>Total</c:v>
                  </c:pt>
                  <c:pt idx="1">
                    <c:v>Nicolas</c:v>
                  </c:pt>
                  <c:pt idx="2">
                    <c:v>Total</c:v>
                  </c:pt>
                  <c:pt idx="3">
                    <c:v>Nicolas</c:v>
                  </c:pt>
                  <c:pt idx="4">
                    <c:v>Total</c:v>
                  </c:pt>
                  <c:pt idx="5">
                    <c:v>Nicolas</c:v>
                  </c:pt>
                  <c:pt idx="6">
                    <c:v>Total</c:v>
                  </c:pt>
                  <c:pt idx="7">
                    <c:v>Nicolas</c:v>
                  </c:pt>
                  <c:pt idx="8">
                    <c:v>Total</c:v>
                  </c:pt>
                  <c:pt idx="9">
                    <c:v>Nicolas</c:v>
                  </c:pt>
                  <c:pt idx="10">
                    <c:v>Total</c:v>
                  </c:pt>
                  <c:pt idx="11">
                    <c:v>Nicolas</c:v>
                  </c:pt>
                  <c:pt idx="12">
                    <c:v>Total</c:v>
                  </c:pt>
                  <c:pt idx="13">
                    <c:v>Nicolas</c:v>
                  </c:pt>
                  <c:pt idx="14">
                    <c:v>Total</c:v>
                  </c:pt>
                  <c:pt idx="15">
                    <c:v>Nicolas</c:v>
                  </c:pt>
                  <c:pt idx="16">
                    <c:v>Total</c:v>
                  </c:pt>
                  <c:pt idx="17">
                    <c:v>Nicolas</c:v>
                  </c:pt>
                </c:lvl>
                <c:lvl>
                  <c:pt idx="0">
                    <c:v>Bruts</c:v>
                  </c:pt>
                  <c:pt idx="2">
                    <c:v>Blanc De Blancs</c:v>
                  </c:pt>
                  <c:pt idx="4">
                    <c:v>Rosés</c:v>
                  </c:pt>
                  <c:pt idx="6">
                    <c:v>Millesimes</c:v>
                  </c:pt>
                  <c:pt idx="8">
                    <c:v>Extra Brut</c:v>
                  </c:pt>
                  <c:pt idx="10">
                    <c:v>Crus</c:v>
                  </c:pt>
                  <c:pt idx="12">
                    <c:v>Mousseux Italiens</c:v>
                  </c:pt>
                  <c:pt idx="14">
                    <c:v>Mousseux Val De Loire</c:v>
                  </c:pt>
                  <c:pt idx="16">
                    <c:v>Mousseux Alsace</c:v>
                  </c:pt>
                </c:lvl>
                <c:lvl>
                  <c:pt idx="0">
                    <c:v>Champagnes</c:v>
                  </c:pt>
                  <c:pt idx="12">
                    <c:v>Mousseux</c:v>
                  </c:pt>
                </c:lvl>
              </c:multiLvlStrCache>
            </c:multiLvlStrRef>
          </c:cat>
          <c:val>
            <c:numRef>
              <c:f>Sheet1!$E$2:$E$19</c:f>
              <c:numCache>
                <c:formatCode>General</c:formatCode>
                <c:ptCount val="18"/>
                <c:pt idx="0">
                  <c:v>54.516300000000001</c:v>
                </c:pt>
                <c:pt idx="1">
                  <c:v>29.320399999999999</c:v>
                </c:pt>
                <c:pt idx="2">
                  <c:v>106.9933</c:v>
                </c:pt>
                <c:pt idx="3">
                  <c:v>56.330599999999997</c:v>
                </c:pt>
                <c:pt idx="4">
                  <c:v>77.268100000000004</c:v>
                </c:pt>
                <c:pt idx="5">
                  <c:v>38.129199999999997</c:v>
                </c:pt>
                <c:pt idx="6">
                  <c:v>184.56649999999999</c:v>
                </c:pt>
                <c:pt idx="7">
                  <c:v>0</c:v>
                </c:pt>
                <c:pt idx="8">
                  <c:v>44.226100000000002</c:v>
                </c:pt>
                <c:pt idx="9">
                  <c:v>0</c:v>
                </c:pt>
                <c:pt idx="10">
                  <c:v>39.791200000000003</c:v>
                </c:pt>
                <c:pt idx="11">
                  <c:v>40.984099999999998</c:v>
                </c:pt>
                <c:pt idx="12">
                  <c:v>11.5238</c:v>
                </c:pt>
                <c:pt idx="13">
                  <c:v>0</c:v>
                </c:pt>
                <c:pt idx="14">
                  <c:v>15.2057</c:v>
                </c:pt>
                <c:pt idx="15">
                  <c:v>0</c:v>
                </c:pt>
                <c:pt idx="16">
                  <c:v>17.650500000000001</c:v>
                </c:pt>
                <c:pt idx="17">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0"/>
            <c:bubble3D val="0"/>
            <c:spPr>
              <a:solidFill>
                <a:srgbClr val="AEABAB"/>
              </a:solidFill>
              <a:ln>
                <a:noFill/>
              </a:ln>
              <a:effectLst/>
            </c:spPr>
            <c:extLst>
              <c:ext xmlns:c16="http://schemas.microsoft.com/office/drawing/2014/chart" uri="{C3380CC4-5D6E-409C-BE32-E72D297353CC}">
                <c16:uniqueId val="{00000026-4B23-4768-AE96-7AAF69EC1929}"/>
              </c:ext>
            </c:extLst>
          </c:dPt>
          <c:dPt>
            <c:idx val="5"/>
            <c:invertIfNegative val="0"/>
            <c:bubble3D val="0"/>
            <c:spPr>
              <a:solidFill>
                <a:srgbClr val="CBEAE7"/>
              </a:solidFill>
              <a:ln>
                <a:noFill/>
              </a:ln>
              <a:effectLst/>
            </c:spPr>
            <c:extLst>
              <c:ext xmlns:c16="http://schemas.microsoft.com/office/drawing/2014/chart" uri="{C3380CC4-5D6E-409C-BE32-E72D297353CC}">
                <c16:uniqueId val="{00000006-C486-4167-8002-0794DD94CC5C}"/>
              </c:ext>
            </c:extLst>
          </c:dPt>
          <c:dPt>
            <c:idx val="6"/>
            <c:invertIfNegative val="1"/>
            <c:bubble3D val="0"/>
            <c:spPr>
              <a:solidFill>
                <a:srgbClr val="AEABAB"/>
              </a:solidFill>
              <a:ln>
                <a:noFill/>
              </a:ln>
              <a:effectLst/>
            </c:spPr>
            <c:extLst>
              <c:ext xmlns:c16="http://schemas.microsoft.com/office/drawing/2014/chart" uri="{C3380CC4-5D6E-409C-BE32-E72D297353CC}">
                <c16:uniqueId val="{00000029-4BE4-4B72-860F-2E5B1E75DEE6}"/>
              </c:ext>
            </c:extLst>
          </c:dPt>
          <c:dPt>
            <c:idx val="7"/>
            <c:invertIfNegative val="0"/>
            <c:bubble3D val="0"/>
            <c:spPr>
              <a:solidFill>
                <a:srgbClr val="CBEAE7"/>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AEABA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AEABA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AEABA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AEABA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AEABA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AEABA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AEABA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AEABA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AEABA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AEABA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AEABA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AEABA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AEABA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7</c:f>
              <c:multiLvlStrCache>
                <c:ptCount val="16"/>
                <c:lvl>
                  <c:pt idx="0">
                    <c:v>Total</c:v>
                  </c:pt>
                  <c:pt idx="1">
                    <c:v>Nicolas</c:v>
                  </c:pt>
                  <c:pt idx="2">
                    <c:v>Total</c:v>
                  </c:pt>
                  <c:pt idx="3">
                    <c:v>Nicolas</c:v>
                  </c:pt>
                  <c:pt idx="4">
                    <c:v>Total</c:v>
                  </c:pt>
                  <c:pt idx="5">
                    <c:v>Nicolas</c:v>
                  </c:pt>
                  <c:pt idx="6">
                    <c:v>Total</c:v>
                  </c:pt>
                  <c:pt idx="7">
                    <c:v>Nicolas</c:v>
                  </c:pt>
                  <c:pt idx="8">
                    <c:v>Total</c:v>
                  </c:pt>
                  <c:pt idx="9">
                    <c:v>Nicolas</c:v>
                  </c:pt>
                  <c:pt idx="10">
                    <c:v>Total</c:v>
                  </c:pt>
                  <c:pt idx="11">
                    <c:v>Nicolas</c:v>
                  </c:pt>
                  <c:pt idx="12">
                    <c:v>Total</c:v>
                  </c:pt>
                  <c:pt idx="13">
                    <c:v>Nicolas</c:v>
                  </c:pt>
                  <c:pt idx="14">
                    <c:v>Total</c:v>
                  </c:pt>
                  <c:pt idx="15">
                    <c:v>Nicolas</c:v>
                  </c:pt>
                </c:lvl>
                <c:lvl>
                  <c:pt idx="0">
                    <c:v>Bruts</c:v>
                  </c:pt>
                  <c:pt idx="2">
                    <c:v>Blanc De Blancs</c:v>
                  </c:pt>
                  <c:pt idx="4">
                    <c:v>Rosés</c:v>
                  </c:pt>
                  <c:pt idx="6">
                    <c:v>Crus</c:v>
                  </c:pt>
                  <c:pt idx="8">
                    <c:v>Extra Brut</c:v>
                  </c:pt>
                  <c:pt idx="10">
                    <c:v>Millesimes</c:v>
                  </c:pt>
                  <c:pt idx="12">
                    <c:v>Mousseux Italiens</c:v>
                  </c:pt>
                  <c:pt idx="14">
                    <c:v>Mousseux Val De Loire</c:v>
                  </c:pt>
                </c:lvl>
                <c:lvl>
                  <c:pt idx="0">
                    <c:v>Champagnes</c:v>
                  </c:pt>
                  <c:pt idx="12">
                    <c:v>Mousseux</c:v>
                  </c:pt>
                </c:lvl>
              </c:multiLvlStrCache>
            </c:multiLvlStrRef>
          </c:cat>
          <c:val>
            <c:numRef>
              <c:f>Sheet1!$D$2:$D$17</c:f>
              <c:numCache>
                <c:formatCode>General</c:formatCode>
                <c:ptCount val="16"/>
                <c:pt idx="0">
                  <c:v>29</c:v>
                </c:pt>
                <c:pt idx="1">
                  <c:v>3.1</c:v>
                </c:pt>
                <c:pt idx="2">
                  <c:v>5.5</c:v>
                </c:pt>
                <c:pt idx="3">
                  <c:v>0.4</c:v>
                </c:pt>
                <c:pt idx="4">
                  <c:v>3</c:v>
                </c:pt>
                <c:pt idx="5">
                  <c:v>0.3</c:v>
                </c:pt>
                <c:pt idx="6">
                  <c:v>2.1</c:v>
                </c:pt>
                <c:pt idx="7">
                  <c:v>0</c:v>
                </c:pt>
                <c:pt idx="8">
                  <c:v>1.7</c:v>
                </c:pt>
                <c:pt idx="9">
                  <c:v>0</c:v>
                </c:pt>
                <c:pt idx="10">
                  <c:v>1.7</c:v>
                </c:pt>
                <c:pt idx="11">
                  <c:v>0</c:v>
                </c:pt>
                <c:pt idx="12">
                  <c:v>1.2</c:v>
                </c:pt>
                <c:pt idx="13">
                  <c:v>0</c:v>
                </c:pt>
                <c:pt idx="14">
                  <c:v>0.7</c:v>
                </c:pt>
                <c:pt idx="15">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52.7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29.5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99.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54.2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76.9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4BE4-4B72-860F-2E5B1E75DEE6}"/>
                </c:ext>
              </c:extLst>
            </c:dLbl>
            <c:dLbl>
              <c:idx val="5"/>
              <c:tx>
                <c:rich>
                  <a:bodyPr/>
                  <a:lstStyle/>
                  <a:p>
                    <a:r>
                      <a:t>38.4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4BE4-4B72-860F-2E5B1E75DEE6}"/>
                </c:ext>
              </c:extLst>
            </c:dLbl>
            <c:dLbl>
              <c:idx val="6"/>
              <c:tx>
                <c:rich>
                  <a:bodyPr/>
                  <a:lstStyle/>
                  <a:p>
                    <a:r>
                      <a:t>40.0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4BE4-4B72-860F-2E5B1E75DEE6}"/>
                </c:ext>
              </c:extLst>
            </c:dLbl>
            <c:dLbl>
              <c:idx val="7"/>
              <c:tx>
                <c:rich>
                  <a:bodyPr/>
                  <a:lstStyle/>
                  <a:p>
                    <a:r>
                      <a:t>43.9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4BE4-4B72-860F-2E5B1E75DEE6}"/>
                </c:ext>
              </c:extLst>
            </c:dLbl>
            <c:dLbl>
              <c:idx val="8"/>
              <c:tx>
                <c:rich>
                  <a:bodyPr/>
                  <a:lstStyle/>
                  <a:p>
                    <a:r>
                      <a:t>44.4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4BE4-4B72-860F-2E5B1E75DEE6}"/>
                </c:ext>
              </c:extLst>
            </c:dLbl>
            <c:dLbl>
              <c:idx val="9"/>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4BE4-4B72-860F-2E5B1E75DEE6}"/>
                </c:ext>
              </c:extLst>
            </c:dLbl>
            <c:dLbl>
              <c:idx val="10"/>
              <c:tx>
                <c:rich>
                  <a:bodyPr/>
                  <a:lstStyle/>
                  <a:p>
                    <a:r>
                      <a:t>178.5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4BE4-4B72-860F-2E5B1E75DEE6}"/>
                </c:ext>
              </c:extLst>
            </c:dLbl>
            <c:dLbl>
              <c:idx val="1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4BE4-4B72-860F-2E5B1E75DEE6}"/>
                </c:ext>
              </c:extLst>
            </c:dLbl>
            <c:dLbl>
              <c:idx val="12"/>
              <c:tx>
                <c:rich>
                  <a:bodyPr/>
                  <a:lstStyle/>
                  <a:p>
                    <a:r>
                      <a:t>12.0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4BE4-4B72-860F-2E5B1E75DEE6}"/>
                </c:ext>
              </c:extLst>
            </c:dLbl>
            <c:dLbl>
              <c:idx val="1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4BE4-4B72-860F-2E5B1E75DEE6}"/>
                </c:ext>
              </c:extLst>
            </c:dLbl>
            <c:dLbl>
              <c:idx val="14"/>
              <c:tx>
                <c:rich>
                  <a:bodyPr/>
                  <a:lstStyle/>
                  <a:p>
                    <a:r>
                      <a:t>15.8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4BE4-4B72-860F-2E5B1E75DEE6}"/>
                </c:ext>
              </c:extLst>
            </c:dLbl>
            <c:dLbl>
              <c:idx val="1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4BE4-4B72-860F-2E5B1E75DEE6}"/>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7</c:f>
              <c:multiLvlStrCache>
                <c:ptCount val="16"/>
                <c:lvl>
                  <c:pt idx="0">
                    <c:v>Total</c:v>
                  </c:pt>
                  <c:pt idx="1">
                    <c:v>Nicolas</c:v>
                  </c:pt>
                  <c:pt idx="2">
                    <c:v>Total</c:v>
                  </c:pt>
                  <c:pt idx="3">
                    <c:v>Nicolas</c:v>
                  </c:pt>
                  <c:pt idx="4">
                    <c:v>Total</c:v>
                  </c:pt>
                  <c:pt idx="5">
                    <c:v>Nicolas</c:v>
                  </c:pt>
                  <c:pt idx="6">
                    <c:v>Total</c:v>
                  </c:pt>
                  <c:pt idx="7">
                    <c:v>Nicolas</c:v>
                  </c:pt>
                  <c:pt idx="8">
                    <c:v>Total</c:v>
                  </c:pt>
                  <c:pt idx="9">
                    <c:v>Nicolas</c:v>
                  </c:pt>
                  <c:pt idx="10">
                    <c:v>Total</c:v>
                  </c:pt>
                  <c:pt idx="11">
                    <c:v>Nicolas</c:v>
                  </c:pt>
                  <c:pt idx="12">
                    <c:v>Total</c:v>
                  </c:pt>
                  <c:pt idx="13">
                    <c:v>Nicolas</c:v>
                  </c:pt>
                  <c:pt idx="14">
                    <c:v>Total</c:v>
                  </c:pt>
                  <c:pt idx="15">
                    <c:v>Nicolas</c:v>
                  </c:pt>
                </c:lvl>
                <c:lvl>
                  <c:pt idx="0">
                    <c:v>Bruts</c:v>
                  </c:pt>
                  <c:pt idx="2">
                    <c:v>Blanc De Blancs</c:v>
                  </c:pt>
                  <c:pt idx="4">
                    <c:v>Rosés</c:v>
                  </c:pt>
                  <c:pt idx="6">
                    <c:v>Crus</c:v>
                  </c:pt>
                  <c:pt idx="8">
                    <c:v>Extra Brut</c:v>
                  </c:pt>
                  <c:pt idx="10">
                    <c:v>Millesimes</c:v>
                  </c:pt>
                  <c:pt idx="12">
                    <c:v>Mousseux Italiens</c:v>
                  </c:pt>
                  <c:pt idx="14">
                    <c:v>Mousseux Val De Loire</c:v>
                  </c:pt>
                </c:lvl>
                <c:lvl>
                  <c:pt idx="0">
                    <c:v>Champagnes</c:v>
                  </c:pt>
                  <c:pt idx="12">
                    <c:v>Mousseux</c:v>
                  </c:pt>
                </c:lvl>
              </c:multiLvlStrCache>
            </c:multiLvlStrRef>
          </c:cat>
          <c:val>
            <c:numRef>
              <c:f>Sheet1!$E$2:$E$17</c:f>
              <c:numCache>
                <c:formatCode>General</c:formatCode>
                <c:ptCount val="16"/>
                <c:pt idx="0">
                  <c:v>52.746600000000001</c:v>
                </c:pt>
                <c:pt idx="1">
                  <c:v>29.5703</c:v>
                </c:pt>
                <c:pt idx="2">
                  <c:v>99.004499999999993</c:v>
                </c:pt>
                <c:pt idx="3">
                  <c:v>54.210900000000002</c:v>
                </c:pt>
                <c:pt idx="4">
                  <c:v>76.944500000000005</c:v>
                </c:pt>
                <c:pt idx="5">
                  <c:v>38.406399999999998</c:v>
                </c:pt>
                <c:pt idx="6">
                  <c:v>40.0443</c:v>
                </c:pt>
                <c:pt idx="7">
                  <c:v>43.926900000000003</c:v>
                </c:pt>
                <c:pt idx="8">
                  <c:v>44.462200000000003</c:v>
                </c:pt>
                <c:pt idx="9">
                  <c:v>0</c:v>
                </c:pt>
                <c:pt idx="10">
                  <c:v>178.5181</c:v>
                </c:pt>
                <c:pt idx="11">
                  <c:v>0</c:v>
                </c:pt>
                <c:pt idx="12">
                  <c:v>12.059200000000001</c:v>
                </c:pt>
                <c:pt idx="13">
                  <c:v>0</c:v>
                </c:pt>
                <c:pt idx="14">
                  <c:v>15.8711</c:v>
                </c:pt>
                <c:pt idx="15">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0"/>
            <c:bubble3D val="0"/>
            <c:spPr>
              <a:solidFill>
                <a:srgbClr val="AEABAB"/>
              </a:solidFill>
              <a:ln>
                <a:noFill/>
              </a:ln>
              <a:effectLst/>
            </c:spPr>
            <c:extLst>
              <c:ext xmlns:c16="http://schemas.microsoft.com/office/drawing/2014/chart" uri="{C3380CC4-5D6E-409C-BE32-E72D297353CC}">
                <c16:uniqueId val="{00000026-4B23-4768-AE96-7AAF69EC1929}"/>
              </c:ext>
            </c:extLst>
          </c:dPt>
          <c:dPt>
            <c:idx val="5"/>
            <c:invertIfNegative val="0"/>
            <c:bubble3D val="0"/>
            <c:spPr>
              <a:solidFill>
                <a:srgbClr val="CBEAE7"/>
              </a:solidFill>
              <a:ln>
                <a:noFill/>
              </a:ln>
              <a:effectLst/>
            </c:spPr>
            <c:extLst>
              <c:ext xmlns:c16="http://schemas.microsoft.com/office/drawing/2014/chart" uri="{C3380CC4-5D6E-409C-BE32-E72D297353CC}">
                <c16:uniqueId val="{00000006-C486-4167-8002-0794DD94CC5C}"/>
              </c:ext>
            </c:extLst>
          </c:dPt>
          <c:dPt>
            <c:idx val="6"/>
            <c:invertIfNegative val="1"/>
            <c:bubble3D val="0"/>
            <c:spPr>
              <a:solidFill>
                <a:srgbClr val="AEABAB"/>
              </a:solidFill>
              <a:ln>
                <a:noFill/>
              </a:ln>
              <a:effectLst/>
            </c:spPr>
            <c:extLst>
              <c:ext xmlns:c16="http://schemas.microsoft.com/office/drawing/2014/chart" uri="{C3380CC4-5D6E-409C-BE32-E72D297353CC}">
                <c16:uniqueId val="{00000029-5412-4A63-8F67-165A1E2CAB8B}"/>
              </c:ext>
            </c:extLst>
          </c:dPt>
          <c:dPt>
            <c:idx val="7"/>
            <c:invertIfNegative val="0"/>
            <c:bubble3D val="0"/>
            <c:spPr>
              <a:solidFill>
                <a:srgbClr val="AEABA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AEABA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AEABA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AEABA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AEABA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AEABA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AEABA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AEABA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AEABA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AEABA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AEABA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AEABA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AEABA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AEABA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5</c:f>
              <c:multiLvlStrCache>
                <c:ptCount val="14"/>
                <c:lvl>
                  <c:pt idx="0">
                    <c:v>Total</c:v>
                  </c:pt>
                  <c:pt idx="1">
                    <c:v>Nicolas</c:v>
                  </c:pt>
                  <c:pt idx="2">
                    <c:v>Total</c:v>
                  </c:pt>
                  <c:pt idx="3">
                    <c:v>Nicolas</c:v>
                  </c:pt>
                  <c:pt idx="4">
                    <c:v>Total</c:v>
                  </c:pt>
                  <c:pt idx="5">
                    <c:v>Nicolas</c:v>
                  </c:pt>
                  <c:pt idx="6">
                    <c:v>Total</c:v>
                  </c:pt>
                  <c:pt idx="7">
                    <c:v>Nicolas</c:v>
                  </c:pt>
                  <c:pt idx="8">
                    <c:v>Total</c:v>
                  </c:pt>
                  <c:pt idx="9">
                    <c:v>Nicolas</c:v>
                  </c:pt>
                  <c:pt idx="10">
                    <c:v>Total</c:v>
                  </c:pt>
                  <c:pt idx="11">
                    <c:v>Nicolas</c:v>
                  </c:pt>
                  <c:pt idx="12">
                    <c:v>Total</c:v>
                  </c:pt>
                  <c:pt idx="13">
                    <c:v>Nicolas</c:v>
                  </c:pt>
                </c:lvl>
                <c:lvl>
                  <c:pt idx="0">
                    <c:v>Bruts</c:v>
                  </c:pt>
                  <c:pt idx="2">
                    <c:v>Blanc De Blancs</c:v>
                  </c:pt>
                  <c:pt idx="4">
                    <c:v>Rosés</c:v>
                  </c:pt>
                  <c:pt idx="6">
                    <c:v>Millesimes</c:v>
                  </c:pt>
                  <c:pt idx="8">
                    <c:v>Crus</c:v>
                  </c:pt>
                  <c:pt idx="10">
                    <c:v>Extra Brut</c:v>
                  </c:pt>
                  <c:pt idx="12">
                    <c:v>Mousseux Italiens</c:v>
                  </c:pt>
                </c:lvl>
                <c:lvl>
                  <c:pt idx="0">
                    <c:v>Champagnes</c:v>
                  </c:pt>
                  <c:pt idx="12">
                    <c:v>Mousseux</c:v>
                  </c:pt>
                </c:lvl>
              </c:multiLvlStrCache>
            </c:multiLvlStrRef>
          </c:cat>
          <c:val>
            <c:numRef>
              <c:f>Sheet1!$D$2:$D$15</c:f>
              <c:numCache>
                <c:formatCode>General</c:formatCode>
                <c:ptCount val="14"/>
                <c:pt idx="0">
                  <c:v>4.0999999999999996</c:v>
                </c:pt>
                <c:pt idx="1">
                  <c:v>0.5</c:v>
                </c:pt>
                <c:pt idx="2">
                  <c:v>1</c:v>
                </c:pt>
                <c:pt idx="3">
                  <c:v>0.1</c:v>
                </c:pt>
                <c:pt idx="4">
                  <c:v>0.5</c:v>
                </c:pt>
                <c:pt idx="5">
                  <c:v>0</c:v>
                </c:pt>
                <c:pt idx="6">
                  <c:v>0.3</c:v>
                </c:pt>
                <c:pt idx="7">
                  <c:v>0</c:v>
                </c:pt>
                <c:pt idx="8">
                  <c:v>0.2</c:v>
                </c:pt>
                <c:pt idx="9">
                  <c:v>0</c:v>
                </c:pt>
                <c:pt idx="10">
                  <c:v>0.2</c:v>
                </c:pt>
                <c:pt idx="11">
                  <c:v>0</c:v>
                </c:pt>
                <c:pt idx="12">
                  <c:v>0.2</c:v>
                </c:pt>
                <c:pt idx="13">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52.9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29.3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106.7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55.7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77.9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5412-4A63-8F67-165A1E2CAB8B}"/>
                </c:ext>
              </c:extLst>
            </c:dLbl>
            <c:dLbl>
              <c:idx val="5"/>
              <c:tx>
                <c:rich>
                  <a:bodyPr/>
                  <a:lstStyle/>
                  <a:p>
                    <a:r>
                      <a:t>38.0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5412-4A63-8F67-165A1E2CAB8B}"/>
                </c:ext>
              </c:extLst>
            </c:dLbl>
            <c:dLbl>
              <c:idx val="6"/>
              <c:tx>
                <c:rich>
                  <a:bodyPr/>
                  <a:lstStyle/>
                  <a:p>
                    <a:r>
                      <a:t>225.2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5412-4A63-8F67-165A1E2CAB8B}"/>
                </c:ext>
              </c:extLst>
            </c:dLbl>
            <c:dLbl>
              <c:idx val="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5412-4A63-8F67-165A1E2CAB8B}"/>
                </c:ext>
              </c:extLst>
            </c:dLbl>
            <c:dLbl>
              <c:idx val="8"/>
              <c:tx>
                <c:rich>
                  <a:bodyPr/>
                  <a:lstStyle/>
                  <a:p>
                    <a:r>
                      <a:t>39.9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5412-4A63-8F67-165A1E2CAB8B}"/>
                </c:ext>
              </c:extLst>
            </c:dLbl>
            <c:dLbl>
              <c:idx val="9"/>
              <c:tx>
                <c:rich>
                  <a:bodyPr/>
                  <a:lstStyle/>
                  <a:p>
                    <a:r>
                      <a:t>43.0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5412-4A63-8F67-165A1E2CAB8B}"/>
                </c:ext>
              </c:extLst>
            </c:dLbl>
            <c:dLbl>
              <c:idx val="10"/>
              <c:tx>
                <c:rich>
                  <a:bodyPr/>
                  <a:lstStyle/>
                  <a:p>
                    <a:r>
                      <a:t>44.6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5412-4A63-8F67-165A1E2CAB8B}"/>
                </c:ext>
              </c:extLst>
            </c:dLbl>
            <c:dLbl>
              <c:idx val="1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5412-4A63-8F67-165A1E2CAB8B}"/>
                </c:ext>
              </c:extLst>
            </c:dLbl>
            <c:dLbl>
              <c:idx val="12"/>
              <c:tx>
                <c:rich>
                  <a:bodyPr/>
                  <a:lstStyle/>
                  <a:p>
                    <a:r>
                      <a:t>12.0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5412-4A63-8F67-165A1E2CAB8B}"/>
                </c:ext>
              </c:extLst>
            </c:dLbl>
            <c:dLbl>
              <c:idx val="1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5412-4A63-8F67-165A1E2CAB8B}"/>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5</c:f>
              <c:multiLvlStrCache>
                <c:ptCount val="14"/>
                <c:lvl>
                  <c:pt idx="0">
                    <c:v>Total</c:v>
                  </c:pt>
                  <c:pt idx="1">
                    <c:v>Nicolas</c:v>
                  </c:pt>
                  <c:pt idx="2">
                    <c:v>Total</c:v>
                  </c:pt>
                  <c:pt idx="3">
                    <c:v>Nicolas</c:v>
                  </c:pt>
                  <c:pt idx="4">
                    <c:v>Total</c:v>
                  </c:pt>
                  <c:pt idx="5">
                    <c:v>Nicolas</c:v>
                  </c:pt>
                  <c:pt idx="6">
                    <c:v>Total</c:v>
                  </c:pt>
                  <c:pt idx="7">
                    <c:v>Nicolas</c:v>
                  </c:pt>
                  <c:pt idx="8">
                    <c:v>Total</c:v>
                  </c:pt>
                  <c:pt idx="9">
                    <c:v>Nicolas</c:v>
                  </c:pt>
                  <c:pt idx="10">
                    <c:v>Total</c:v>
                  </c:pt>
                  <c:pt idx="11">
                    <c:v>Nicolas</c:v>
                  </c:pt>
                  <c:pt idx="12">
                    <c:v>Total</c:v>
                  </c:pt>
                  <c:pt idx="13">
                    <c:v>Nicolas</c:v>
                  </c:pt>
                </c:lvl>
                <c:lvl>
                  <c:pt idx="0">
                    <c:v>Bruts</c:v>
                  </c:pt>
                  <c:pt idx="2">
                    <c:v>Blanc De Blancs</c:v>
                  </c:pt>
                  <c:pt idx="4">
                    <c:v>Rosés</c:v>
                  </c:pt>
                  <c:pt idx="6">
                    <c:v>Millesimes</c:v>
                  </c:pt>
                  <c:pt idx="8">
                    <c:v>Crus</c:v>
                  </c:pt>
                  <c:pt idx="10">
                    <c:v>Extra Brut</c:v>
                  </c:pt>
                  <c:pt idx="12">
                    <c:v>Mousseux Italiens</c:v>
                  </c:pt>
                </c:lvl>
                <c:lvl>
                  <c:pt idx="0">
                    <c:v>Champagnes</c:v>
                  </c:pt>
                  <c:pt idx="12">
                    <c:v>Mousseux</c:v>
                  </c:pt>
                </c:lvl>
              </c:multiLvlStrCache>
            </c:multiLvlStrRef>
          </c:cat>
          <c:val>
            <c:numRef>
              <c:f>Sheet1!$E$2:$E$15</c:f>
              <c:numCache>
                <c:formatCode>General</c:formatCode>
                <c:ptCount val="14"/>
                <c:pt idx="0">
                  <c:v>52.975099999999998</c:v>
                </c:pt>
                <c:pt idx="1">
                  <c:v>29.342099999999999</c:v>
                </c:pt>
                <c:pt idx="2">
                  <c:v>106.7418</c:v>
                </c:pt>
                <c:pt idx="3">
                  <c:v>55.7864</c:v>
                </c:pt>
                <c:pt idx="4">
                  <c:v>77.956299999999999</c:v>
                </c:pt>
                <c:pt idx="5">
                  <c:v>38.017800000000001</c:v>
                </c:pt>
                <c:pt idx="6">
                  <c:v>225.2834</c:v>
                </c:pt>
                <c:pt idx="7">
                  <c:v>0</c:v>
                </c:pt>
                <c:pt idx="8">
                  <c:v>39.923000000000002</c:v>
                </c:pt>
                <c:pt idx="9">
                  <c:v>43.031300000000002</c:v>
                </c:pt>
                <c:pt idx="10">
                  <c:v>44.665599999999998</c:v>
                </c:pt>
                <c:pt idx="11">
                  <c:v>0</c:v>
                </c:pt>
                <c:pt idx="12">
                  <c:v>12.029199999999999</c:v>
                </c:pt>
                <c:pt idx="13">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0"/>
            <c:bubble3D val="0"/>
            <c:spPr>
              <a:solidFill>
                <a:srgbClr val="AEABAB"/>
              </a:solidFill>
              <a:ln>
                <a:noFill/>
              </a:ln>
              <a:effectLst/>
            </c:spPr>
            <c:extLst>
              <c:ext xmlns:c16="http://schemas.microsoft.com/office/drawing/2014/chart" uri="{C3380CC4-5D6E-409C-BE32-E72D297353CC}">
                <c16:uniqueId val="{00000026-4B23-4768-AE96-7AAF69EC1929}"/>
              </c:ext>
            </c:extLst>
          </c:dPt>
          <c:dPt>
            <c:idx val="5"/>
            <c:invertIfNegative val="0"/>
            <c:bubble3D val="0"/>
            <c:spPr>
              <a:solidFill>
                <a:srgbClr val="CBEAE7"/>
              </a:solidFill>
              <a:ln>
                <a:noFill/>
              </a:ln>
              <a:effectLst/>
            </c:spPr>
            <c:extLst>
              <c:ext xmlns:c16="http://schemas.microsoft.com/office/drawing/2014/chart" uri="{C3380CC4-5D6E-409C-BE32-E72D297353CC}">
                <c16:uniqueId val="{00000006-C486-4167-8002-0794DD94CC5C}"/>
              </c:ext>
            </c:extLst>
          </c:dPt>
          <c:dPt>
            <c:idx val="6"/>
            <c:invertIfNegative val="1"/>
            <c:bubble3D val="0"/>
            <c:spPr>
              <a:solidFill>
                <a:srgbClr val="AEABAB"/>
              </a:solidFill>
              <a:ln>
                <a:noFill/>
              </a:ln>
              <a:effectLst/>
            </c:spPr>
            <c:extLst>
              <c:ext xmlns:c16="http://schemas.microsoft.com/office/drawing/2014/chart" uri="{C3380CC4-5D6E-409C-BE32-E72D297353CC}">
                <c16:uniqueId val="{00000029-70DD-497D-A477-2221C5CD9506}"/>
              </c:ext>
            </c:extLst>
          </c:dPt>
          <c:dPt>
            <c:idx val="7"/>
            <c:invertIfNegative val="0"/>
            <c:bubble3D val="0"/>
            <c:spPr>
              <a:solidFill>
                <a:srgbClr val="AEABA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AEABA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AEABA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AEABA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AEABA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AEABA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AEABA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AEABA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AEABA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AEABA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AEABA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AEABA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AEABA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AEABA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5</c:f>
              <c:multiLvlStrCache>
                <c:ptCount val="14"/>
                <c:lvl>
                  <c:pt idx="0">
                    <c:v>Total</c:v>
                  </c:pt>
                  <c:pt idx="1">
                    <c:v>Nicolas</c:v>
                  </c:pt>
                  <c:pt idx="2">
                    <c:v>Total</c:v>
                  </c:pt>
                  <c:pt idx="3">
                    <c:v>Nicolas</c:v>
                  </c:pt>
                  <c:pt idx="4">
                    <c:v>Total</c:v>
                  </c:pt>
                  <c:pt idx="5">
                    <c:v>Nicolas</c:v>
                  </c:pt>
                  <c:pt idx="6">
                    <c:v>Total</c:v>
                  </c:pt>
                  <c:pt idx="7">
                    <c:v>Nicolas</c:v>
                  </c:pt>
                  <c:pt idx="8">
                    <c:v>Total</c:v>
                  </c:pt>
                  <c:pt idx="9">
                    <c:v>Nicolas</c:v>
                  </c:pt>
                  <c:pt idx="10">
                    <c:v>Total</c:v>
                  </c:pt>
                  <c:pt idx="11">
                    <c:v>Nicolas</c:v>
                  </c:pt>
                  <c:pt idx="12">
                    <c:v>Total</c:v>
                  </c:pt>
                  <c:pt idx="13">
                    <c:v>Nicolas</c:v>
                  </c:pt>
                </c:lvl>
                <c:lvl>
                  <c:pt idx="0">
                    <c:v>Bruts</c:v>
                  </c:pt>
                  <c:pt idx="2">
                    <c:v>Blanc De Blancs</c:v>
                  </c:pt>
                  <c:pt idx="4">
                    <c:v>Rosés</c:v>
                  </c:pt>
                  <c:pt idx="6">
                    <c:v>Millesimes</c:v>
                  </c:pt>
                  <c:pt idx="8">
                    <c:v>Crus</c:v>
                  </c:pt>
                  <c:pt idx="10">
                    <c:v>Extra Brut</c:v>
                  </c:pt>
                  <c:pt idx="12">
                    <c:v>Mousseux Italiens</c:v>
                  </c:pt>
                </c:lvl>
                <c:lvl>
                  <c:pt idx="0">
                    <c:v>Champagnes</c:v>
                  </c:pt>
                  <c:pt idx="12">
                    <c:v>Mousseux</c:v>
                  </c:pt>
                </c:lvl>
              </c:multiLvlStrCache>
            </c:multiLvlStrRef>
          </c:cat>
          <c:val>
            <c:numRef>
              <c:f>Sheet1!$D$2:$D$15</c:f>
              <c:numCache>
                <c:formatCode>General</c:formatCode>
                <c:ptCount val="14"/>
                <c:pt idx="0">
                  <c:v>2.4</c:v>
                </c:pt>
                <c:pt idx="1">
                  <c:v>0.2</c:v>
                </c:pt>
                <c:pt idx="2">
                  <c:v>0.4</c:v>
                </c:pt>
                <c:pt idx="3">
                  <c:v>0</c:v>
                </c:pt>
                <c:pt idx="4">
                  <c:v>0.2</c:v>
                </c:pt>
                <c:pt idx="5">
                  <c:v>0</c:v>
                </c:pt>
                <c:pt idx="6">
                  <c:v>0.2</c:v>
                </c:pt>
                <c:pt idx="7">
                  <c:v>0</c:v>
                </c:pt>
                <c:pt idx="8">
                  <c:v>0.1</c:v>
                </c:pt>
                <c:pt idx="9">
                  <c:v>0</c:v>
                </c:pt>
                <c:pt idx="10">
                  <c:v>0.1</c:v>
                </c:pt>
                <c:pt idx="11">
                  <c:v>0</c:v>
                </c:pt>
                <c:pt idx="12">
                  <c:v>0.1</c:v>
                </c:pt>
                <c:pt idx="13">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53.6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30.2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98.8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58.0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73.6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70DD-497D-A477-2221C5CD9506}"/>
                </c:ext>
              </c:extLst>
            </c:dLbl>
            <c:dLbl>
              <c:idx val="5"/>
              <c:tx>
                <c:rich>
                  <a:bodyPr/>
                  <a:lstStyle/>
                  <a:p>
                    <a:r>
                      <a:t>38.4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70DD-497D-A477-2221C5CD9506}"/>
                </c:ext>
              </c:extLst>
            </c:dLbl>
            <c:dLbl>
              <c:idx val="6"/>
              <c:tx>
                <c:rich>
                  <a:bodyPr/>
                  <a:lstStyle/>
                  <a:p>
                    <a:r>
                      <a:t>187.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70DD-497D-A477-2221C5CD9506}"/>
                </c:ext>
              </c:extLst>
            </c:dLbl>
            <c:dLbl>
              <c:idx val="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70DD-497D-A477-2221C5CD9506}"/>
                </c:ext>
              </c:extLst>
            </c:dLbl>
            <c:dLbl>
              <c:idx val="8"/>
              <c:tx>
                <c:rich>
                  <a:bodyPr/>
                  <a:lstStyle/>
                  <a:p>
                    <a:r>
                      <a:t>39.9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70DD-497D-A477-2221C5CD9506}"/>
                </c:ext>
              </c:extLst>
            </c:dLbl>
            <c:dLbl>
              <c:idx val="9"/>
              <c:tx>
                <c:rich>
                  <a:bodyPr/>
                  <a:lstStyle/>
                  <a:p>
                    <a:r>
                      <a:t>44.8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70DD-497D-A477-2221C5CD9506}"/>
                </c:ext>
              </c:extLst>
            </c:dLbl>
            <c:dLbl>
              <c:idx val="10"/>
              <c:tx>
                <c:rich>
                  <a:bodyPr/>
                  <a:lstStyle/>
                  <a:p>
                    <a:r>
                      <a:t>44.3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70DD-497D-A477-2221C5CD9506}"/>
                </c:ext>
              </c:extLst>
            </c:dLbl>
            <c:dLbl>
              <c:idx val="1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70DD-497D-A477-2221C5CD9506}"/>
                </c:ext>
              </c:extLst>
            </c:dLbl>
            <c:dLbl>
              <c:idx val="12"/>
              <c:tx>
                <c:rich>
                  <a:bodyPr/>
                  <a:lstStyle/>
                  <a:p>
                    <a:r>
                      <a:t>11.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70DD-497D-A477-2221C5CD9506}"/>
                </c:ext>
              </c:extLst>
            </c:dLbl>
            <c:dLbl>
              <c:idx val="1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70DD-497D-A477-2221C5CD9506}"/>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5</c:f>
              <c:multiLvlStrCache>
                <c:ptCount val="14"/>
                <c:lvl>
                  <c:pt idx="0">
                    <c:v>Total</c:v>
                  </c:pt>
                  <c:pt idx="1">
                    <c:v>Nicolas</c:v>
                  </c:pt>
                  <c:pt idx="2">
                    <c:v>Total</c:v>
                  </c:pt>
                  <c:pt idx="3">
                    <c:v>Nicolas</c:v>
                  </c:pt>
                  <c:pt idx="4">
                    <c:v>Total</c:v>
                  </c:pt>
                  <c:pt idx="5">
                    <c:v>Nicolas</c:v>
                  </c:pt>
                  <c:pt idx="6">
                    <c:v>Total</c:v>
                  </c:pt>
                  <c:pt idx="7">
                    <c:v>Nicolas</c:v>
                  </c:pt>
                  <c:pt idx="8">
                    <c:v>Total</c:v>
                  </c:pt>
                  <c:pt idx="9">
                    <c:v>Nicolas</c:v>
                  </c:pt>
                  <c:pt idx="10">
                    <c:v>Total</c:v>
                  </c:pt>
                  <c:pt idx="11">
                    <c:v>Nicolas</c:v>
                  </c:pt>
                  <c:pt idx="12">
                    <c:v>Total</c:v>
                  </c:pt>
                  <c:pt idx="13">
                    <c:v>Nicolas</c:v>
                  </c:pt>
                </c:lvl>
                <c:lvl>
                  <c:pt idx="0">
                    <c:v>Bruts</c:v>
                  </c:pt>
                  <c:pt idx="2">
                    <c:v>Blanc De Blancs</c:v>
                  </c:pt>
                  <c:pt idx="4">
                    <c:v>Rosés</c:v>
                  </c:pt>
                  <c:pt idx="6">
                    <c:v>Millesimes</c:v>
                  </c:pt>
                  <c:pt idx="8">
                    <c:v>Crus</c:v>
                  </c:pt>
                  <c:pt idx="10">
                    <c:v>Extra Brut</c:v>
                  </c:pt>
                  <c:pt idx="12">
                    <c:v>Mousseux Italiens</c:v>
                  </c:pt>
                </c:lvl>
                <c:lvl>
                  <c:pt idx="0">
                    <c:v>Champagnes</c:v>
                  </c:pt>
                  <c:pt idx="12">
                    <c:v>Mousseux</c:v>
                  </c:pt>
                </c:lvl>
              </c:multiLvlStrCache>
            </c:multiLvlStrRef>
          </c:cat>
          <c:val>
            <c:numRef>
              <c:f>Sheet1!$E$2:$E$15</c:f>
              <c:numCache>
                <c:formatCode>General</c:formatCode>
                <c:ptCount val="14"/>
                <c:pt idx="0">
                  <c:v>53.6935</c:v>
                </c:pt>
                <c:pt idx="1">
                  <c:v>30.215599999999998</c:v>
                </c:pt>
                <c:pt idx="2">
                  <c:v>98.810699999999997</c:v>
                </c:pt>
                <c:pt idx="3">
                  <c:v>58.055700000000002</c:v>
                </c:pt>
                <c:pt idx="4">
                  <c:v>73.642300000000006</c:v>
                </c:pt>
                <c:pt idx="5">
                  <c:v>38.415900000000001</c:v>
                </c:pt>
                <c:pt idx="6">
                  <c:v>187.09819999999999</c:v>
                </c:pt>
                <c:pt idx="7">
                  <c:v>0</c:v>
                </c:pt>
                <c:pt idx="8">
                  <c:v>39.974299999999999</c:v>
                </c:pt>
                <c:pt idx="9">
                  <c:v>44.848500000000001</c:v>
                </c:pt>
                <c:pt idx="10">
                  <c:v>44.310400000000001</c:v>
                </c:pt>
                <c:pt idx="11">
                  <c:v>0</c:v>
                </c:pt>
                <c:pt idx="12">
                  <c:v>11.4984</c:v>
                </c:pt>
                <c:pt idx="13">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0"/>
            <c:bubble3D val="0"/>
            <c:spPr>
              <a:solidFill>
                <a:srgbClr val="AEABAB"/>
              </a:solidFill>
              <a:ln>
                <a:noFill/>
              </a:ln>
              <a:effectLst/>
            </c:spPr>
            <c:extLst>
              <c:ext xmlns:c16="http://schemas.microsoft.com/office/drawing/2014/chart" uri="{C3380CC4-5D6E-409C-BE32-E72D297353CC}">
                <c16:uniqueId val="{00000026-4B23-4768-AE96-7AAF69EC1929}"/>
              </c:ext>
            </c:extLst>
          </c:dPt>
          <c:dPt>
            <c:idx val="5"/>
            <c:invertIfNegative val="0"/>
            <c:bubble3D val="0"/>
            <c:spPr>
              <a:solidFill>
                <a:srgbClr val="CBEAE7"/>
              </a:solidFill>
              <a:ln>
                <a:noFill/>
              </a:ln>
              <a:effectLst/>
            </c:spPr>
            <c:extLst>
              <c:ext xmlns:c16="http://schemas.microsoft.com/office/drawing/2014/chart" uri="{C3380CC4-5D6E-409C-BE32-E72D297353CC}">
                <c16:uniqueId val="{00000006-C486-4167-8002-0794DD94CC5C}"/>
              </c:ext>
            </c:extLst>
          </c:dPt>
          <c:dPt>
            <c:idx val="6"/>
            <c:invertIfNegative val="1"/>
            <c:bubble3D val="0"/>
            <c:spPr>
              <a:solidFill>
                <a:srgbClr val="AEABAB"/>
              </a:solidFill>
              <a:ln>
                <a:noFill/>
              </a:ln>
              <a:effectLst/>
            </c:spPr>
            <c:extLst>
              <c:ext xmlns:c16="http://schemas.microsoft.com/office/drawing/2014/chart" uri="{C3380CC4-5D6E-409C-BE32-E72D297353CC}">
                <c16:uniqueId val="{00000029-C45F-4B70-8ADF-EA9CB1C59D1B}"/>
              </c:ext>
            </c:extLst>
          </c:dPt>
          <c:dPt>
            <c:idx val="7"/>
            <c:invertIfNegative val="0"/>
            <c:bubble3D val="0"/>
            <c:spPr>
              <a:solidFill>
                <a:srgbClr val="CBEAE7"/>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AEABA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AEABA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AEABA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AEABA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AEABA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AEABA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AEABA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AEABA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AEABA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AEABA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AEABA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AEABA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AEABA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7</c:f>
              <c:multiLvlStrCache>
                <c:ptCount val="16"/>
                <c:lvl>
                  <c:pt idx="0">
                    <c:v>Total</c:v>
                  </c:pt>
                  <c:pt idx="1">
                    <c:v>Nicolas</c:v>
                  </c:pt>
                  <c:pt idx="2">
                    <c:v>Total</c:v>
                  </c:pt>
                  <c:pt idx="3">
                    <c:v>Nicolas</c:v>
                  </c:pt>
                  <c:pt idx="4">
                    <c:v>Total</c:v>
                  </c:pt>
                  <c:pt idx="5">
                    <c:v>Nicolas</c:v>
                  </c:pt>
                  <c:pt idx="6">
                    <c:v>Total</c:v>
                  </c:pt>
                  <c:pt idx="7">
                    <c:v>Nicolas</c:v>
                  </c:pt>
                  <c:pt idx="8">
                    <c:v>Total</c:v>
                  </c:pt>
                  <c:pt idx="9">
                    <c:v>Nicolas</c:v>
                  </c:pt>
                  <c:pt idx="10">
                    <c:v>Total</c:v>
                  </c:pt>
                  <c:pt idx="11">
                    <c:v>Nicolas</c:v>
                  </c:pt>
                  <c:pt idx="12">
                    <c:v>Total</c:v>
                  </c:pt>
                  <c:pt idx="13">
                    <c:v>Nicolas</c:v>
                  </c:pt>
                  <c:pt idx="14">
                    <c:v>Total</c:v>
                  </c:pt>
                  <c:pt idx="15">
                    <c:v>Nicolas</c:v>
                  </c:pt>
                </c:lvl>
                <c:lvl>
                  <c:pt idx="0">
                    <c:v>Bruts</c:v>
                  </c:pt>
                  <c:pt idx="2">
                    <c:v>Blanc De Blancs</c:v>
                  </c:pt>
                  <c:pt idx="4">
                    <c:v>Rosés</c:v>
                  </c:pt>
                  <c:pt idx="6">
                    <c:v>Crus</c:v>
                  </c:pt>
                  <c:pt idx="8">
                    <c:v>Millesimes</c:v>
                  </c:pt>
                  <c:pt idx="10">
                    <c:v>Extra Brut</c:v>
                  </c:pt>
                  <c:pt idx="12">
                    <c:v>Mousseux Italiens</c:v>
                  </c:pt>
                  <c:pt idx="14">
                    <c:v>Mousseux Val De Loire</c:v>
                  </c:pt>
                </c:lvl>
                <c:lvl>
                  <c:pt idx="0">
                    <c:v>Champagnes</c:v>
                  </c:pt>
                  <c:pt idx="12">
                    <c:v>Mousseux</c:v>
                  </c:pt>
                </c:lvl>
              </c:multiLvlStrCache>
            </c:multiLvlStrRef>
          </c:cat>
          <c:val>
            <c:numRef>
              <c:f>Sheet1!$D$2:$D$17</c:f>
              <c:numCache>
                <c:formatCode>General</c:formatCode>
                <c:ptCount val="16"/>
                <c:pt idx="0">
                  <c:v>1.3</c:v>
                </c:pt>
                <c:pt idx="1">
                  <c:v>0.2</c:v>
                </c:pt>
                <c:pt idx="2">
                  <c:v>0.2</c:v>
                </c:pt>
                <c:pt idx="3">
                  <c:v>0</c:v>
                </c:pt>
                <c:pt idx="4">
                  <c:v>0.1</c:v>
                </c:pt>
                <c:pt idx="5">
                  <c:v>0</c:v>
                </c:pt>
                <c:pt idx="6">
                  <c:v>0.1</c:v>
                </c:pt>
                <c:pt idx="7">
                  <c:v>0</c:v>
                </c:pt>
                <c:pt idx="8">
                  <c:v>0.1</c:v>
                </c:pt>
                <c:pt idx="9">
                  <c:v>0</c:v>
                </c:pt>
                <c:pt idx="10">
                  <c:v>0</c:v>
                </c:pt>
                <c:pt idx="11">
                  <c:v>0</c:v>
                </c:pt>
                <c:pt idx="12">
                  <c:v>0</c:v>
                </c:pt>
                <c:pt idx="13">
                  <c:v>0</c:v>
                </c:pt>
                <c:pt idx="14">
                  <c:v>0</c:v>
                </c:pt>
                <c:pt idx="15">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49.7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29.2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92.6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55.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69.8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C45F-4B70-8ADF-EA9CB1C59D1B}"/>
                </c:ext>
              </c:extLst>
            </c:dLbl>
            <c:dLbl>
              <c:idx val="5"/>
              <c:tx>
                <c:rich>
                  <a:bodyPr/>
                  <a:lstStyle/>
                  <a:p>
                    <a:r>
                      <a:t>37.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C45F-4B70-8ADF-EA9CB1C59D1B}"/>
                </c:ext>
              </c:extLst>
            </c:dLbl>
            <c:dLbl>
              <c:idx val="6"/>
              <c:tx>
                <c:rich>
                  <a:bodyPr/>
                  <a:lstStyle/>
                  <a:p>
                    <a:r>
                      <a:t>40.1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C45F-4B70-8ADF-EA9CB1C59D1B}"/>
                </c:ext>
              </c:extLst>
            </c:dLbl>
            <c:dLbl>
              <c:idx val="7"/>
              <c:tx>
                <c:rich>
                  <a:bodyPr/>
                  <a:lstStyle/>
                  <a:p>
                    <a:r>
                      <a:t>43.5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C45F-4B70-8ADF-EA9CB1C59D1B}"/>
                </c:ext>
              </c:extLst>
            </c:dLbl>
            <c:dLbl>
              <c:idx val="8"/>
              <c:tx>
                <c:rich>
                  <a:bodyPr/>
                  <a:lstStyle/>
                  <a:p>
                    <a:r>
                      <a:t>189.1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C45F-4B70-8ADF-EA9CB1C59D1B}"/>
                </c:ext>
              </c:extLst>
            </c:dLbl>
            <c:dLbl>
              <c:idx val="9"/>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C45F-4B70-8ADF-EA9CB1C59D1B}"/>
                </c:ext>
              </c:extLst>
            </c:dLbl>
            <c:dLbl>
              <c:idx val="10"/>
              <c:tx>
                <c:rich>
                  <a:bodyPr/>
                  <a:lstStyle/>
                  <a:p>
                    <a:r>
                      <a:t>43.9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C45F-4B70-8ADF-EA9CB1C59D1B}"/>
                </c:ext>
              </c:extLst>
            </c:dLbl>
            <c:dLbl>
              <c:idx val="1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C45F-4B70-8ADF-EA9CB1C59D1B}"/>
                </c:ext>
              </c:extLst>
            </c:dLbl>
            <c:dLbl>
              <c:idx val="12"/>
              <c:tx>
                <c:rich>
                  <a:bodyPr/>
                  <a:lstStyle/>
                  <a:p>
                    <a:r>
                      <a:t>11.4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C45F-4B70-8ADF-EA9CB1C59D1B}"/>
                </c:ext>
              </c:extLst>
            </c:dLbl>
            <c:dLbl>
              <c:idx val="1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C45F-4B70-8ADF-EA9CB1C59D1B}"/>
                </c:ext>
              </c:extLst>
            </c:dLbl>
            <c:dLbl>
              <c:idx val="14"/>
              <c:tx>
                <c:rich>
                  <a:bodyPr/>
                  <a:lstStyle/>
                  <a:p>
                    <a:r>
                      <a:t>14.8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C45F-4B70-8ADF-EA9CB1C59D1B}"/>
                </c:ext>
              </c:extLst>
            </c:dLbl>
            <c:dLbl>
              <c:idx val="1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C45F-4B70-8ADF-EA9CB1C59D1B}"/>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7</c:f>
              <c:multiLvlStrCache>
                <c:ptCount val="16"/>
                <c:lvl>
                  <c:pt idx="0">
                    <c:v>Total</c:v>
                  </c:pt>
                  <c:pt idx="1">
                    <c:v>Nicolas</c:v>
                  </c:pt>
                  <c:pt idx="2">
                    <c:v>Total</c:v>
                  </c:pt>
                  <c:pt idx="3">
                    <c:v>Nicolas</c:v>
                  </c:pt>
                  <c:pt idx="4">
                    <c:v>Total</c:v>
                  </c:pt>
                  <c:pt idx="5">
                    <c:v>Nicolas</c:v>
                  </c:pt>
                  <c:pt idx="6">
                    <c:v>Total</c:v>
                  </c:pt>
                  <c:pt idx="7">
                    <c:v>Nicolas</c:v>
                  </c:pt>
                  <c:pt idx="8">
                    <c:v>Total</c:v>
                  </c:pt>
                  <c:pt idx="9">
                    <c:v>Nicolas</c:v>
                  </c:pt>
                  <c:pt idx="10">
                    <c:v>Total</c:v>
                  </c:pt>
                  <c:pt idx="11">
                    <c:v>Nicolas</c:v>
                  </c:pt>
                  <c:pt idx="12">
                    <c:v>Total</c:v>
                  </c:pt>
                  <c:pt idx="13">
                    <c:v>Nicolas</c:v>
                  </c:pt>
                  <c:pt idx="14">
                    <c:v>Total</c:v>
                  </c:pt>
                  <c:pt idx="15">
                    <c:v>Nicolas</c:v>
                  </c:pt>
                </c:lvl>
                <c:lvl>
                  <c:pt idx="0">
                    <c:v>Bruts</c:v>
                  </c:pt>
                  <c:pt idx="2">
                    <c:v>Blanc De Blancs</c:v>
                  </c:pt>
                  <c:pt idx="4">
                    <c:v>Rosés</c:v>
                  </c:pt>
                  <c:pt idx="6">
                    <c:v>Crus</c:v>
                  </c:pt>
                  <c:pt idx="8">
                    <c:v>Millesimes</c:v>
                  </c:pt>
                  <c:pt idx="10">
                    <c:v>Extra Brut</c:v>
                  </c:pt>
                  <c:pt idx="12">
                    <c:v>Mousseux Italiens</c:v>
                  </c:pt>
                  <c:pt idx="14">
                    <c:v>Mousseux Val De Loire</c:v>
                  </c:pt>
                </c:lvl>
                <c:lvl>
                  <c:pt idx="0">
                    <c:v>Champagnes</c:v>
                  </c:pt>
                  <c:pt idx="12">
                    <c:v>Mousseux</c:v>
                  </c:pt>
                </c:lvl>
              </c:multiLvlStrCache>
            </c:multiLvlStrRef>
          </c:cat>
          <c:val>
            <c:numRef>
              <c:f>Sheet1!$E$2:$E$17</c:f>
              <c:numCache>
                <c:formatCode>General</c:formatCode>
                <c:ptCount val="16"/>
                <c:pt idx="0">
                  <c:v>49.7729</c:v>
                </c:pt>
                <c:pt idx="1">
                  <c:v>29.226299999999998</c:v>
                </c:pt>
                <c:pt idx="2">
                  <c:v>92.624799999999993</c:v>
                </c:pt>
                <c:pt idx="3">
                  <c:v>55.4955</c:v>
                </c:pt>
                <c:pt idx="4">
                  <c:v>69.882499999999993</c:v>
                </c:pt>
                <c:pt idx="5">
                  <c:v>37.238300000000002</c:v>
                </c:pt>
                <c:pt idx="6">
                  <c:v>40.115699999999997</c:v>
                </c:pt>
                <c:pt idx="7">
                  <c:v>43.537300000000002</c:v>
                </c:pt>
                <c:pt idx="8">
                  <c:v>189.125</c:v>
                </c:pt>
                <c:pt idx="9">
                  <c:v>0</c:v>
                </c:pt>
                <c:pt idx="10">
                  <c:v>43.936999999999998</c:v>
                </c:pt>
                <c:pt idx="11">
                  <c:v>0</c:v>
                </c:pt>
                <c:pt idx="12">
                  <c:v>11.468</c:v>
                </c:pt>
                <c:pt idx="13">
                  <c:v>0</c:v>
                </c:pt>
                <c:pt idx="14">
                  <c:v>14.828900000000001</c:v>
                </c:pt>
                <c:pt idx="15">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0"/>
            <c:bubble3D val="0"/>
            <c:spPr>
              <a:solidFill>
                <a:srgbClr val="AEABAB"/>
              </a:solidFill>
              <a:ln>
                <a:noFill/>
              </a:ln>
              <a:effectLst/>
            </c:spPr>
            <c:extLst>
              <c:ext xmlns:c16="http://schemas.microsoft.com/office/drawing/2014/chart" uri="{C3380CC4-5D6E-409C-BE32-E72D297353CC}">
                <c16:uniqueId val="{00000026-4B23-4768-AE96-7AAF69EC1929}"/>
              </c:ext>
            </c:extLst>
          </c:dPt>
          <c:dPt>
            <c:idx val="5"/>
            <c:invertIfNegative val="0"/>
            <c:bubble3D val="0"/>
            <c:spPr>
              <a:solidFill>
                <a:srgbClr val="CBEAE7"/>
              </a:solidFill>
              <a:ln>
                <a:noFill/>
              </a:ln>
              <a:effectLst/>
            </c:spPr>
            <c:extLst>
              <c:ext xmlns:c16="http://schemas.microsoft.com/office/drawing/2014/chart" uri="{C3380CC4-5D6E-409C-BE32-E72D297353CC}">
                <c16:uniqueId val="{00000006-C486-4167-8002-0794DD94CC5C}"/>
              </c:ext>
            </c:extLst>
          </c:dPt>
          <c:dPt>
            <c:idx val="6"/>
            <c:invertIfNegative val="1"/>
            <c:bubble3D val="0"/>
            <c:spPr>
              <a:solidFill>
                <a:srgbClr val="AEABAB"/>
              </a:solidFill>
              <a:ln>
                <a:noFill/>
              </a:ln>
              <a:effectLst/>
            </c:spPr>
            <c:extLst>
              <c:ext xmlns:c16="http://schemas.microsoft.com/office/drawing/2014/chart" uri="{C3380CC4-5D6E-409C-BE32-E72D297353CC}">
                <c16:uniqueId val="{00000029-31CE-4FBD-BA58-16D63DA7B478}"/>
              </c:ext>
            </c:extLst>
          </c:dPt>
          <c:dPt>
            <c:idx val="7"/>
            <c:invertIfNegative val="0"/>
            <c:bubble3D val="0"/>
            <c:spPr>
              <a:solidFill>
                <a:srgbClr val="AEABA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AEABA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AEABA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AEABA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AEABA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AEABA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AEABA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AEABA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AEABA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AEABA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AEABA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AEABA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AEABA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AEABA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5</c:f>
              <c:multiLvlStrCache>
                <c:ptCount val="14"/>
                <c:lvl>
                  <c:pt idx="0">
                    <c:v>Total</c:v>
                  </c:pt>
                  <c:pt idx="1">
                    <c:v>Nicolas</c:v>
                  </c:pt>
                  <c:pt idx="2">
                    <c:v>Total</c:v>
                  </c:pt>
                  <c:pt idx="3">
                    <c:v>Nicolas</c:v>
                  </c:pt>
                  <c:pt idx="4">
                    <c:v>Total</c:v>
                  </c:pt>
                  <c:pt idx="5">
                    <c:v>Nicolas</c:v>
                  </c:pt>
                  <c:pt idx="6">
                    <c:v>Total</c:v>
                  </c:pt>
                  <c:pt idx="7">
                    <c:v>Nicolas</c:v>
                  </c:pt>
                  <c:pt idx="8">
                    <c:v>Total</c:v>
                  </c:pt>
                  <c:pt idx="9">
                    <c:v>Nicolas</c:v>
                  </c:pt>
                  <c:pt idx="10">
                    <c:v>Total</c:v>
                  </c:pt>
                  <c:pt idx="11">
                    <c:v>Nicolas</c:v>
                  </c:pt>
                  <c:pt idx="12">
                    <c:v>Total</c:v>
                  </c:pt>
                  <c:pt idx="13">
                    <c:v>Nicolas</c:v>
                  </c:pt>
                </c:lvl>
                <c:lvl>
                  <c:pt idx="0">
                    <c:v>Bruts</c:v>
                  </c:pt>
                  <c:pt idx="2">
                    <c:v>Blanc De Blancs</c:v>
                  </c:pt>
                  <c:pt idx="4">
                    <c:v>Rosés</c:v>
                  </c:pt>
                  <c:pt idx="6">
                    <c:v>Millesimes</c:v>
                  </c:pt>
                  <c:pt idx="8">
                    <c:v>Crus</c:v>
                  </c:pt>
                  <c:pt idx="10">
                    <c:v>Extra Brut</c:v>
                  </c:pt>
                  <c:pt idx="12">
                    <c:v>Mousseux Alsace</c:v>
                  </c:pt>
                </c:lvl>
                <c:lvl>
                  <c:pt idx="0">
                    <c:v>Champagnes</c:v>
                  </c:pt>
                  <c:pt idx="12">
                    <c:v>Mousseux</c:v>
                  </c:pt>
                </c:lvl>
              </c:multiLvlStrCache>
            </c:multiLvlStrRef>
          </c:cat>
          <c:val>
            <c:numRef>
              <c:f>Sheet1!$D$2:$D$15</c:f>
              <c:numCache>
                <c:formatCode>General</c:formatCode>
                <c:ptCount val="14"/>
                <c:pt idx="0">
                  <c:v>1</c:v>
                </c:pt>
                <c:pt idx="1">
                  <c:v>0.1</c:v>
                </c:pt>
                <c:pt idx="2">
                  <c:v>0.2</c:v>
                </c:pt>
                <c:pt idx="3">
                  <c:v>0</c:v>
                </c:pt>
                <c:pt idx="4">
                  <c:v>0.1</c:v>
                </c:pt>
                <c:pt idx="5">
                  <c:v>0</c:v>
                </c:pt>
                <c:pt idx="6">
                  <c:v>0.1</c:v>
                </c:pt>
                <c:pt idx="7">
                  <c:v>0</c:v>
                </c:pt>
                <c:pt idx="8">
                  <c:v>0.1</c:v>
                </c:pt>
                <c:pt idx="9">
                  <c:v>0</c:v>
                </c:pt>
                <c:pt idx="10">
                  <c:v>0</c:v>
                </c:pt>
                <c:pt idx="11">
                  <c:v>0</c:v>
                </c:pt>
                <c:pt idx="12">
                  <c:v>0.2</c:v>
                </c:pt>
                <c:pt idx="13">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5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28.6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64.1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57.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64.3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31CE-4FBD-BA58-16D63DA7B478}"/>
                </c:ext>
              </c:extLst>
            </c:dLbl>
            <c:dLbl>
              <c:idx val="5"/>
              <c:tx>
                <c:rich>
                  <a:bodyPr/>
                  <a:lstStyle/>
                  <a:p>
                    <a:r>
                      <a:t>35.6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31CE-4FBD-BA58-16D63DA7B478}"/>
                </c:ext>
              </c:extLst>
            </c:dLbl>
            <c:dLbl>
              <c:idx val="6"/>
              <c:tx>
                <c:rich>
                  <a:bodyPr/>
                  <a:lstStyle/>
                  <a:p>
                    <a:r>
                      <a:t>144.4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31CE-4FBD-BA58-16D63DA7B478}"/>
                </c:ext>
              </c:extLst>
            </c:dLbl>
            <c:dLbl>
              <c:idx val="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31CE-4FBD-BA58-16D63DA7B478}"/>
                </c:ext>
              </c:extLst>
            </c:dLbl>
            <c:dLbl>
              <c:idx val="8"/>
              <c:tx>
                <c:rich>
                  <a:bodyPr/>
                  <a:lstStyle/>
                  <a:p>
                    <a:r>
                      <a:t>39.5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31CE-4FBD-BA58-16D63DA7B478}"/>
                </c:ext>
              </c:extLst>
            </c:dLbl>
            <c:dLbl>
              <c:idx val="9"/>
              <c:tx>
                <c:rich>
                  <a:bodyPr/>
                  <a:lstStyle/>
                  <a:p>
                    <a:r>
                      <a:t>43.1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31CE-4FBD-BA58-16D63DA7B478}"/>
                </c:ext>
              </c:extLst>
            </c:dLbl>
            <c:dLbl>
              <c:idx val="10"/>
              <c:tx>
                <c:rich>
                  <a:bodyPr/>
                  <a:lstStyle/>
                  <a:p>
                    <a:r>
                      <a:t>43.7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31CE-4FBD-BA58-16D63DA7B478}"/>
                </c:ext>
              </c:extLst>
            </c:dLbl>
            <c:dLbl>
              <c:idx val="1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31CE-4FBD-BA58-16D63DA7B478}"/>
                </c:ext>
              </c:extLst>
            </c:dLbl>
            <c:dLbl>
              <c:idx val="12"/>
              <c:tx>
                <c:rich>
                  <a:bodyPr/>
                  <a:lstStyle/>
                  <a:p>
                    <a:r>
                      <a:t>16.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31CE-4FBD-BA58-16D63DA7B478}"/>
                </c:ext>
              </c:extLst>
            </c:dLbl>
            <c:dLbl>
              <c:idx val="1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31CE-4FBD-BA58-16D63DA7B478}"/>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5</c:f>
              <c:multiLvlStrCache>
                <c:ptCount val="14"/>
                <c:lvl>
                  <c:pt idx="0">
                    <c:v>Total</c:v>
                  </c:pt>
                  <c:pt idx="1">
                    <c:v>Nicolas</c:v>
                  </c:pt>
                  <c:pt idx="2">
                    <c:v>Total</c:v>
                  </c:pt>
                  <c:pt idx="3">
                    <c:v>Nicolas</c:v>
                  </c:pt>
                  <c:pt idx="4">
                    <c:v>Total</c:v>
                  </c:pt>
                  <c:pt idx="5">
                    <c:v>Nicolas</c:v>
                  </c:pt>
                  <c:pt idx="6">
                    <c:v>Total</c:v>
                  </c:pt>
                  <c:pt idx="7">
                    <c:v>Nicolas</c:v>
                  </c:pt>
                  <c:pt idx="8">
                    <c:v>Total</c:v>
                  </c:pt>
                  <c:pt idx="9">
                    <c:v>Nicolas</c:v>
                  </c:pt>
                  <c:pt idx="10">
                    <c:v>Total</c:v>
                  </c:pt>
                  <c:pt idx="11">
                    <c:v>Nicolas</c:v>
                  </c:pt>
                  <c:pt idx="12">
                    <c:v>Total</c:v>
                  </c:pt>
                  <c:pt idx="13">
                    <c:v>Nicolas</c:v>
                  </c:pt>
                </c:lvl>
                <c:lvl>
                  <c:pt idx="0">
                    <c:v>Bruts</c:v>
                  </c:pt>
                  <c:pt idx="2">
                    <c:v>Blanc De Blancs</c:v>
                  </c:pt>
                  <c:pt idx="4">
                    <c:v>Rosés</c:v>
                  </c:pt>
                  <c:pt idx="6">
                    <c:v>Millesimes</c:v>
                  </c:pt>
                  <c:pt idx="8">
                    <c:v>Crus</c:v>
                  </c:pt>
                  <c:pt idx="10">
                    <c:v>Extra Brut</c:v>
                  </c:pt>
                  <c:pt idx="12">
                    <c:v>Mousseux Alsace</c:v>
                  </c:pt>
                </c:lvl>
                <c:lvl>
                  <c:pt idx="0">
                    <c:v>Champagnes</c:v>
                  </c:pt>
                  <c:pt idx="12">
                    <c:v>Mousseux</c:v>
                  </c:pt>
                </c:lvl>
              </c:multiLvlStrCache>
            </c:multiLvlStrRef>
          </c:cat>
          <c:val>
            <c:numRef>
              <c:f>Sheet1!$E$2:$E$15</c:f>
              <c:numCache>
                <c:formatCode>General</c:formatCode>
                <c:ptCount val="14"/>
                <c:pt idx="0">
                  <c:v>49.9983</c:v>
                </c:pt>
                <c:pt idx="1">
                  <c:v>28.638400000000001</c:v>
                </c:pt>
                <c:pt idx="2">
                  <c:v>64.121099999999998</c:v>
                </c:pt>
                <c:pt idx="3">
                  <c:v>57.200899999999997</c:v>
                </c:pt>
                <c:pt idx="4">
                  <c:v>64.334999999999994</c:v>
                </c:pt>
                <c:pt idx="5">
                  <c:v>35.692599999999999</c:v>
                </c:pt>
                <c:pt idx="6">
                  <c:v>144.41679999999999</c:v>
                </c:pt>
                <c:pt idx="7">
                  <c:v>0</c:v>
                </c:pt>
                <c:pt idx="8">
                  <c:v>39.542400000000001</c:v>
                </c:pt>
                <c:pt idx="9">
                  <c:v>43.166699999999999</c:v>
                </c:pt>
                <c:pt idx="10">
                  <c:v>43.752200000000002</c:v>
                </c:pt>
                <c:pt idx="11">
                  <c:v>0</c:v>
                </c:pt>
                <c:pt idx="12">
                  <c:v>16.241700000000002</c:v>
                </c:pt>
                <c:pt idx="13">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0"/>
            <c:bubble3D val="0"/>
            <c:spPr>
              <a:solidFill>
                <a:srgbClr val="AEABAB"/>
              </a:solidFill>
              <a:ln>
                <a:noFill/>
              </a:ln>
              <a:effectLst/>
            </c:spPr>
            <c:extLst>
              <c:ext xmlns:c16="http://schemas.microsoft.com/office/drawing/2014/chart" uri="{C3380CC4-5D6E-409C-BE32-E72D297353CC}">
                <c16:uniqueId val="{00000026-4B23-4768-AE96-7AAF69EC1929}"/>
              </c:ext>
            </c:extLst>
          </c:dPt>
          <c:dPt>
            <c:idx val="5"/>
            <c:invertIfNegative val="0"/>
            <c:bubble3D val="0"/>
            <c:spPr>
              <a:solidFill>
                <a:srgbClr val="CBEAE7"/>
              </a:solidFill>
              <a:ln>
                <a:noFill/>
              </a:ln>
              <a:effectLst/>
            </c:spPr>
            <c:extLst>
              <c:ext xmlns:c16="http://schemas.microsoft.com/office/drawing/2014/chart" uri="{C3380CC4-5D6E-409C-BE32-E72D297353CC}">
                <c16:uniqueId val="{00000006-C486-4167-8002-0794DD94CC5C}"/>
              </c:ext>
            </c:extLst>
          </c:dPt>
          <c:dPt>
            <c:idx val="6"/>
            <c:invertIfNegative val="1"/>
            <c:bubble3D val="0"/>
            <c:spPr>
              <a:solidFill>
                <a:srgbClr val="AEABAB"/>
              </a:solidFill>
              <a:ln>
                <a:noFill/>
              </a:ln>
              <a:effectLst/>
            </c:spPr>
            <c:extLst>
              <c:ext xmlns:c16="http://schemas.microsoft.com/office/drawing/2014/chart" uri="{C3380CC4-5D6E-409C-BE32-E72D297353CC}">
                <c16:uniqueId val="{00000029-6293-4274-9343-35E3A605C4DB}"/>
              </c:ext>
            </c:extLst>
          </c:dPt>
          <c:dPt>
            <c:idx val="7"/>
            <c:invertIfNegative val="0"/>
            <c:bubble3D val="0"/>
            <c:spPr>
              <a:solidFill>
                <a:srgbClr val="CBEAE7"/>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AEABA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AEABA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AEABA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AEABA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AEABA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AEABA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AEABA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AEABA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AEABA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AEABA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AEABA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AEABA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AEABA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7</c:f>
              <c:multiLvlStrCache>
                <c:ptCount val="16"/>
                <c:lvl>
                  <c:pt idx="0">
                    <c:v>Total</c:v>
                  </c:pt>
                  <c:pt idx="1">
                    <c:v>Nicolas</c:v>
                  </c:pt>
                  <c:pt idx="2">
                    <c:v>Total</c:v>
                  </c:pt>
                  <c:pt idx="3">
                    <c:v>Nicolas</c:v>
                  </c:pt>
                  <c:pt idx="4">
                    <c:v>Total</c:v>
                  </c:pt>
                  <c:pt idx="5">
                    <c:v>Nicolas</c:v>
                  </c:pt>
                  <c:pt idx="6">
                    <c:v>Total</c:v>
                  </c:pt>
                  <c:pt idx="7">
                    <c:v>Nicolas</c:v>
                  </c:pt>
                  <c:pt idx="8">
                    <c:v>Total</c:v>
                  </c:pt>
                  <c:pt idx="9">
                    <c:v>Nicolas</c:v>
                  </c:pt>
                  <c:pt idx="10">
                    <c:v>Total</c:v>
                  </c:pt>
                  <c:pt idx="11">
                    <c:v>Nicolas</c:v>
                  </c:pt>
                  <c:pt idx="12">
                    <c:v>Total</c:v>
                  </c:pt>
                  <c:pt idx="13">
                    <c:v>Nicolas</c:v>
                  </c:pt>
                  <c:pt idx="14">
                    <c:v>Total</c:v>
                  </c:pt>
                  <c:pt idx="15">
                    <c:v>Nicolas</c:v>
                  </c:pt>
                </c:lvl>
                <c:lvl>
                  <c:pt idx="0">
                    <c:v>Bruts</c:v>
                  </c:pt>
                  <c:pt idx="2">
                    <c:v>Blanc De Blancs</c:v>
                  </c:pt>
                  <c:pt idx="4">
                    <c:v>Rosés</c:v>
                  </c:pt>
                  <c:pt idx="6">
                    <c:v>Millesimes</c:v>
                  </c:pt>
                  <c:pt idx="8">
                    <c:v>Crus</c:v>
                  </c:pt>
                  <c:pt idx="10">
                    <c:v>Extra Brut</c:v>
                  </c:pt>
                  <c:pt idx="12">
                    <c:v>Mousseux Italiens</c:v>
                  </c:pt>
                  <c:pt idx="14">
                    <c:v>Mousseux Val De Loire</c:v>
                  </c:pt>
                </c:lvl>
                <c:lvl>
                  <c:pt idx="0">
                    <c:v>Champagnes</c:v>
                  </c:pt>
                  <c:pt idx="12">
                    <c:v>Mousseux</c:v>
                  </c:pt>
                </c:lvl>
              </c:multiLvlStrCache>
            </c:multiLvlStrRef>
          </c:cat>
          <c:val>
            <c:numRef>
              <c:f>Sheet1!$D$2:$D$17</c:f>
              <c:numCache>
                <c:formatCode>General</c:formatCode>
                <c:ptCount val="16"/>
                <c:pt idx="0">
                  <c:v>11.8</c:v>
                </c:pt>
                <c:pt idx="1">
                  <c:v>1.2</c:v>
                </c:pt>
                <c:pt idx="2">
                  <c:v>2.8</c:v>
                </c:pt>
                <c:pt idx="3">
                  <c:v>0.1</c:v>
                </c:pt>
                <c:pt idx="4">
                  <c:v>1.5</c:v>
                </c:pt>
                <c:pt idx="5">
                  <c:v>0.1</c:v>
                </c:pt>
                <c:pt idx="6">
                  <c:v>1</c:v>
                </c:pt>
                <c:pt idx="7">
                  <c:v>0</c:v>
                </c:pt>
                <c:pt idx="8">
                  <c:v>0.8</c:v>
                </c:pt>
                <c:pt idx="9">
                  <c:v>0</c:v>
                </c:pt>
                <c:pt idx="10">
                  <c:v>0.7</c:v>
                </c:pt>
                <c:pt idx="11">
                  <c:v>0</c:v>
                </c:pt>
                <c:pt idx="12">
                  <c:v>0.5</c:v>
                </c:pt>
                <c:pt idx="13">
                  <c:v>0</c:v>
                </c:pt>
                <c:pt idx="14">
                  <c:v>0.2</c:v>
                </c:pt>
                <c:pt idx="15">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53.7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29.4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103.5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54.5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86.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6293-4274-9343-35E3A605C4DB}"/>
                </c:ext>
              </c:extLst>
            </c:dLbl>
            <c:dLbl>
              <c:idx val="5"/>
              <c:tx>
                <c:rich>
                  <a:bodyPr/>
                  <a:lstStyle/>
                  <a:p>
                    <a:r>
                      <a:t>37.9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6293-4274-9343-35E3A605C4DB}"/>
                </c:ext>
              </c:extLst>
            </c:dLbl>
            <c:dLbl>
              <c:idx val="6"/>
              <c:tx>
                <c:rich>
                  <a:bodyPr/>
                  <a:lstStyle/>
                  <a:p>
                    <a:r>
                      <a:t>208.2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6293-4274-9343-35E3A605C4DB}"/>
                </c:ext>
              </c:extLst>
            </c:dLbl>
            <c:dLbl>
              <c:idx val="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6293-4274-9343-35E3A605C4DB}"/>
                </c:ext>
              </c:extLst>
            </c:dLbl>
            <c:dLbl>
              <c:idx val="8"/>
              <c:tx>
                <c:rich>
                  <a:bodyPr/>
                  <a:lstStyle/>
                  <a:p>
                    <a:r>
                      <a:t>39.9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6293-4274-9343-35E3A605C4DB}"/>
                </c:ext>
              </c:extLst>
            </c:dLbl>
            <c:dLbl>
              <c:idx val="9"/>
              <c:tx>
                <c:rich>
                  <a:bodyPr/>
                  <a:lstStyle/>
                  <a:p>
                    <a:r>
                      <a:t>43.9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6293-4274-9343-35E3A605C4DB}"/>
                </c:ext>
              </c:extLst>
            </c:dLbl>
            <c:dLbl>
              <c:idx val="10"/>
              <c:tx>
                <c:rich>
                  <a:bodyPr/>
                  <a:lstStyle/>
                  <a:p>
                    <a:r>
                      <a:t>44.7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6293-4274-9343-35E3A605C4DB}"/>
                </c:ext>
              </c:extLst>
            </c:dLbl>
            <c:dLbl>
              <c:idx val="1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6293-4274-9343-35E3A605C4DB}"/>
                </c:ext>
              </c:extLst>
            </c:dLbl>
            <c:dLbl>
              <c:idx val="12"/>
              <c:tx>
                <c:rich>
                  <a:bodyPr/>
                  <a:lstStyle/>
                  <a:p>
                    <a:r>
                      <a:t>12.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6293-4274-9343-35E3A605C4DB}"/>
                </c:ext>
              </c:extLst>
            </c:dLbl>
            <c:dLbl>
              <c:idx val="1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6293-4274-9343-35E3A605C4DB}"/>
                </c:ext>
              </c:extLst>
            </c:dLbl>
            <c:dLbl>
              <c:idx val="14"/>
              <c:tx>
                <c:rich>
                  <a:bodyPr/>
                  <a:lstStyle/>
                  <a:p>
                    <a:r>
                      <a:t>15.8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6293-4274-9343-35E3A605C4DB}"/>
                </c:ext>
              </c:extLst>
            </c:dLbl>
            <c:dLbl>
              <c:idx val="1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6293-4274-9343-35E3A605C4DB}"/>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7</c:f>
              <c:multiLvlStrCache>
                <c:ptCount val="16"/>
                <c:lvl>
                  <c:pt idx="0">
                    <c:v>Total</c:v>
                  </c:pt>
                  <c:pt idx="1">
                    <c:v>Nicolas</c:v>
                  </c:pt>
                  <c:pt idx="2">
                    <c:v>Total</c:v>
                  </c:pt>
                  <c:pt idx="3">
                    <c:v>Nicolas</c:v>
                  </c:pt>
                  <c:pt idx="4">
                    <c:v>Total</c:v>
                  </c:pt>
                  <c:pt idx="5">
                    <c:v>Nicolas</c:v>
                  </c:pt>
                  <c:pt idx="6">
                    <c:v>Total</c:v>
                  </c:pt>
                  <c:pt idx="7">
                    <c:v>Nicolas</c:v>
                  </c:pt>
                  <c:pt idx="8">
                    <c:v>Total</c:v>
                  </c:pt>
                  <c:pt idx="9">
                    <c:v>Nicolas</c:v>
                  </c:pt>
                  <c:pt idx="10">
                    <c:v>Total</c:v>
                  </c:pt>
                  <c:pt idx="11">
                    <c:v>Nicolas</c:v>
                  </c:pt>
                  <c:pt idx="12">
                    <c:v>Total</c:v>
                  </c:pt>
                  <c:pt idx="13">
                    <c:v>Nicolas</c:v>
                  </c:pt>
                  <c:pt idx="14">
                    <c:v>Total</c:v>
                  </c:pt>
                  <c:pt idx="15">
                    <c:v>Nicolas</c:v>
                  </c:pt>
                </c:lvl>
                <c:lvl>
                  <c:pt idx="0">
                    <c:v>Bruts</c:v>
                  </c:pt>
                  <c:pt idx="2">
                    <c:v>Blanc De Blancs</c:v>
                  </c:pt>
                  <c:pt idx="4">
                    <c:v>Rosés</c:v>
                  </c:pt>
                  <c:pt idx="6">
                    <c:v>Millesimes</c:v>
                  </c:pt>
                  <c:pt idx="8">
                    <c:v>Crus</c:v>
                  </c:pt>
                  <c:pt idx="10">
                    <c:v>Extra Brut</c:v>
                  </c:pt>
                  <c:pt idx="12">
                    <c:v>Mousseux Italiens</c:v>
                  </c:pt>
                  <c:pt idx="14">
                    <c:v>Mousseux Val De Loire</c:v>
                  </c:pt>
                </c:lvl>
                <c:lvl>
                  <c:pt idx="0">
                    <c:v>Champagnes</c:v>
                  </c:pt>
                  <c:pt idx="12">
                    <c:v>Mousseux</c:v>
                  </c:pt>
                </c:lvl>
              </c:multiLvlStrCache>
            </c:multiLvlStrRef>
          </c:cat>
          <c:val>
            <c:numRef>
              <c:f>Sheet1!$E$2:$E$17</c:f>
              <c:numCache>
                <c:formatCode>General</c:formatCode>
                <c:ptCount val="16"/>
                <c:pt idx="0">
                  <c:v>53.777200000000001</c:v>
                </c:pt>
                <c:pt idx="1">
                  <c:v>29.4495</c:v>
                </c:pt>
                <c:pt idx="2">
                  <c:v>103.51739999999999</c:v>
                </c:pt>
                <c:pt idx="3">
                  <c:v>54.569200000000002</c:v>
                </c:pt>
                <c:pt idx="4">
                  <c:v>86.603999999999999</c:v>
                </c:pt>
                <c:pt idx="5">
                  <c:v>37.9148</c:v>
                </c:pt>
                <c:pt idx="6">
                  <c:v>208.25470000000001</c:v>
                </c:pt>
                <c:pt idx="7">
                  <c:v>0</c:v>
                </c:pt>
                <c:pt idx="8">
                  <c:v>39.921300000000002</c:v>
                </c:pt>
                <c:pt idx="9">
                  <c:v>43.948900000000002</c:v>
                </c:pt>
                <c:pt idx="10">
                  <c:v>44.706400000000002</c:v>
                </c:pt>
                <c:pt idx="11">
                  <c:v>0</c:v>
                </c:pt>
                <c:pt idx="12">
                  <c:v>12.002800000000001</c:v>
                </c:pt>
                <c:pt idx="13">
                  <c:v>0</c:v>
                </c:pt>
                <c:pt idx="14">
                  <c:v>15.8344</c:v>
                </c:pt>
                <c:pt idx="15">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0"/>
            <c:bubble3D val="0"/>
            <c:spPr>
              <a:solidFill>
                <a:srgbClr val="AEABAB"/>
              </a:solidFill>
              <a:ln>
                <a:noFill/>
              </a:ln>
              <a:effectLst/>
            </c:spPr>
            <c:extLst>
              <c:ext xmlns:c16="http://schemas.microsoft.com/office/drawing/2014/chart" uri="{C3380CC4-5D6E-409C-BE32-E72D297353CC}">
                <c16:uniqueId val="{00000026-4B23-4768-AE96-7AAF69EC1929}"/>
              </c:ext>
            </c:extLst>
          </c:dPt>
          <c:dPt>
            <c:idx val="5"/>
            <c:invertIfNegative val="0"/>
            <c:bubble3D val="0"/>
            <c:spPr>
              <a:solidFill>
                <a:srgbClr val="CBEAE7"/>
              </a:solidFill>
              <a:ln>
                <a:noFill/>
              </a:ln>
              <a:effectLst/>
            </c:spPr>
            <c:extLst>
              <c:ext xmlns:c16="http://schemas.microsoft.com/office/drawing/2014/chart" uri="{C3380CC4-5D6E-409C-BE32-E72D297353CC}">
                <c16:uniqueId val="{00000006-C486-4167-8002-0794DD94CC5C}"/>
              </c:ext>
            </c:extLst>
          </c:dPt>
          <c:dPt>
            <c:idx val="6"/>
            <c:invertIfNegative val="1"/>
            <c:bubble3D val="0"/>
            <c:spPr>
              <a:solidFill>
                <a:srgbClr val="AEABAB"/>
              </a:solidFill>
              <a:ln>
                <a:noFill/>
              </a:ln>
              <a:effectLst/>
            </c:spPr>
            <c:extLst>
              <c:ext xmlns:c16="http://schemas.microsoft.com/office/drawing/2014/chart" uri="{C3380CC4-5D6E-409C-BE32-E72D297353CC}">
                <c16:uniqueId val="{00000029-2656-477B-BD06-BB230FDAFB7C}"/>
              </c:ext>
            </c:extLst>
          </c:dPt>
          <c:dPt>
            <c:idx val="7"/>
            <c:invertIfNegative val="0"/>
            <c:bubble3D val="0"/>
            <c:spPr>
              <a:solidFill>
                <a:srgbClr val="CBEAE7"/>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AEABA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AEABA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AEABA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AEABA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AEABA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AEABA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AEABA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AEABA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AEABA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AEABA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AEABA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AEABA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AEABA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9</c:f>
              <c:multiLvlStrCache>
                <c:ptCount val="18"/>
                <c:lvl>
                  <c:pt idx="0">
                    <c:v>Total</c:v>
                  </c:pt>
                  <c:pt idx="1">
                    <c:v>Nicolas</c:v>
                  </c:pt>
                  <c:pt idx="2">
                    <c:v>Total</c:v>
                  </c:pt>
                  <c:pt idx="3">
                    <c:v>Nicolas</c:v>
                  </c:pt>
                  <c:pt idx="4">
                    <c:v>Total</c:v>
                  </c:pt>
                  <c:pt idx="5">
                    <c:v>Nicolas</c:v>
                  </c:pt>
                  <c:pt idx="6">
                    <c:v>Total</c:v>
                  </c:pt>
                  <c:pt idx="7">
                    <c:v>Nicolas</c:v>
                  </c:pt>
                  <c:pt idx="8">
                    <c:v>Total</c:v>
                  </c:pt>
                  <c:pt idx="9">
                    <c:v>Nicolas</c:v>
                  </c:pt>
                  <c:pt idx="10">
                    <c:v>Total</c:v>
                  </c:pt>
                  <c:pt idx="11">
                    <c:v>Nicolas</c:v>
                  </c:pt>
                  <c:pt idx="12">
                    <c:v>Total</c:v>
                  </c:pt>
                  <c:pt idx="13">
                    <c:v>Nicolas</c:v>
                  </c:pt>
                  <c:pt idx="14">
                    <c:v>Total</c:v>
                  </c:pt>
                  <c:pt idx="15">
                    <c:v>Nicolas</c:v>
                  </c:pt>
                  <c:pt idx="16">
                    <c:v>Total</c:v>
                  </c:pt>
                  <c:pt idx="17">
                    <c:v>Nicolas</c:v>
                  </c:pt>
                </c:lvl>
                <c:lvl>
                  <c:pt idx="0">
                    <c:v>Bruts</c:v>
                  </c:pt>
                  <c:pt idx="2">
                    <c:v>Blanc De Blancs</c:v>
                  </c:pt>
                  <c:pt idx="4">
                    <c:v>Rosés</c:v>
                  </c:pt>
                  <c:pt idx="6">
                    <c:v>Crus</c:v>
                  </c:pt>
                  <c:pt idx="8">
                    <c:v>Extra Brut</c:v>
                  </c:pt>
                  <c:pt idx="10">
                    <c:v>Millesimes</c:v>
                  </c:pt>
                  <c:pt idx="12">
                    <c:v>Mousseux Italiens</c:v>
                  </c:pt>
                  <c:pt idx="14">
                    <c:v>Mousseux Val De Loire</c:v>
                  </c:pt>
                  <c:pt idx="16">
                    <c:v>Mousseux Alsace</c:v>
                  </c:pt>
                </c:lvl>
                <c:lvl>
                  <c:pt idx="0">
                    <c:v>Champagnes</c:v>
                  </c:pt>
                  <c:pt idx="12">
                    <c:v>Mousseux</c:v>
                  </c:pt>
                </c:lvl>
              </c:multiLvlStrCache>
            </c:multiLvlStrRef>
          </c:cat>
          <c:val>
            <c:numRef>
              <c:f>Sheet1!$D$2:$D$19</c:f>
              <c:numCache>
                <c:formatCode>General</c:formatCode>
                <c:ptCount val="18"/>
                <c:pt idx="0">
                  <c:v>6.2</c:v>
                </c:pt>
                <c:pt idx="1">
                  <c:v>0.7</c:v>
                </c:pt>
                <c:pt idx="2">
                  <c:v>1</c:v>
                </c:pt>
                <c:pt idx="3">
                  <c:v>0.1</c:v>
                </c:pt>
                <c:pt idx="4">
                  <c:v>0.6</c:v>
                </c:pt>
                <c:pt idx="5">
                  <c:v>0.1</c:v>
                </c:pt>
                <c:pt idx="6">
                  <c:v>0.4</c:v>
                </c:pt>
                <c:pt idx="7">
                  <c:v>0</c:v>
                </c:pt>
                <c:pt idx="8">
                  <c:v>0.3</c:v>
                </c:pt>
                <c:pt idx="9">
                  <c:v>0</c:v>
                </c:pt>
                <c:pt idx="10">
                  <c:v>0.3</c:v>
                </c:pt>
                <c:pt idx="11">
                  <c:v>0</c:v>
                </c:pt>
                <c:pt idx="12">
                  <c:v>0.2</c:v>
                </c:pt>
                <c:pt idx="13">
                  <c:v>0</c:v>
                </c:pt>
                <c:pt idx="14">
                  <c:v>0.2</c:v>
                </c:pt>
                <c:pt idx="15">
                  <c:v>0</c:v>
                </c:pt>
                <c:pt idx="16">
                  <c:v>0.1</c:v>
                </c:pt>
                <c:pt idx="17">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52.2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29.4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96.4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54.1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71.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2656-477B-BD06-BB230FDAFB7C}"/>
                </c:ext>
              </c:extLst>
            </c:dLbl>
            <c:dLbl>
              <c:idx val="5"/>
              <c:tx>
                <c:rich>
                  <a:bodyPr/>
                  <a:lstStyle/>
                  <a:p>
                    <a:r>
                      <a:t>38.4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2656-477B-BD06-BB230FDAFB7C}"/>
                </c:ext>
              </c:extLst>
            </c:dLbl>
            <c:dLbl>
              <c:idx val="6"/>
              <c:tx>
                <c:rich>
                  <a:bodyPr/>
                  <a:lstStyle/>
                  <a:p>
                    <a:r>
                      <a:t>4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2656-477B-BD06-BB230FDAFB7C}"/>
                </c:ext>
              </c:extLst>
            </c:dLbl>
            <c:dLbl>
              <c:idx val="7"/>
              <c:tx>
                <c:rich>
                  <a:bodyPr/>
                  <a:lstStyle/>
                  <a:p>
                    <a:r>
                      <a:t>43.6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2656-477B-BD06-BB230FDAFB7C}"/>
                </c:ext>
              </c:extLst>
            </c:dLbl>
            <c:dLbl>
              <c:idx val="8"/>
              <c:tx>
                <c:rich>
                  <a:bodyPr/>
                  <a:lstStyle/>
                  <a:p>
                    <a:r>
                      <a:t>44.6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2656-477B-BD06-BB230FDAFB7C}"/>
                </c:ext>
              </c:extLst>
            </c:dLbl>
            <c:dLbl>
              <c:idx val="9"/>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2656-477B-BD06-BB230FDAFB7C}"/>
                </c:ext>
              </c:extLst>
            </c:dLbl>
            <c:dLbl>
              <c:idx val="10"/>
              <c:tx>
                <c:rich>
                  <a:bodyPr/>
                  <a:lstStyle/>
                  <a:p>
                    <a:r>
                      <a:t>172.9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2656-477B-BD06-BB230FDAFB7C}"/>
                </c:ext>
              </c:extLst>
            </c:dLbl>
            <c:dLbl>
              <c:idx val="1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2656-477B-BD06-BB230FDAFB7C}"/>
                </c:ext>
              </c:extLst>
            </c:dLbl>
            <c:dLbl>
              <c:idx val="12"/>
              <c:tx>
                <c:rich>
                  <a:bodyPr/>
                  <a:lstStyle/>
                  <a:p>
                    <a:r>
                      <a:t>11.8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2656-477B-BD06-BB230FDAFB7C}"/>
                </c:ext>
              </c:extLst>
            </c:dLbl>
            <c:dLbl>
              <c:idx val="1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2656-477B-BD06-BB230FDAFB7C}"/>
                </c:ext>
              </c:extLst>
            </c:dLbl>
            <c:dLbl>
              <c:idx val="14"/>
              <c:tx>
                <c:rich>
                  <a:bodyPr/>
                  <a:lstStyle/>
                  <a:p>
                    <a:r>
                      <a:t>15.3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2656-477B-BD06-BB230FDAFB7C}"/>
                </c:ext>
              </c:extLst>
            </c:dLbl>
            <c:dLbl>
              <c:idx val="1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2656-477B-BD06-BB230FDAFB7C}"/>
                </c:ext>
              </c:extLst>
            </c:dLbl>
            <c:dLbl>
              <c:idx val="16"/>
              <c:tx>
                <c:rich>
                  <a:bodyPr/>
                  <a:lstStyle/>
                  <a:p>
                    <a:r>
                      <a:t>19.1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2656-477B-BD06-BB230FDAFB7C}"/>
                </c:ext>
              </c:extLst>
            </c:dLbl>
            <c:dLbl>
              <c:idx val="1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2656-477B-BD06-BB230FDAFB7C}"/>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9</c:f>
              <c:multiLvlStrCache>
                <c:ptCount val="18"/>
                <c:lvl>
                  <c:pt idx="0">
                    <c:v>Total</c:v>
                  </c:pt>
                  <c:pt idx="1">
                    <c:v>Nicolas</c:v>
                  </c:pt>
                  <c:pt idx="2">
                    <c:v>Total</c:v>
                  </c:pt>
                  <c:pt idx="3">
                    <c:v>Nicolas</c:v>
                  </c:pt>
                  <c:pt idx="4">
                    <c:v>Total</c:v>
                  </c:pt>
                  <c:pt idx="5">
                    <c:v>Nicolas</c:v>
                  </c:pt>
                  <c:pt idx="6">
                    <c:v>Total</c:v>
                  </c:pt>
                  <c:pt idx="7">
                    <c:v>Nicolas</c:v>
                  </c:pt>
                  <c:pt idx="8">
                    <c:v>Total</c:v>
                  </c:pt>
                  <c:pt idx="9">
                    <c:v>Nicolas</c:v>
                  </c:pt>
                  <c:pt idx="10">
                    <c:v>Total</c:v>
                  </c:pt>
                  <c:pt idx="11">
                    <c:v>Nicolas</c:v>
                  </c:pt>
                  <c:pt idx="12">
                    <c:v>Total</c:v>
                  </c:pt>
                  <c:pt idx="13">
                    <c:v>Nicolas</c:v>
                  </c:pt>
                  <c:pt idx="14">
                    <c:v>Total</c:v>
                  </c:pt>
                  <c:pt idx="15">
                    <c:v>Nicolas</c:v>
                  </c:pt>
                  <c:pt idx="16">
                    <c:v>Total</c:v>
                  </c:pt>
                  <c:pt idx="17">
                    <c:v>Nicolas</c:v>
                  </c:pt>
                </c:lvl>
                <c:lvl>
                  <c:pt idx="0">
                    <c:v>Bruts</c:v>
                  </c:pt>
                  <c:pt idx="2">
                    <c:v>Blanc De Blancs</c:v>
                  </c:pt>
                  <c:pt idx="4">
                    <c:v>Rosés</c:v>
                  </c:pt>
                  <c:pt idx="6">
                    <c:v>Crus</c:v>
                  </c:pt>
                  <c:pt idx="8">
                    <c:v>Extra Brut</c:v>
                  </c:pt>
                  <c:pt idx="10">
                    <c:v>Millesimes</c:v>
                  </c:pt>
                  <c:pt idx="12">
                    <c:v>Mousseux Italiens</c:v>
                  </c:pt>
                  <c:pt idx="14">
                    <c:v>Mousseux Val De Loire</c:v>
                  </c:pt>
                  <c:pt idx="16">
                    <c:v>Mousseux Alsace</c:v>
                  </c:pt>
                </c:lvl>
                <c:lvl>
                  <c:pt idx="0">
                    <c:v>Champagnes</c:v>
                  </c:pt>
                  <c:pt idx="12">
                    <c:v>Mousseux</c:v>
                  </c:pt>
                </c:lvl>
              </c:multiLvlStrCache>
            </c:multiLvlStrRef>
          </c:cat>
          <c:val>
            <c:numRef>
              <c:f>Sheet1!$E$2:$E$19</c:f>
              <c:numCache>
                <c:formatCode>General</c:formatCode>
                <c:ptCount val="18"/>
                <c:pt idx="0">
                  <c:v>52.288400000000003</c:v>
                </c:pt>
                <c:pt idx="1">
                  <c:v>29.443300000000001</c:v>
                </c:pt>
                <c:pt idx="2">
                  <c:v>96.4328</c:v>
                </c:pt>
                <c:pt idx="3">
                  <c:v>54.148600000000002</c:v>
                </c:pt>
                <c:pt idx="4">
                  <c:v>71.403099999999995</c:v>
                </c:pt>
                <c:pt idx="5">
                  <c:v>38.486699999999999</c:v>
                </c:pt>
                <c:pt idx="6">
                  <c:v>40.002000000000002</c:v>
                </c:pt>
                <c:pt idx="7">
                  <c:v>43.6907</c:v>
                </c:pt>
                <c:pt idx="8">
                  <c:v>44.6783</c:v>
                </c:pt>
                <c:pt idx="9">
                  <c:v>0</c:v>
                </c:pt>
                <c:pt idx="10">
                  <c:v>172.92179999999999</c:v>
                </c:pt>
                <c:pt idx="11">
                  <c:v>0</c:v>
                </c:pt>
                <c:pt idx="12">
                  <c:v>11.8932</c:v>
                </c:pt>
                <c:pt idx="13">
                  <c:v>0</c:v>
                </c:pt>
                <c:pt idx="14">
                  <c:v>15.3527</c:v>
                </c:pt>
                <c:pt idx="15">
                  <c:v>0</c:v>
                </c:pt>
                <c:pt idx="16">
                  <c:v>19.110700000000001</c:v>
                </c:pt>
                <c:pt idx="17">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0"/>
            <c:bubble3D val="0"/>
            <c:spPr>
              <a:solidFill>
                <a:srgbClr val="AEABAB"/>
              </a:solidFill>
              <a:ln>
                <a:noFill/>
              </a:ln>
              <a:effectLst/>
            </c:spPr>
            <c:extLst>
              <c:ext xmlns:c16="http://schemas.microsoft.com/office/drawing/2014/chart" uri="{C3380CC4-5D6E-409C-BE32-E72D297353CC}">
                <c16:uniqueId val="{00000026-4B23-4768-AE96-7AAF69EC1929}"/>
              </c:ext>
            </c:extLst>
          </c:dPt>
          <c:dPt>
            <c:idx val="5"/>
            <c:invertIfNegative val="0"/>
            <c:bubble3D val="0"/>
            <c:spPr>
              <a:solidFill>
                <a:srgbClr val="CBEAE7"/>
              </a:solidFill>
              <a:ln>
                <a:noFill/>
              </a:ln>
              <a:effectLst/>
            </c:spPr>
            <c:extLst>
              <c:ext xmlns:c16="http://schemas.microsoft.com/office/drawing/2014/chart" uri="{C3380CC4-5D6E-409C-BE32-E72D297353CC}">
                <c16:uniqueId val="{00000006-C486-4167-8002-0794DD94CC5C}"/>
              </c:ext>
            </c:extLst>
          </c:dPt>
          <c:dPt>
            <c:idx val="6"/>
            <c:invertIfNegative val="1"/>
            <c:bubble3D val="0"/>
            <c:spPr>
              <a:solidFill>
                <a:srgbClr val="AEABAB"/>
              </a:solidFill>
              <a:ln>
                <a:noFill/>
              </a:ln>
              <a:effectLst/>
            </c:spPr>
            <c:extLst>
              <c:ext xmlns:c16="http://schemas.microsoft.com/office/drawing/2014/chart" uri="{C3380CC4-5D6E-409C-BE32-E72D297353CC}">
                <c16:uniqueId val="{00000029-C377-479E-80DE-467527B924AF}"/>
              </c:ext>
            </c:extLst>
          </c:dPt>
          <c:dPt>
            <c:idx val="7"/>
            <c:invertIfNegative val="0"/>
            <c:bubble3D val="0"/>
            <c:spPr>
              <a:solidFill>
                <a:srgbClr val="CBEAE7"/>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AEABA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AEABA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AEABA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AEABA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AEABA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AEABA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AEABA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AEABA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AEABA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AEABA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AEABA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AEABA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AEABA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7</c:f>
              <c:multiLvlStrCache>
                <c:ptCount val="16"/>
                <c:lvl>
                  <c:pt idx="0">
                    <c:v>Total</c:v>
                  </c:pt>
                  <c:pt idx="1">
                    <c:v>Nicolas</c:v>
                  </c:pt>
                  <c:pt idx="2">
                    <c:v>Total</c:v>
                  </c:pt>
                  <c:pt idx="3">
                    <c:v>Nicolas</c:v>
                  </c:pt>
                  <c:pt idx="4">
                    <c:v>Total</c:v>
                  </c:pt>
                  <c:pt idx="5">
                    <c:v>Nicolas</c:v>
                  </c:pt>
                  <c:pt idx="6">
                    <c:v>Total</c:v>
                  </c:pt>
                  <c:pt idx="7">
                    <c:v>Nicolas</c:v>
                  </c:pt>
                  <c:pt idx="8">
                    <c:v>Total</c:v>
                  </c:pt>
                  <c:pt idx="9">
                    <c:v>Nicolas</c:v>
                  </c:pt>
                  <c:pt idx="10">
                    <c:v>Total</c:v>
                  </c:pt>
                  <c:pt idx="11">
                    <c:v>Nicolas</c:v>
                  </c:pt>
                  <c:pt idx="12">
                    <c:v>Total</c:v>
                  </c:pt>
                  <c:pt idx="13">
                    <c:v>Nicolas</c:v>
                  </c:pt>
                  <c:pt idx="14">
                    <c:v>Total</c:v>
                  </c:pt>
                  <c:pt idx="15">
                    <c:v>Nicolas</c:v>
                  </c:pt>
                </c:lvl>
                <c:lvl>
                  <c:pt idx="0">
                    <c:v>Bruts</c:v>
                  </c:pt>
                  <c:pt idx="2">
                    <c:v>Blanc De Blancs</c:v>
                  </c:pt>
                  <c:pt idx="4">
                    <c:v>Rosés</c:v>
                  </c:pt>
                  <c:pt idx="6">
                    <c:v>Crus</c:v>
                  </c:pt>
                  <c:pt idx="8">
                    <c:v>Extra Brut</c:v>
                  </c:pt>
                  <c:pt idx="10">
                    <c:v>Millesimes</c:v>
                  </c:pt>
                  <c:pt idx="12">
                    <c:v>Mousseux Italiens</c:v>
                  </c:pt>
                  <c:pt idx="14">
                    <c:v>Mousseux Val De Loire</c:v>
                  </c:pt>
                </c:lvl>
                <c:lvl>
                  <c:pt idx="0">
                    <c:v>Champagnes</c:v>
                  </c:pt>
                  <c:pt idx="12">
                    <c:v>Mousseux</c:v>
                  </c:pt>
                </c:lvl>
              </c:multiLvlStrCache>
            </c:multiLvlStrRef>
          </c:cat>
          <c:val>
            <c:numRef>
              <c:f>Sheet1!$D$2:$D$17</c:f>
              <c:numCache>
                <c:formatCode>General</c:formatCode>
                <c:ptCount val="16"/>
                <c:pt idx="0">
                  <c:v>9.4</c:v>
                </c:pt>
                <c:pt idx="1">
                  <c:v>1.1000000000000001</c:v>
                </c:pt>
                <c:pt idx="2">
                  <c:v>1.7</c:v>
                </c:pt>
                <c:pt idx="3">
                  <c:v>0.1</c:v>
                </c:pt>
                <c:pt idx="4">
                  <c:v>0.9</c:v>
                </c:pt>
                <c:pt idx="5">
                  <c:v>0.1</c:v>
                </c:pt>
                <c:pt idx="6">
                  <c:v>0.6</c:v>
                </c:pt>
                <c:pt idx="7">
                  <c:v>0</c:v>
                </c:pt>
                <c:pt idx="8">
                  <c:v>0.5</c:v>
                </c:pt>
                <c:pt idx="9">
                  <c:v>0</c:v>
                </c:pt>
                <c:pt idx="10">
                  <c:v>0.5</c:v>
                </c:pt>
                <c:pt idx="11">
                  <c:v>0</c:v>
                </c:pt>
                <c:pt idx="12">
                  <c:v>0.4</c:v>
                </c:pt>
                <c:pt idx="13">
                  <c:v>0</c:v>
                </c:pt>
                <c:pt idx="14">
                  <c:v>0.3</c:v>
                </c:pt>
                <c:pt idx="15">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51.9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29.5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95.0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55.4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71.4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C377-479E-80DE-467527B924AF}"/>
                </c:ext>
              </c:extLst>
            </c:dLbl>
            <c:dLbl>
              <c:idx val="5"/>
              <c:tx>
                <c:rich>
                  <a:bodyPr/>
                  <a:lstStyle/>
                  <a:p>
                    <a:r>
                      <a:t>38.7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C377-479E-80DE-467527B924AF}"/>
                </c:ext>
              </c:extLst>
            </c:dLbl>
            <c:dLbl>
              <c:idx val="6"/>
              <c:tx>
                <c:rich>
                  <a:bodyPr/>
                  <a:lstStyle/>
                  <a:p>
                    <a:r>
                      <a:t>39.9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C377-479E-80DE-467527B924AF}"/>
                </c:ext>
              </c:extLst>
            </c:dLbl>
            <c:dLbl>
              <c:idx val="7"/>
              <c:tx>
                <c:rich>
                  <a:bodyPr/>
                  <a:lstStyle/>
                  <a:p>
                    <a:r>
                      <a:t>43.7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C377-479E-80DE-467527B924AF}"/>
                </c:ext>
              </c:extLst>
            </c:dLbl>
            <c:dLbl>
              <c:idx val="8"/>
              <c:tx>
                <c:rich>
                  <a:bodyPr/>
                  <a:lstStyle/>
                  <a:p>
                    <a:r>
                      <a:t>44.0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C377-479E-80DE-467527B924AF}"/>
                </c:ext>
              </c:extLst>
            </c:dLbl>
            <c:dLbl>
              <c:idx val="9"/>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C377-479E-80DE-467527B924AF}"/>
                </c:ext>
              </c:extLst>
            </c:dLbl>
            <c:dLbl>
              <c:idx val="10"/>
              <c:tx>
                <c:rich>
                  <a:bodyPr/>
                  <a:lstStyle/>
                  <a:p>
                    <a:r>
                      <a:t>181.4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C377-479E-80DE-467527B924AF}"/>
                </c:ext>
              </c:extLst>
            </c:dLbl>
            <c:dLbl>
              <c:idx val="1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C377-479E-80DE-467527B924AF}"/>
                </c:ext>
              </c:extLst>
            </c:dLbl>
            <c:dLbl>
              <c:idx val="12"/>
              <c:tx>
                <c:rich>
                  <a:bodyPr/>
                  <a:lstStyle/>
                  <a:p>
                    <a:r>
                      <a:t>12.0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C377-479E-80DE-467527B924AF}"/>
                </c:ext>
              </c:extLst>
            </c:dLbl>
            <c:dLbl>
              <c:idx val="1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C377-479E-80DE-467527B924AF}"/>
                </c:ext>
              </c:extLst>
            </c:dLbl>
            <c:dLbl>
              <c:idx val="14"/>
              <c:tx>
                <c:rich>
                  <a:bodyPr/>
                  <a:lstStyle/>
                  <a:p>
                    <a:r>
                      <a:t>15.5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C377-479E-80DE-467527B924AF}"/>
                </c:ext>
              </c:extLst>
            </c:dLbl>
            <c:dLbl>
              <c:idx val="1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C377-479E-80DE-467527B924AF}"/>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7</c:f>
              <c:multiLvlStrCache>
                <c:ptCount val="16"/>
                <c:lvl>
                  <c:pt idx="0">
                    <c:v>Total</c:v>
                  </c:pt>
                  <c:pt idx="1">
                    <c:v>Nicolas</c:v>
                  </c:pt>
                  <c:pt idx="2">
                    <c:v>Total</c:v>
                  </c:pt>
                  <c:pt idx="3">
                    <c:v>Nicolas</c:v>
                  </c:pt>
                  <c:pt idx="4">
                    <c:v>Total</c:v>
                  </c:pt>
                  <c:pt idx="5">
                    <c:v>Nicolas</c:v>
                  </c:pt>
                  <c:pt idx="6">
                    <c:v>Total</c:v>
                  </c:pt>
                  <c:pt idx="7">
                    <c:v>Nicolas</c:v>
                  </c:pt>
                  <c:pt idx="8">
                    <c:v>Total</c:v>
                  </c:pt>
                  <c:pt idx="9">
                    <c:v>Nicolas</c:v>
                  </c:pt>
                  <c:pt idx="10">
                    <c:v>Total</c:v>
                  </c:pt>
                  <c:pt idx="11">
                    <c:v>Nicolas</c:v>
                  </c:pt>
                  <c:pt idx="12">
                    <c:v>Total</c:v>
                  </c:pt>
                  <c:pt idx="13">
                    <c:v>Nicolas</c:v>
                  </c:pt>
                  <c:pt idx="14">
                    <c:v>Total</c:v>
                  </c:pt>
                  <c:pt idx="15">
                    <c:v>Nicolas</c:v>
                  </c:pt>
                </c:lvl>
                <c:lvl>
                  <c:pt idx="0">
                    <c:v>Bruts</c:v>
                  </c:pt>
                  <c:pt idx="2">
                    <c:v>Blanc De Blancs</c:v>
                  </c:pt>
                  <c:pt idx="4">
                    <c:v>Rosés</c:v>
                  </c:pt>
                  <c:pt idx="6">
                    <c:v>Crus</c:v>
                  </c:pt>
                  <c:pt idx="8">
                    <c:v>Extra Brut</c:v>
                  </c:pt>
                  <c:pt idx="10">
                    <c:v>Millesimes</c:v>
                  </c:pt>
                  <c:pt idx="12">
                    <c:v>Mousseux Italiens</c:v>
                  </c:pt>
                  <c:pt idx="14">
                    <c:v>Mousseux Val De Loire</c:v>
                  </c:pt>
                </c:lvl>
                <c:lvl>
                  <c:pt idx="0">
                    <c:v>Champagnes</c:v>
                  </c:pt>
                  <c:pt idx="12">
                    <c:v>Mousseux</c:v>
                  </c:pt>
                </c:lvl>
              </c:multiLvlStrCache>
            </c:multiLvlStrRef>
          </c:cat>
          <c:val>
            <c:numRef>
              <c:f>Sheet1!$E$2:$E$17</c:f>
              <c:numCache>
                <c:formatCode>General</c:formatCode>
                <c:ptCount val="16"/>
                <c:pt idx="0">
                  <c:v>51.913600000000002</c:v>
                </c:pt>
                <c:pt idx="1">
                  <c:v>29.5412</c:v>
                </c:pt>
                <c:pt idx="2">
                  <c:v>95.071700000000007</c:v>
                </c:pt>
                <c:pt idx="3">
                  <c:v>55.407800000000002</c:v>
                </c:pt>
                <c:pt idx="4">
                  <c:v>71.443700000000007</c:v>
                </c:pt>
                <c:pt idx="5">
                  <c:v>38.719799999999999</c:v>
                </c:pt>
                <c:pt idx="6">
                  <c:v>39.950000000000003</c:v>
                </c:pt>
                <c:pt idx="7">
                  <c:v>43.762900000000002</c:v>
                </c:pt>
                <c:pt idx="8">
                  <c:v>44.064500000000002</c:v>
                </c:pt>
                <c:pt idx="9">
                  <c:v>0</c:v>
                </c:pt>
                <c:pt idx="10">
                  <c:v>181.48410000000001</c:v>
                </c:pt>
                <c:pt idx="11">
                  <c:v>0</c:v>
                </c:pt>
                <c:pt idx="12">
                  <c:v>12.017200000000001</c:v>
                </c:pt>
                <c:pt idx="13">
                  <c:v>0</c:v>
                </c:pt>
                <c:pt idx="14">
                  <c:v>15.5825</c:v>
                </c:pt>
                <c:pt idx="15">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11896A3-BC24-4DDF-AFA0-FA88E172A7F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C2F2F86-6494-4987-BBBC-F8A0CC42DA1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856F805-1B3E-4E0B-9951-4DACAE6BAE1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2BDAB41-4F58-4B5B-8934-EBA6F3AB6FF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5C27B4D-5DCC-450C-85E4-B2CC1885B2D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850351D-6CD4-492F-85CE-B77E2A23DBE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1DF3759-BCAE-4D3E-AB3F-2EA778F5464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14BC604-DD1A-46F6-B402-20FF5BC8ADB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98.226200000000006</c:v>
                </c:pt>
                <c:pt idx="1">
                  <c:v>39.809199999999997</c:v>
                </c:pt>
                <c:pt idx="2">
                  <c:v>35.308900000000001</c:v>
                </c:pt>
                <c:pt idx="3">
                  <c:v>59.295900000000003</c:v>
                </c:pt>
                <c:pt idx="4">
                  <c:v>46.989800000000002</c:v>
                </c:pt>
                <c:pt idx="5">
                  <c:v>53.581299999999999</c:v>
                </c:pt>
                <c:pt idx="6">
                  <c:v>37.996200000000002</c:v>
                </c:pt>
                <c:pt idx="7">
                  <c:v>76.687899999999999</c:v>
                </c:pt>
              </c:numCache>
            </c:numRef>
          </c:xVal>
          <c:yVal>
            <c:numRef>
              <c:f>Sheet1!$B$2:$B$9</c:f>
              <c:numCache>
                <c:formatCode>General</c:formatCode>
                <c:ptCount val="8"/>
                <c:pt idx="0">
                  <c:v>1.3380000000000001</c:v>
                </c:pt>
                <c:pt idx="1">
                  <c:v>0.56200000000000006</c:v>
                </c:pt>
                <c:pt idx="2">
                  <c:v>0.48299999999999998</c:v>
                </c:pt>
                <c:pt idx="3">
                  <c:v>0.84799999999999998</c:v>
                </c:pt>
                <c:pt idx="4">
                  <c:v>0.63400000000000001</c:v>
                </c:pt>
                <c:pt idx="5">
                  <c:v>0.71599999999999997</c:v>
                </c:pt>
                <c:pt idx="6">
                  <c:v>0.51500000000000001</c:v>
                </c:pt>
                <c:pt idx="7">
                  <c:v>1.0169999999999999</c:v>
                </c:pt>
              </c:numCache>
            </c:numRef>
          </c:yVal>
          <c:bubbleSize>
            <c:numRef>
              <c:f>Sheet1!$C$2:$C$9</c:f>
              <c:numCache>
                <c:formatCode>General</c:formatCode>
                <c:ptCount val="8"/>
                <c:pt idx="0">
                  <c:v>5308144</c:v>
                </c:pt>
                <c:pt idx="1">
                  <c:v>534199</c:v>
                </c:pt>
                <c:pt idx="2">
                  <c:v>450506</c:v>
                </c:pt>
                <c:pt idx="3">
                  <c:v>311422</c:v>
                </c:pt>
                <c:pt idx="4">
                  <c:v>267278</c:v>
                </c:pt>
                <c:pt idx="5">
                  <c:v>198465</c:v>
                </c:pt>
                <c:pt idx="6">
                  <c:v>181508</c:v>
                </c:pt>
                <c:pt idx="7">
                  <c:v>161198</c:v>
                </c:pt>
              </c:numCache>
            </c:numRef>
          </c:bubbleSize>
          <c:bubble3D val="0"/>
          <c:extLst>
            <c:ext xmlns:c15="http://schemas.microsoft.com/office/drawing/2012/chart" uri="{02D57815-91ED-43cb-92C2-25804820EDAC}">
              <c15:datalabelsRange>
                <c15:f>Sheet1!$E$2:$E$10</c15:f>
                <c15:dlblRangeCache>
                  <c:ptCount val="9"/>
                  <c:pt idx="0">
                    <c:v>Ruinart</c:v>
                  </c:pt>
                  <c:pt idx="1">
                    <c:v>Nicolas</c:v>
                  </c:pt>
                  <c:pt idx="2">
                    <c:v>Malard</c:v>
                  </c:pt>
                  <c:pt idx="3">
                    <c:v>Besserat De Bellefon</c:v>
                  </c:pt>
                  <c:pt idx="4">
                    <c:v>Henriot</c:v>
                  </c:pt>
                  <c:pt idx="5">
                    <c:v>Delamotte</c:v>
                  </c:pt>
                  <c:pt idx="6">
                    <c:v>De Bligny</c:v>
                  </c:pt>
                  <c:pt idx="7">
                    <c:v>Ayala</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18"/>
          <c:min val="28"/>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0"/>
            <c:bubble3D val="0"/>
            <c:spPr>
              <a:solidFill>
                <a:srgbClr val="AEABAB"/>
              </a:solidFill>
              <a:ln>
                <a:noFill/>
              </a:ln>
              <a:effectLst/>
            </c:spPr>
            <c:extLst>
              <c:ext xmlns:c16="http://schemas.microsoft.com/office/drawing/2014/chart" uri="{C3380CC4-5D6E-409C-BE32-E72D297353CC}">
                <c16:uniqueId val="{00000026-4B23-4768-AE96-7AAF69EC1929}"/>
              </c:ext>
            </c:extLst>
          </c:dPt>
          <c:dPt>
            <c:idx val="5"/>
            <c:invertIfNegative val="0"/>
            <c:bubble3D val="0"/>
            <c:spPr>
              <a:solidFill>
                <a:srgbClr val="CBEAE7"/>
              </a:solidFill>
              <a:ln>
                <a:noFill/>
              </a:ln>
              <a:effectLst/>
            </c:spPr>
            <c:extLst>
              <c:ext xmlns:c16="http://schemas.microsoft.com/office/drawing/2014/chart" uri="{C3380CC4-5D6E-409C-BE32-E72D297353CC}">
                <c16:uniqueId val="{00000006-C486-4167-8002-0794DD94CC5C}"/>
              </c:ext>
            </c:extLst>
          </c:dPt>
          <c:dPt>
            <c:idx val="6"/>
            <c:invertIfNegative val="1"/>
            <c:bubble3D val="0"/>
            <c:spPr>
              <a:solidFill>
                <a:srgbClr val="AEABAB"/>
              </a:solidFill>
              <a:ln>
                <a:noFill/>
              </a:ln>
              <a:effectLst/>
            </c:spPr>
            <c:extLst>
              <c:ext xmlns:c16="http://schemas.microsoft.com/office/drawing/2014/chart" uri="{C3380CC4-5D6E-409C-BE32-E72D297353CC}">
                <c16:uniqueId val="{00000029-713E-438D-9CAA-4B2D0F4CF430}"/>
              </c:ext>
            </c:extLst>
          </c:dPt>
          <c:dPt>
            <c:idx val="7"/>
            <c:invertIfNegative val="0"/>
            <c:bubble3D val="0"/>
            <c:spPr>
              <a:solidFill>
                <a:srgbClr val="CBEAE7"/>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AEABA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AEABA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AEABA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AEABA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AEABA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AEABA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AEABA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AEABA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AEABA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AEABA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AEABA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AEABA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AEABA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9</c:f>
              <c:multiLvlStrCache>
                <c:ptCount val="18"/>
                <c:lvl>
                  <c:pt idx="0">
                    <c:v>Total</c:v>
                  </c:pt>
                  <c:pt idx="1">
                    <c:v>Nicolas</c:v>
                  </c:pt>
                  <c:pt idx="2">
                    <c:v>Total</c:v>
                  </c:pt>
                  <c:pt idx="3">
                    <c:v>Nicolas</c:v>
                  </c:pt>
                  <c:pt idx="4">
                    <c:v>Total</c:v>
                  </c:pt>
                  <c:pt idx="5">
                    <c:v>Nicolas</c:v>
                  </c:pt>
                  <c:pt idx="6">
                    <c:v>Total</c:v>
                  </c:pt>
                  <c:pt idx="7">
                    <c:v>Nicolas</c:v>
                  </c:pt>
                  <c:pt idx="8">
                    <c:v>Total</c:v>
                  </c:pt>
                  <c:pt idx="9">
                    <c:v>Nicolas</c:v>
                  </c:pt>
                  <c:pt idx="10">
                    <c:v>Total</c:v>
                  </c:pt>
                  <c:pt idx="11">
                    <c:v>Nicolas</c:v>
                  </c:pt>
                  <c:pt idx="12">
                    <c:v>Total</c:v>
                  </c:pt>
                  <c:pt idx="13">
                    <c:v>Nicolas</c:v>
                  </c:pt>
                  <c:pt idx="14">
                    <c:v>Total</c:v>
                  </c:pt>
                  <c:pt idx="15">
                    <c:v>Nicolas</c:v>
                  </c:pt>
                  <c:pt idx="16">
                    <c:v>Total</c:v>
                  </c:pt>
                  <c:pt idx="17">
                    <c:v>Nicolas</c:v>
                  </c:pt>
                </c:lvl>
                <c:lvl>
                  <c:pt idx="0">
                    <c:v>Bruts</c:v>
                  </c:pt>
                  <c:pt idx="2">
                    <c:v>Blanc De Blancs</c:v>
                  </c:pt>
                  <c:pt idx="4">
                    <c:v>Rosés</c:v>
                  </c:pt>
                  <c:pt idx="6">
                    <c:v>Crus</c:v>
                  </c:pt>
                  <c:pt idx="8">
                    <c:v>Extra Brut</c:v>
                  </c:pt>
                  <c:pt idx="10">
                    <c:v>Millesimes</c:v>
                  </c:pt>
                  <c:pt idx="12">
                    <c:v>Mousseux Italiens</c:v>
                  </c:pt>
                  <c:pt idx="14">
                    <c:v>Mousseux Val De Loire</c:v>
                  </c:pt>
                  <c:pt idx="16">
                    <c:v>Mousseux Bourgogne</c:v>
                  </c:pt>
                </c:lvl>
                <c:lvl>
                  <c:pt idx="0">
                    <c:v>Champagnes</c:v>
                  </c:pt>
                  <c:pt idx="12">
                    <c:v>Mousseux</c:v>
                  </c:pt>
                </c:lvl>
              </c:multiLvlStrCache>
            </c:multiLvlStrRef>
          </c:cat>
          <c:val>
            <c:numRef>
              <c:f>Sheet1!$D$2:$D$19</c:f>
              <c:numCache>
                <c:formatCode>General</c:formatCode>
                <c:ptCount val="18"/>
                <c:pt idx="0">
                  <c:v>7.6</c:v>
                </c:pt>
                <c:pt idx="1">
                  <c:v>0.8</c:v>
                </c:pt>
                <c:pt idx="2">
                  <c:v>1.4</c:v>
                </c:pt>
                <c:pt idx="3">
                  <c:v>0.1</c:v>
                </c:pt>
                <c:pt idx="4">
                  <c:v>0.7</c:v>
                </c:pt>
                <c:pt idx="5">
                  <c:v>0.1</c:v>
                </c:pt>
                <c:pt idx="6">
                  <c:v>0.6</c:v>
                </c:pt>
                <c:pt idx="7">
                  <c:v>0</c:v>
                </c:pt>
                <c:pt idx="8">
                  <c:v>0.4</c:v>
                </c:pt>
                <c:pt idx="9">
                  <c:v>0</c:v>
                </c:pt>
                <c:pt idx="10">
                  <c:v>0.4</c:v>
                </c:pt>
                <c:pt idx="11">
                  <c:v>0</c:v>
                </c:pt>
                <c:pt idx="12">
                  <c:v>0.3</c:v>
                </c:pt>
                <c:pt idx="13">
                  <c:v>0</c:v>
                </c:pt>
                <c:pt idx="14">
                  <c:v>0.2</c:v>
                </c:pt>
                <c:pt idx="15">
                  <c:v>0</c:v>
                </c:pt>
                <c:pt idx="16">
                  <c:v>0.1</c:v>
                </c:pt>
                <c:pt idx="17">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52.0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29.7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96.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54.8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70.8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713E-438D-9CAA-4B2D0F4CF430}"/>
                </c:ext>
              </c:extLst>
            </c:dLbl>
            <c:dLbl>
              <c:idx val="5"/>
              <c:tx>
                <c:rich>
                  <a:bodyPr/>
                  <a:lstStyle/>
                  <a:p>
                    <a:r>
                      <a:t>38.1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713E-438D-9CAA-4B2D0F4CF430}"/>
                </c:ext>
              </c:extLst>
            </c:dLbl>
            <c:dLbl>
              <c:idx val="6"/>
              <c:tx>
                <c:rich>
                  <a:bodyPr/>
                  <a:lstStyle/>
                  <a:p>
                    <a:r>
                      <a:t>40.0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713E-438D-9CAA-4B2D0F4CF430}"/>
                </c:ext>
              </c:extLst>
            </c:dLbl>
            <c:dLbl>
              <c:idx val="7"/>
              <c:tx>
                <c:rich>
                  <a:bodyPr/>
                  <a:lstStyle/>
                  <a:p>
                    <a:r>
                      <a:t>42.7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713E-438D-9CAA-4B2D0F4CF430}"/>
                </c:ext>
              </c:extLst>
            </c:dLbl>
            <c:dLbl>
              <c:idx val="8"/>
              <c:tx>
                <c:rich>
                  <a:bodyPr/>
                  <a:lstStyle/>
                  <a:p>
                    <a:r>
                      <a:t>44.0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713E-438D-9CAA-4B2D0F4CF430}"/>
                </c:ext>
              </c:extLst>
            </c:dLbl>
            <c:dLbl>
              <c:idx val="9"/>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713E-438D-9CAA-4B2D0F4CF430}"/>
                </c:ext>
              </c:extLst>
            </c:dLbl>
            <c:dLbl>
              <c:idx val="10"/>
              <c:tx>
                <c:rich>
                  <a:bodyPr/>
                  <a:lstStyle/>
                  <a:p>
                    <a:r>
                      <a:t>169.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713E-438D-9CAA-4B2D0F4CF430}"/>
                </c:ext>
              </c:extLst>
            </c:dLbl>
            <c:dLbl>
              <c:idx val="1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713E-438D-9CAA-4B2D0F4CF430}"/>
                </c:ext>
              </c:extLst>
            </c:dLbl>
            <c:dLbl>
              <c:idx val="12"/>
              <c:tx>
                <c:rich>
                  <a:bodyPr/>
                  <a:lstStyle/>
                  <a:p>
                    <a:r>
                      <a:t>11.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713E-438D-9CAA-4B2D0F4CF430}"/>
                </c:ext>
              </c:extLst>
            </c:dLbl>
            <c:dLbl>
              <c:idx val="1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713E-438D-9CAA-4B2D0F4CF430}"/>
                </c:ext>
              </c:extLst>
            </c:dLbl>
            <c:dLbl>
              <c:idx val="14"/>
              <c:tx>
                <c:rich>
                  <a:bodyPr/>
                  <a:lstStyle/>
                  <a:p>
                    <a:r>
                      <a:t>15.4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713E-438D-9CAA-4B2D0F4CF430}"/>
                </c:ext>
              </c:extLst>
            </c:dLbl>
            <c:dLbl>
              <c:idx val="1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713E-438D-9CAA-4B2D0F4CF430}"/>
                </c:ext>
              </c:extLst>
            </c:dLbl>
            <c:dLbl>
              <c:idx val="16"/>
              <c:tx>
                <c:rich>
                  <a:bodyPr/>
                  <a:lstStyle/>
                  <a:p>
                    <a:r>
                      <a:t>17.4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713E-438D-9CAA-4B2D0F4CF430}"/>
                </c:ext>
              </c:extLst>
            </c:dLbl>
            <c:dLbl>
              <c:idx val="1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713E-438D-9CAA-4B2D0F4CF430}"/>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9</c:f>
              <c:multiLvlStrCache>
                <c:ptCount val="18"/>
                <c:lvl>
                  <c:pt idx="0">
                    <c:v>Total</c:v>
                  </c:pt>
                  <c:pt idx="1">
                    <c:v>Nicolas</c:v>
                  </c:pt>
                  <c:pt idx="2">
                    <c:v>Total</c:v>
                  </c:pt>
                  <c:pt idx="3">
                    <c:v>Nicolas</c:v>
                  </c:pt>
                  <c:pt idx="4">
                    <c:v>Total</c:v>
                  </c:pt>
                  <c:pt idx="5">
                    <c:v>Nicolas</c:v>
                  </c:pt>
                  <c:pt idx="6">
                    <c:v>Total</c:v>
                  </c:pt>
                  <c:pt idx="7">
                    <c:v>Nicolas</c:v>
                  </c:pt>
                  <c:pt idx="8">
                    <c:v>Total</c:v>
                  </c:pt>
                  <c:pt idx="9">
                    <c:v>Nicolas</c:v>
                  </c:pt>
                  <c:pt idx="10">
                    <c:v>Total</c:v>
                  </c:pt>
                  <c:pt idx="11">
                    <c:v>Nicolas</c:v>
                  </c:pt>
                  <c:pt idx="12">
                    <c:v>Total</c:v>
                  </c:pt>
                  <c:pt idx="13">
                    <c:v>Nicolas</c:v>
                  </c:pt>
                  <c:pt idx="14">
                    <c:v>Total</c:v>
                  </c:pt>
                  <c:pt idx="15">
                    <c:v>Nicolas</c:v>
                  </c:pt>
                  <c:pt idx="16">
                    <c:v>Total</c:v>
                  </c:pt>
                  <c:pt idx="17">
                    <c:v>Nicolas</c:v>
                  </c:pt>
                </c:lvl>
                <c:lvl>
                  <c:pt idx="0">
                    <c:v>Bruts</c:v>
                  </c:pt>
                  <c:pt idx="2">
                    <c:v>Blanc De Blancs</c:v>
                  </c:pt>
                  <c:pt idx="4">
                    <c:v>Rosés</c:v>
                  </c:pt>
                  <c:pt idx="6">
                    <c:v>Crus</c:v>
                  </c:pt>
                  <c:pt idx="8">
                    <c:v>Extra Brut</c:v>
                  </c:pt>
                  <c:pt idx="10">
                    <c:v>Millesimes</c:v>
                  </c:pt>
                  <c:pt idx="12">
                    <c:v>Mousseux Italiens</c:v>
                  </c:pt>
                  <c:pt idx="14">
                    <c:v>Mousseux Val De Loire</c:v>
                  </c:pt>
                  <c:pt idx="16">
                    <c:v>Mousseux Bourgogne</c:v>
                  </c:pt>
                </c:lvl>
                <c:lvl>
                  <c:pt idx="0">
                    <c:v>Champagnes</c:v>
                  </c:pt>
                  <c:pt idx="12">
                    <c:v>Mousseux</c:v>
                  </c:pt>
                </c:lvl>
              </c:multiLvlStrCache>
            </c:multiLvlStrRef>
          </c:cat>
          <c:val>
            <c:numRef>
              <c:f>Sheet1!$E$2:$E$19</c:f>
              <c:numCache>
                <c:formatCode>General</c:formatCode>
                <c:ptCount val="18"/>
                <c:pt idx="0">
                  <c:v>52.087000000000003</c:v>
                </c:pt>
                <c:pt idx="1">
                  <c:v>29.7624</c:v>
                </c:pt>
                <c:pt idx="2">
                  <c:v>96.240099999999998</c:v>
                </c:pt>
                <c:pt idx="3">
                  <c:v>54.806699999999999</c:v>
                </c:pt>
                <c:pt idx="4">
                  <c:v>70.820599999999999</c:v>
                </c:pt>
                <c:pt idx="5">
                  <c:v>38.188899999999997</c:v>
                </c:pt>
                <c:pt idx="6">
                  <c:v>40.056399999999996</c:v>
                </c:pt>
                <c:pt idx="7">
                  <c:v>42.754899999999999</c:v>
                </c:pt>
                <c:pt idx="8">
                  <c:v>44.022100000000002</c:v>
                </c:pt>
                <c:pt idx="9">
                  <c:v>0</c:v>
                </c:pt>
                <c:pt idx="10">
                  <c:v>169.0966</c:v>
                </c:pt>
                <c:pt idx="11">
                  <c:v>0</c:v>
                </c:pt>
                <c:pt idx="12">
                  <c:v>11.9002</c:v>
                </c:pt>
                <c:pt idx="13">
                  <c:v>0</c:v>
                </c:pt>
                <c:pt idx="14">
                  <c:v>15.480499999999999</c:v>
                </c:pt>
                <c:pt idx="15">
                  <c:v>0</c:v>
                </c:pt>
                <c:pt idx="16">
                  <c:v>17.416399999999999</c:v>
                </c:pt>
                <c:pt idx="17">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0"/>
            <c:bubble3D val="0"/>
            <c:spPr>
              <a:solidFill>
                <a:srgbClr val="AEABAB"/>
              </a:solidFill>
              <a:ln>
                <a:noFill/>
              </a:ln>
              <a:effectLst/>
            </c:spPr>
            <c:extLst>
              <c:ext xmlns:c16="http://schemas.microsoft.com/office/drawing/2014/chart" uri="{C3380CC4-5D6E-409C-BE32-E72D297353CC}">
                <c16:uniqueId val="{00000026-4B23-4768-AE96-7AAF69EC1929}"/>
              </c:ext>
            </c:extLst>
          </c:dPt>
          <c:dPt>
            <c:idx val="5"/>
            <c:invertIfNegative val="0"/>
            <c:bubble3D val="0"/>
            <c:spPr>
              <a:solidFill>
                <a:srgbClr val="CBEAE7"/>
              </a:solidFill>
              <a:ln>
                <a:noFill/>
              </a:ln>
              <a:effectLst/>
            </c:spPr>
            <c:extLst>
              <c:ext xmlns:c16="http://schemas.microsoft.com/office/drawing/2014/chart" uri="{C3380CC4-5D6E-409C-BE32-E72D297353CC}">
                <c16:uniqueId val="{00000006-C486-4167-8002-0794DD94CC5C}"/>
              </c:ext>
            </c:extLst>
          </c:dPt>
          <c:dPt>
            <c:idx val="6"/>
            <c:invertIfNegative val="1"/>
            <c:bubble3D val="0"/>
            <c:spPr>
              <a:solidFill>
                <a:srgbClr val="AEABAB"/>
              </a:solidFill>
              <a:ln>
                <a:noFill/>
              </a:ln>
              <a:effectLst/>
            </c:spPr>
            <c:extLst>
              <c:ext xmlns:c16="http://schemas.microsoft.com/office/drawing/2014/chart" uri="{C3380CC4-5D6E-409C-BE32-E72D297353CC}">
                <c16:uniqueId val="{00000029-F91E-46F1-BB7C-5F255362F1AC}"/>
              </c:ext>
            </c:extLst>
          </c:dPt>
          <c:dPt>
            <c:idx val="7"/>
            <c:invertIfNegative val="0"/>
            <c:bubble3D val="0"/>
            <c:spPr>
              <a:solidFill>
                <a:srgbClr val="CBEAE7"/>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AEABA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AEABA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AEABA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AEABA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AEABA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AEABA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AEABA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AEABA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AEABA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AEABA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AEABA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AEABA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AEABA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9</c:f>
              <c:multiLvlStrCache>
                <c:ptCount val="18"/>
                <c:lvl>
                  <c:pt idx="0">
                    <c:v>Total</c:v>
                  </c:pt>
                  <c:pt idx="1">
                    <c:v>Nicolas</c:v>
                  </c:pt>
                  <c:pt idx="2">
                    <c:v>Total</c:v>
                  </c:pt>
                  <c:pt idx="3">
                    <c:v>Nicolas</c:v>
                  </c:pt>
                  <c:pt idx="4">
                    <c:v>Total</c:v>
                  </c:pt>
                  <c:pt idx="5">
                    <c:v>Nicolas</c:v>
                  </c:pt>
                  <c:pt idx="6">
                    <c:v>Total</c:v>
                  </c:pt>
                  <c:pt idx="7">
                    <c:v>Nicolas</c:v>
                  </c:pt>
                  <c:pt idx="8">
                    <c:v>Total</c:v>
                  </c:pt>
                  <c:pt idx="9">
                    <c:v>Nicolas</c:v>
                  </c:pt>
                  <c:pt idx="10">
                    <c:v>Total</c:v>
                  </c:pt>
                  <c:pt idx="11">
                    <c:v>Nicolas</c:v>
                  </c:pt>
                  <c:pt idx="12">
                    <c:v>Total</c:v>
                  </c:pt>
                  <c:pt idx="13">
                    <c:v>Nicolas</c:v>
                  </c:pt>
                  <c:pt idx="14">
                    <c:v>Total</c:v>
                  </c:pt>
                  <c:pt idx="15">
                    <c:v>Nicolas</c:v>
                  </c:pt>
                  <c:pt idx="16">
                    <c:v>Total</c:v>
                  </c:pt>
                  <c:pt idx="17">
                    <c:v>Nicolas</c:v>
                  </c:pt>
                </c:lvl>
                <c:lvl>
                  <c:pt idx="0">
                    <c:v>Bruts</c:v>
                  </c:pt>
                  <c:pt idx="2">
                    <c:v>Blanc De Blancs</c:v>
                  </c:pt>
                  <c:pt idx="4">
                    <c:v>Rosés</c:v>
                  </c:pt>
                  <c:pt idx="6">
                    <c:v>Crus</c:v>
                  </c:pt>
                  <c:pt idx="8">
                    <c:v>Extra Brut</c:v>
                  </c:pt>
                  <c:pt idx="10">
                    <c:v>Millesimes</c:v>
                  </c:pt>
                  <c:pt idx="12">
                    <c:v>Mousseux Italiens</c:v>
                  </c:pt>
                  <c:pt idx="14">
                    <c:v>Mousseux Val De Loire</c:v>
                  </c:pt>
                  <c:pt idx="16">
                    <c:v>Mousseux Alsace</c:v>
                  </c:pt>
                </c:lvl>
                <c:lvl>
                  <c:pt idx="0">
                    <c:v>Champagnes</c:v>
                  </c:pt>
                  <c:pt idx="12">
                    <c:v>Mousseux</c:v>
                  </c:pt>
                </c:lvl>
              </c:multiLvlStrCache>
            </c:multiLvlStrRef>
          </c:cat>
          <c:val>
            <c:numRef>
              <c:f>Sheet1!$D$2:$D$19</c:f>
              <c:numCache>
                <c:formatCode>General</c:formatCode>
                <c:ptCount val="18"/>
                <c:pt idx="0">
                  <c:v>6.9</c:v>
                </c:pt>
                <c:pt idx="1">
                  <c:v>0.8</c:v>
                </c:pt>
                <c:pt idx="2">
                  <c:v>1.3</c:v>
                </c:pt>
                <c:pt idx="3">
                  <c:v>0.1</c:v>
                </c:pt>
                <c:pt idx="4">
                  <c:v>0.6</c:v>
                </c:pt>
                <c:pt idx="5">
                  <c:v>0.1</c:v>
                </c:pt>
                <c:pt idx="6">
                  <c:v>0.5</c:v>
                </c:pt>
                <c:pt idx="7">
                  <c:v>0</c:v>
                </c:pt>
                <c:pt idx="8">
                  <c:v>0.3</c:v>
                </c:pt>
                <c:pt idx="9">
                  <c:v>0</c:v>
                </c:pt>
                <c:pt idx="10">
                  <c:v>0.3</c:v>
                </c:pt>
                <c:pt idx="11">
                  <c:v>0</c:v>
                </c:pt>
                <c:pt idx="12">
                  <c:v>0.3</c:v>
                </c:pt>
                <c:pt idx="13">
                  <c:v>0</c:v>
                </c:pt>
                <c:pt idx="14">
                  <c:v>0.2</c:v>
                </c:pt>
                <c:pt idx="15">
                  <c:v>0</c:v>
                </c:pt>
                <c:pt idx="16">
                  <c:v>0.1</c:v>
                </c:pt>
                <c:pt idx="17">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51.5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29.5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91.7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54.8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69.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F91E-46F1-BB7C-5F255362F1AC}"/>
                </c:ext>
              </c:extLst>
            </c:dLbl>
            <c:dLbl>
              <c:idx val="5"/>
              <c:tx>
                <c:rich>
                  <a:bodyPr/>
                  <a:lstStyle/>
                  <a:p>
                    <a:r>
                      <a:t>37.5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F91E-46F1-BB7C-5F255362F1AC}"/>
                </c:ext>
              </c:extLst>
            </c:dLbl>
            <c:dLbl>
              <c:idx val="6"/>
              <c:tx>
                <c:rich>
                  <a:bodyPr/>
                  <a:lstStyle/>
                  <a:p>
                    <a:r>
                      <a:t>40.0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F91E-46F1-BB7C-5F255362F1AC}"/>
                </c:ext>
              </c:extLst>
            </c:dLbl>
            <c:dLbl>
              <c:idx val="7"/>
              <c:tx>
                <c:rich>
                  <a:bodyPr/>
                  <a:lstStyle/>
                  <a:p>
                    <a:r>
                      <a:t>42.4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F91E-46F1-BB7C-5F255362F1AC}"/>
                </c:ext>
              </c:extLst>
            </c:dLbl>
            <c:dLbl>
              <c:idx val="8"/>
              <c:tx>
                <c:rich>
                  <a:bodyPr/>
                  <a:lstStyle/>
                  <a:p>
                    <a:r>
                      <a:t>44.4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F91E-46F1-BB7C-5F255362F1AC}"/>
                </c:ext>
              </c:extLst>
            </c:dLbl>
            <c:dLbl>
              <c:idx val="9"/>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F91E-46F1-BB7C-5F255362F1AC}"/>
                </c:ext>
              </c:extLst>
            </c:dLbl>
            <c:dLbl>
              <c:idx val="10"/>
              <c:tx>
                <c:rich>
                  <a:bodyPr/>
                  <a:lstStyle/>
                  <a:p>
                    <a:r>
                      <a:t>139.6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F91E-46F1-BB7C-5F255362F1AC}"/>
                </c:ext>
              </c:extLst>
            </c:dLbl>
            <c:dLbl>
              <c:idx val="1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F91E-46F1-BB7C-5F255362F1AC}"/>
                </c:ext>
              </c:extLst>
            </c:dLbl>
            <c:dLbl>
              <c:idx val="12"/>
              <c:tx>
                <c:rich>
                  <a:bodyPr/>
                  <a:lstStyle/>
                  <a:p>
                    <a:r>
                      <a:t>11.7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F91E-46F1-BB7C-5F255362F1AC}"/>
                </c:ext>
              </c:extLst>
            </c:dLbl>
            <c:dLbl>
              <c:idx val="1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F91E-46F1-BB7C-5F255362F1AC}"/>
                </c:ext>
              </c:extLst>
            </c:dLbl>
            <c:dLbl>
              <c:idx val="14"/>
              <c:tx>
                <c:rich>
                  <a:bodyPr/>
                  <a:lstStyle/>
                  <a:p>
                    <a:r>
                      <a:t>15.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F91E-46F1-BB7C-5F255362F1AC}"/>
                </c:ext>
              </c:extLst>
            </c:dLbl>
            <c:dLbl>
              <c:idx val="1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F91E-46F1-BB7C-5F255362F1AC}"/>
                </c:ext>
              </c:extLst>
            </c:dLbl>
            <c:dLbl>
              <c:idx val="16"/>
              <c:tx>
                <c:rich>
                  <a:bodyPr/>
                  <a:lstStyle/>
                  <a:p>
                    <a:r>
                      <a:t>19.2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F91E-46F1-BB7C-5F255362F1AC}"/>
                </c:ext>
              </c:extLst>
            </c:dLbl>
            <c:dLbl>
              <c:idx val="1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F91E-46F1-BB7C-5F255362F1AC}"/>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9</c:f>
              <c:multiLvlStrCache>
                <c:ptCount val="18"/>
                <c:lvl>
                  <c:pt idx="0">
                    <c:v>Total</c:v>
                  </c:pt>
                  <c:pt idx="1">
                    <c:v>Nicolas</c:v>
                  </c:pt>
                  <c:pt idx="2">
                    <c:v>Total</c:v>
                  </c:pt>
                  <c:pt idx="3">
                    <c:v>Nicolas</c:v>
                  </c:pt>
                  <c:pt idx="4">
                    <c:v>Total</c:v>
                  </c:pt>
                  <c:pt idx="5">
                    <c:v>Nicolas</c:v>
                  </c:pt>
                  <c:pt idx="6">
                    <c:v>Total</c:v>
                  </c:pt>
                  <c:pt idx="7">
                    <c:v>Nicolas</c:v>
                  </c:pt>
                  <c:pt idx="8">
                    <c:v>Total</c:v>
                  </c:pt>
                  <c:pt idx="9">
                    <c:v>Nicolas</c:v>
                  </c:pt>
                  <c:pt idx="10">
                    <c:v>Total</c:v>
                  </c:pt>
                  <c:pt idx="11">
                    <c:v>Nicolas</c:v>
                  </c:pt>
                  <c:pt idx="12">
                    <c:v>Total</c:v>
                  </c:pt>
                  <c:pt idx="13">
                    <c:v>Nicolas</c:v>
                  </c:pt>
                  <c:pt idx="14">
                    <c:v>Total</c:v>
                  </c:pt>
                  <c:pt idx="15">
                    <c:v>Nicolas</c:v>
                  </c:pt>
                  <c:pt idx="16">
                    <c:v>Total</c:v>
                  </c:pt>
                  <c:pt idx="17">
                    <c:v>Nicolas</c:v>
                  </c:pt>
                </c:lvl>
                <c:lvl>
                  <c:pt idx="0">
                    <c:v>Bruts</c:v>
                  </c:pt>
                  <c:pt idx="2">
                    <c:v>Blanc De Blancs</c:v>
                  </c:pt>
                  <c:pt idx="4">
                    <c:v>Rosés</c:v>
                  </c:pt>
                  <c:pt idx="6">
                    <c:v>Crus</c:v>
                  </c:pt>
                  <c:pt idx="8">
                    <c:v>Extra Brut</c:v>
                  </c:pt>
                  <c:pt idx="10">
                    <c:v>Millesimes</c:v>
                  </c:pt>
                  <c:pt idx="12">
                    <c:v>Mousseux Italiens</c:v>
                  </c:pt>
                  <c:pt idx="14">
                    <c:v>Mousseux Val De Loire</c:v>
                  </c:pt>
                  <c:pt idx="16">
                    <c:v>Mousseux Alsace</c:v>
                  </c:pt>
                </c:lvl>
                <c:lvl>
                  <c:pt idx="0">
                    <c:v>Champagnes</c:v>
                  </c:pt>
                  <c:pt idx="12">
                    <c:v>Mousseux</c:v>
                  </c:pt>
                </c:lvl>
              </c:multiLvlStrCache>
            </c:multiLvlStrRef>
          </c:cat>
          <c:val>
            <c:numRef>
              <c:f>Sheet1!$E$2:$E$19</c:f>
              <c:numCache>
                <c:formatCode>General</c:formatCode>
                <c:ptCount val="18"/>
                <c:pt idx="0">
                  <c:v>51.553199999999997</c:v>
                </c:pt>
                <c:pt idx="1">
                  <c:v>29.5824</c:v>
                </c:pt>
                <c:pt idx="2">
                  <c:v>91.7941</c:v>
                </c:pt>
                <c:pt idx="3">
                  <c:v>54.840200000000003</c:v>
                </c:pt>
                <c:pt idx="4">
                  <c:v>69.801000000000002</c:v>
                </c:pt>
                <c:pt idx="5">
                  <c:v>37.558</c:v>
                </c:pt>
                <c:pt idx="6">
                  <c:v>40.034799999999997</c:v>
                </c:pt>
                <c:pt idx="7">
                  <c:v>42.422400000000003</c:v>
                </c:pt>
                <c:pt idx="8">
                  <c:v>44.418100000000003</c:v>
                </c:pt>
                <c:pt idx="9">
                  <c:v>0</c:v>
                </c:pt>
                <c:pt idx="10">
                  <c:v>139.68</c:v>
                </c:pt>
                <c:pt idx="11">
                  <c:v>0</c:v>
                </c:pt>
                <c:pt idx="12">
                  <c:v>11.7942</c:v>
                </c:pt>
                <c:pt idx="13">
                  <c:v>0</c:v>
                </c:pt>
                <c:pt idx="14">
                  <c:v>15.0991</c:v>
                </c:pt>
                <c:pt idx="15">
                  <c:v>0</c:v>
                </c:pt>
                <c:pt idx="16">
                  <c:v>19.282299999999999</c:v>
                </c:pt>
                <c:pt idx="17">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B-3E97-4E2C-A662-FE184997CBC4}"/>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7</c:f>
              <c:multiLvlStrCache>
                <c:ptCount val="6"/>
                <c:lvl>
                  <c:pt idx="0">
                    <c:v>Total</c:v>
                  </c:pt>
                  <c:pt idx="1">
                    <c:v>Nicolas</c:v>
                  </c:pt>
                  <c:pt idx="2">
                    <c:v>Total</c:v>
                  </c:pt>
                  <c:pt idx="3">
                    <c:v>Nicolas</c:v>
                  </c:pt>
                  <c:pt idx="4">
                    <c:v>Total</c:v>
                  </c:pt>
                  <c:pt idx="5">
                    <c:v>Nicolas</c:v>
                  </c:pt>
                </c:lvl>
                <c:lvl>
                  <c:pt idx="0">
                    <c:v>Mousseux</c:v>
                  </c:pt>
                  <c:pt idx="2">
                    <c:v>Champagnes</c:v>
                  </c:pt>
                  <c:pt idx="4">
                    <c:v>Effervescents Sans Alcool</c:v>
                  </c:pt>
                </c:lvl>
              </c:multiLvlStrCache>
            </c:multiLvlStrRef>
          </c:cat>
          <c:val>
            <c:numRef>
              <c:f>Sheet1!$C$2:$C$7</c:f>
              <c:numCache>
                <c:formatCode>General</c:formatCode>
                <c:ptCount val="6"/>
                <c:pt idx="0">
                  <c:v>574.1</c:v>
                </c:pt>
                <c:pt idx="1">
                  <c:v>0</c:v>
                </c:pt>
                <c:pt idx="2">
                  <c:v>567.1</c:v>
                </c:pt>
                <c:pt idx="3">
                  <c:v>5.7</c:v>
                </c:pt>
                <c:pt idx="4">
                  <c:v>23.8</c:v>
                </c:pt>
                <c:pt idx="5">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5.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3E97-4E2C-A662-FE184997CBC4}"/>
                </c:ext>
              </c:extLst>
            </c:dLbl>
            <c:dLbl>
              <c:idx val="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3E97-4E2C-A662-FE184997CBC4}"/>
                </c:ext>
              </c:extLst>
            </c:dLbl>
            <c:dLbl>
              <c:idx val="2"/>
              <c:tx>
                <c:rich>
                  <a:bodyPr/>
                  <a:lstStyle/>
                  <a:p>
                    <a:r>
                      <a:t>28.0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3E97-4E2C-A662-FE184997CBC4}"/>
                </c:ext>
              </c:extLst>
            </c:dLbl>
            <c:dLbl>
              <c:idx val="3"/>
              <c:tx>
                <c:rich>
                  <a:bodyPr/>
                  <a:lstStyle/>
                  <a:p>
                    <a:r>
                      <a:t>31.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3E97-4E2C-A662-FE184997CBC4}"/>
                </c:ext>
              </c:extLst>
            </c:dLbl>
            <c:dLbl>
              <c:idx val="4"/>
              <c:tx>
                <c:rich>
                  <a:bodyPr/>
                  <a:lstStyle/>
                  <a:p>
                    <a:r>
                      <a:t>5.1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3E97-4E2C-A662-FE184997CBC4}"/>
                </c:ext>
              </c:extLst>
            </c:dLbl>
            <c:dLbl>
              <c:idx val="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3E97-4E2C-A662-FE184997CBC4}"/>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7</c:f>
              <c:multiLvlStrCache>
                <c:ptCount val="6"/>
                <c:lvl>
                  <c:pt idx="0">
                    <c:v>Total</c:v>
                  </c:pt>
                  <c:pt idx="1">
                    <c:v>Nicolas</c:v>
                  </c:pt>
                  <c:pt idx="2">
                    <c:v>Total</c:v>
                  </c:pt>
                  <c:pt idx="3">
                    <c:v>Nicolas</c:v>
                  </c:pt>
                  <c:pt idx="4">
                    <c:v>Total</c:v>
                  </c:pt>
                  <c:pt idx="5">
                    <c:v>Nicolas</c:v>
                  </c:pt>
                </c:lvl>
                <c:lvl>
                  <c:pt idx="0">
                    <c:v>Mousseux</c:v>
                  </c:pt>
                  <c:pt idx="2">
                    <c:v>Champagnes</c:v>
                  </c:pt>
                  <c:pt idx="4">
                    <c:v>Effervescents Sans Alcool</c:v>
                  </c:pt>
                </c:lvl>
              </c:multiLvlStrCache>
            </c:multiLvlStrRef>
          </c:cat>
          <c:val>
            <c:numRef>
              <c:f>Sheet1!$D$2:$D$7</c:f>
              <c:numCache>
                <c:formatCode>General</c:formatCode>
                <c:ptCount val="6"/>
                <c:pt idx="0">
                  <c:v>5.1007999999999996</c:v>
                </c:pt>
                <c:pt idx="1">
                  <c:v>0</c:v>
                </c:pt>
                <c:pt idx="2">
                  <c:v>28.0685</c:v>
                </c:pt>
                <c:pt idx="3">
                  <c:v>31.603300000000001</c:v>
                </c:pt>
                <c:pt idx="4">
                  <c:v>5.1375000000000002</c:v>
                </c:pt>
                <c:pt idx="5">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B-D028-41E9-A76F-720597AF94A4}"/>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7</c:f>
              <c:multiLvlStrCache>
                <c:ptCount val="6"/>
                <c:lvl>
                  <c:pt idx="0">
                    <c:v>Total</c:v>
                  </c:pt>
                  <c:pt idx="1">
                    <c:v>Nicolas</c:v>
                  </c:pt>
                  <c:pt idx="2">
                    <c:v>Total</c:v>
                  </c:pt>
                  <c:pt idx="3">
                    <c:v>Nicolas</c:v>
                  </c:pt>
                  <c:pt idx="4">
                    <c:v>Total</c:v>
                  </c:pt>
                  <c:pt idx="5">
                    <c:v>Nicolas</c:v>
                  </c:pt>
                </c:lvl>
                <c:lvl>
                  <c:pt idx="0">
                    <c:v>Champagnes</c:v>
                  </c:pt>
                  <c:pt idx="2">
                    <c:v>Mousseux</c:v>
                  </c:pt>
                  <c:pt idx="4">
                    <c:v>Effervescents Sans Alcool</c:v>
                  </c:pt>
                </c:lvl>
              </c:multiLvlStrCache>
            </c:multiLvlStrRef>
          </c:cat>
          <c:val>
            <c:numRef>
              <c:f>Sheet1!$C$2:$C$7</c:f>
              <c:numCache>
                <c:formatCode>General</c:formatCode>
                <c:ptCount val="6"/>
                <c:pt idx="0">
                  <c:v>62.9</c:v>
                </c:pt>
                <c:pt idx="1">
                  <c:v>5.7</c:v>
                </c:pt>
                <c:pt idx="2">
                  <c:v>4.3</c:v>
                </c:pt>
                <c:pt idx="3">
                  <c:v>0</c:v>
                </c:pt>
                <c:pt idx="4">
                  <c:v>0.7</c:v>
                </c:pt>
                <c:pt idx="5">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57.5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D028-41E9-A76F-720597AF94A4}"/>
                </c:ext>
              </c:extLst>
            </c:dLbl>
            <c:dLbl>
              <c:idx val="1"/>
              <c:tx>
                <c:rich>
                  <a:bodyPr/>
                  <a:lstStyle/>
                  <a:p>
                    <a:r>
                      <a:t>31.6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D028-41E9-A76F-720597AF94A4}"/>
                </c:ext>
              </c:extLst>
            </c:dLbl>
            <c:dLbl>
              <c:idx val="2"/>
              <c:tx>
                <c:rich>
                  <a:bodyPr/>
                  <a:lstStyle/>
                  <a:p>
                    <a:r>
                      <a:t>14.0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D028-41E9-A76F-720597AF94A4}"/>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D028-41E9-A76F-720597AF94A4}"/>
                </c:ext>
              </c:extLst>
            </c:dLbl>
            <c:dLbl>
              <c:idx val="4"/>
              <c:tx>
                <c:rich>
                  <a:bodyPr/>
                  <a:lstStyle/>
                  <a:p>
                    <a:r>
                      <a:t>23.0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D028-41E9-A76F-720597AF94A4}"/>
                </c:ext>
              </c:extLst>
            </c:dLbl>
            <c:dLbl>
              <c:idx val="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D028-41E9-A76F-720597AF94A4}"/>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7</c:f>
              <c:multiLvlStrCache>
                <c:ptCount val="6"/>
                <c:lvl>
                  <c:pt idx="0">
                    <c:v>Total</c:v>
                  </c:pt>
                  <c:pt idx="1">
                    <c:v>Nicolas</c:v>
                  </c:pt>
                  <c:pt idx="2">
                    <c:v>Total</c:v>
                  </c:pt>
                  <c:pt idx="3">
                    <c:v>Nicolas</c:v>
                  </c:pt>
                  <c:pt idx="4">
                    <c:v>Total</c:v>
                  </c:pt>
                  <c:pt idx="5">
                    <c:v>Nicolas</c:v>
                  </c:pt>
                </c:lvl>
                <c:lvl>
                  <c:pt idx="0">
                    <c:v>Champagnes</c:v>
                  </c:pt>
                  <c:pt idx="2">
                    <c:v>Mousseux</c:v>
                  </c:pt>
                  <c:pt idx="4">
                    <c:v>Effervescents Sans Alcool</c:v>
                  </c:pt>
                </c:lvl>
              </c:multiLvlStrCache>
            </c:multiLvlStrRef>
          </c:cat>
          <c:val>
            <c:numRef>
              <c:f>Sheet1!$D$2:$D$7</c:f>
              <c:numCache>
                <c:formatCode>General</c:formatCode>
                <c:ptCount val="6"/>
                <c:pt idx="0">
                  <c:v>57.546900000000001</c:v>
                </c:pt>
                <c:pt idx="1">
                  <c:v>31.633600000000001</c:v>
                </c:pt>
                <c:pt idx="2">
                  <c:v>14.0893</c:v>
                </c:pt>
                <c:pt idx="3">
                  <c:v>0</c:v>
                </c:pt>
                <c:pt idx="4">
                  <c:v>23.079899999999999</c:v>
                </c:pt>
                <c:pt idx="5">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B-06E2-465B-AF21-3E54172320F9}"/>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7</c:f>
              <c:multiLvlStrCache>
                <c:ptCount val="6"/>
                <c:lvl>
                  <c:pt idx="0">
                    <c:v>Total</c:v>
                  </c:pt>
                  <c:pt idx="1">
                    <c:v>Nicolas</c:v>
                  </c:pt>
                  <c:pt idx="2">
                    <c:v>Total</c:v>
                  </c:pt>
                  <c:pt idx="3">
                    <c:v>Nicolas</c:v>
                  </c:pt>
                  <c:pt idx="4">
                    <c:v>Total</c:v>
                  </c:pt>
                  <c:pt idx="5">
                    <c:v>Nicolas</c:v>
                  </c:pt>
                </c:lvl>
                <c:lvl>
                  <c:pt idx="0">
                    <c:v>Champagnes</c:v>
                  </c:pt>
                  <c:pt idx="2">
                    <c:v>Mousseux</c:v>
                  </c:pt>
                  <c:pt idx="4">
                    <c:v>Effervescents Sans Alcool</c:v>
                  </c:pt>
                </c:lvl>
              </c:multiLvlStrCache>
            </c:multiLvlStrRef>
          </c:cat>
          <c:val>
            <c:numRef>
              <c:f>Sheet1!$C$2:$C$7</c:f>
              <c:numCache>
                <c:formatCode>General</c:formatCode>
                <c:ptCount val="6"/>
                <c:pt idx="0">
                  <c:v>27.1</c:v>
                </c:pt>
                <c:pt idx="1">
                  <c:v>2.5</c:v>
                </c:pt>
                <c:pt idx="2">
                  <c:v>2.1</c:v>
                </c:pt>
                <c:pt idx="3">
                  <c:v>0</c:v>
                </c:pt>
                <c:pt idx="4">
                  <c:v>0.3</c:v>
                </c:pt>
                <c:pt idx="5">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55.7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06E2-465B-AF21-3E54172320F9}"/>
                </c:ext>
              </c:extLst>
            </c:dLbl>
            <c:dLbl>
              <c:idx val="1"/>
              <c:tx>
                <c:rich>
                  <a:bodyPr/>
                  <a:lstStyle/>
                  <a:p>
                    <a:r>
                      <a:t>31.6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06E2-465B-AF21-3E54172320F9}"/>
                </c:ext>
              </c:extLst>
            </c:dLbl>
            <c:dLbl>
              <c:idx val="2"/>
              <c:tx>
                <c:rich>
                  <a:bodyPr/>
                  <a:lstStyle/>
                  <a:p>
                    <a:r>
                      <a:t>14.0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06E2-465B-AF21-3E54172320F9}"/>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06E2-465B-AF21-3E54172320F9}"/>
                </c:ext>
              </c:extLst>
            </c:dLbl>
            <c:dLbl>
              <c:idx val="4"/>
              <c:tx>
                <c:rich>
                  <a:bodyPr/>
                  <a:lstStyle/>
                  <a:p>
                    <a:r>
                      <a:t>23.0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06E2-465B-AF21-3E54172320F9}"/>
                </c:ext>
              </c:extLst>
            </c:dLbl>
            <c:dLbl>
              <c:idx val="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06E2-465B-AF21-3E54172320F9}"/>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7</c:f>
              <c:multiLvlStrCache>
                <c:ptCount val="6"/>
                <c:lvl>
                  <c:pt idx="0">
                    <c:v>Total</c:v>
                  </c:pt>
                  <c:pt idx="1">
                    <c:v>Nicolas</c:v>
                  </c:pt>
                  <c:pt idx="2">
                    <c:v>Total</c:v>
                  </c:pt>
                  <c:pt idx="3">
                    <c:v>Nicolas</c:v>
                  </c:pt>
                  <c:pt idx="4">
                    <c:v>Total</c:v>
                  </c:pt>
                  <c:pt idx="5">
                    <c:v>Nicolas</c:v>
                  </c:pt>
                </c:lvl>
                <c:lvl>
                  <c:pt idx="0">
                    <c:v>Champagnes</c:v>
                  </c:pt>
                  <c:pt idx="2">
                    <c:v>Mousseux</c:v>
                  </c:pt>
                  <c:pt idx="4">
                    <c:v>Effervescents Sans Alcool</c:v>
                  </c:pt>
                </c:lvl>
              </c:multiLvlStrCache>
            </c:multiLvlStrRef>
          </c:cat>
          <c:val>
            <c:numRef>
              <c:f>Sheet1!$D$2:$D$7</c:f>
              <c:numCache>
                <c:formatCode>General</c:formatCode>
                <c:ptCount val="6"/>
                <c:pt idx="0">
                  <c:v>55.727899999999998</c:v>
                </c:pt>
                <c:pt idx="1">
                  <c:v>31.6877</c:v>
                </c:pt>
                <c:pt idx="2">
                  <c:v>14.055899999999999</c:v>
                </c:pt>
                <c:pt idx="3">
                  <c:v>0</c:v>
                </c:pt>
                <c:pt idx="4">
                  <c:v>23.024899999999999</c:v>
                </c:pt>
                <c:pt idx="5">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5</c:f>
              <c:multiLvlStrCache>
                <c:ptCount val="4"/>
                <c:lvl>
                  <c:pt idx="0">
                    <c:v>Total</c:v>
                  </c:pt>
                  <c:pt idx="1">
                    <c:v>Nicolas</c:v>
                  </c:pt>
                  <c:pt idx="2">
                    <c:v>Total</c:v>
                  </c:pt>
                  <c:pt idx="3">
                    <c:v>Nicolas</c:v>
                  </c:pt>
                </c:lvl>
                <c:lvl>
                  <c:pt idx="0">
                    <c:v>Champagnes</c:v>
                  </c:pt>
                  <c:pt idx="2">
                    <c:v>Mousseux</c:v>
                  </c:pt>
                </c:lvl>
              </c:multiLvlStrCache>
            </c:multiLvlStrRef>
          </c:cat>
          <c:val>
            <c:numRef>
              <c:f>Sheet1!$C$2:$C$5</c:f>
              <c:numCache>
                <c:formatCode>General</c:formatCode>
                <c:ptCount val="4"/>
                <c:pt idx="0">
                  <c:v>12.2</c:v>
                </c:pt>
                <c:pt idx="1">
                  <c:v>1.3</c:v>
                </c:pt>
                <c:pt idx="2">
                  <c:v>0.8</c:v>
                </c:pt>
                <c:pt idx="3">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55.7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7349-4B72-8B22-66D7C4480B04}"/>
                </c:ext>
              </c:extLst>
            </c:dLbl>
            <c:dLbl>
              <c:idx val="1"/>
              <c:tx>
                <c:rich>
                  <a:bodyPr/>
                  <a:lstStyle/>
                  <a:p>
                    <a:r>
                      <a:t>31.6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7349-4B72-8B22-66D7C4480B04}"/>
                </c:ext>
              </c:extLst>
            </c:dLbl>
            <c:dLbl>
              <c:idx val="2"/>
              <c:tx>
                <c:rich>
                  <a:bodyPr/>
                  <a:lstStyle/>
                  <a:p>
                    <a:r>
                      <a:t>14.0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7349-4B72-8B22-66D7C4480B04}"/>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7349-4B72-8B22-66D7C4480B04}"/>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5</c:f>
              <c:multiLvlStrCache>
                <c:ptCount val="4"/>
                <c:lvl>
                  <c:pt idx="0">
                    <c:v>Total</c:v>
                  </c:pt>
                  <c:pt idx="1">
                    <c:v>Nicolas</c:v>
                  </c:pt>
                  <c:pt idx="2">
                    <c:v>Total</c:v>
                  </c:pt>
                  <c:pt idx="3">
                    <c:v>Nicolas</c:v>
                  </c:pt>
                </c:lvl>
                <c:lvl>
                  <c:pt idx="0">
                    <c:v>Champagnes</c:v>
                  </c:pt>
                  <c:pt idx="2">
                    <c:v>Mousseux</c:v>
                  </c:pt>
                </c:lvl>
              </c:multiLvlStrCache>
            </c:multiLvlStrRef>
          </c:cat>
          <c:val>
            <c:numRef>
              <c:f>Sheet1!$D$2:$D$5</c:f>
              <c:numCache>
                <c:formatCode>General</c:formatCode>
                <c:ptCount val="4"/>
                <c:pt idx="0">
                  <c:v>55.716000000000001</c:v>
                </c:pt>
                <c:pt idx="1">
                  <c:v>31.645600000000002</c:v>
                </c:pt>
                <c:pt idx="2">
                  <c:v>14.082000000000001</c:v>
                </c:pt>
                <c:pt idx="3">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5</c:f>
              <c:multiLvlStrCache>
                <c:ptCount val="4"/>
                <c:lvl>
                  <c:pt idx="0">
                    <c:v>Total</c:v>
                  </c:pt>
                  <c:pt idx="1">
                    <c:v>Nicolas</c:v>
                  </c:pt>
                  <c:pt idx="2">
                    <c:v>Total</c:v>
                  </c:pt>
                  <c:pt idx="3">
                    <c:v>Nicolas</c:v>
                  </c:pt>
                </c:lvl>
                <c:lvl>
                  <c:pt idx="0">
                    <c:v>Champagnes</c:v>
                  </c:pt>
                  <c:pt idx="2">
                    <c:v>Mousseux</c:v>
                  </c:pt>
                </c:lvl>
              </c:multiLvlStrCache>
            </c:multiLvlStrRef>
          </c:cat>
          <c:val>
            <c:numRef>
              <c:f>Sheet1!$C$2:$C$5</c:f>
              <c:numCache>
                <c:formatCode>General</c:formatCode>
                <c:ptCount val="4"/>
                <c:pt idx="0">
                  <c:v>7.6</c:v>
                </c:pt>
                <c:pt idx="1">
                  <c:v>0.6</c:v>
                </c:pt>
                <c:pt idx="2">
                  <c:v>0.5</c:v>
                </c:pt>
                <c:pt idx="3">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59.9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BF09-4C7E-8F70-7792C40EF53E}"/>
                </c:ext>
              </c:extLst>
            </c:dLbl>
            <c:dLbl>
              <c:idx val="1"/>
              <c:tx>
                <c:rich>
                  <a:bodyPr/>
                  <a:lstStyle/>
                  <a:p>
                    <a:r>
                      <a:t>31.6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BF09-4C7E-8F70-7792C40EF53E}"/>
                </c:ext>
              </c:extLst>
            </c:dLbl>
            <c:dLbl>
              <c:idx val="2"/>
              <c:tx>
                <c:rich>
                  <a:bodyPr/>
                  <a:lstStyle/>
                  <a:p>
                    <a:r>
                      <a:t>14.4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BF09-4C7E-8F70-7792C40EF53E}"/>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BF09-4C7E-8F70-7792C40EF53E}"/>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5</c:f>
              <c:multiLvlStrCache>
                <c:ptCount val="4"/>
                <c:lvl>
                  <c:pt idx="0">
                    <c:v>Total</c:v>
                  </c:pt>
                  <c:pt idx="1">
                    <c:v>Nicolas</c:v>
                  </c:pt>
                  <c:pt idx="2">
                    <c:v>Total</c:v>
                  </c:pt>
                  <c:pt idx="3">
                    <c:v>Nicolas</c:v>
                  </c:pt>
                </c:lvl>
                <c:lvl>
                  <c:pt idx="0">
                    <c:v>Champagnes</c:v>
                  </c:pt>
                  <c:pt idx="2">
                    <c:v>Mousseux</c:v>
                  </c:pt>
                </c:lvl>
              </c:multiLvlStrCache>
            </c:multiLvlStrRef>
          </c:cat>
          <c:val>
            <c:numRef>
              <c:f>Sheet1!$D$2:$D$5</c:f>
              <c:numCache>
                <c:formatCode>General</c:formatCode>
                <c:ptCount val="4"/>
                <c:pt idx="0">
                  <c:v>59.992100000000001</c:v>
                </c:pt>
                <c:pt idx="1">
                  <c:v>31.608499999999999</c:v>
                </c:pt>
                <c:pt idx="2">
                  <c:v>14.4686</c:v>
                </c:pt>
                <c:pt idx="3">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5</c:f>
              <c:multiLvlStrCache>
                <c:ptCount val="4"/>
                <c:lvl>
                  <c:pt idx="0">
                    <c:v>Total</c:v>
                  </c:pt>
                  <c:pt idx="1">
                    <c:v>Nicolas</c:v>
                  </c:pt>
                  <c:pt idx="2">
                    <c:v>Total</c:v>
                  </c:pt>
                  <c:pt idx="3">
                    <c:v>Nicolas</c:v>
                  </c:pt>
                </c:lvl>
                <c:lvl>
                  <c:pt idx="0">
                    <c:v>Champagnes</c:v>
                  </c:pt>
                  <c:pt idx="2">
                    <c:v>Mousseux</c:v>
                  </c:pt>
                </c:lvl>
              </c:multiLvlStrCache>
            </c:multiLvlStrRef>
          </c:cat>
          <c:val>
            <c:numRef>
              <c:f>Sheet1!$C$2:$C$5</c:f>
              <c:numCache>
                <c:formatCode>General</c:formatCode>
                <c:ptCount val="4"/>
                <c:pt idx="0">
                  <c:v>5.4</c:v>
                </c:pt>
                <c:pt idx="1">
                  <c:v>0.3</c:v>
                </c:pt>
                <c:pt idx="2">
                  <c:v>0.2</c:v>
                </c:pt>
                <c:pt idx="3">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64.9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5836-46C9-8FBE-018478131361}"/>
                </c:ext>
              </c:extLst>
            </c:dLbl>
            <c:dLbl>
              <c:idx val="1"/>
              <c:tx>
                <c:rich>
                  <a:bodyPr/>
                  <a:lstStyle/>
                  <a:p>
                    <a:r>
                      <a:t>31.7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5836-46C9-8FBE-018478131361}"/>
                </c:ext>
              </c:extLst>
            </c:dLbl>
            <c:dLbl>
              <c:idx val="2"/>
              <c:tx>
                <c:rich>
                  <a:bodyPr/>
                  <a:lstStyle/>
                  <a:p>
                    <a:r>
                      <a:t>14.2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5836-46C9-8FBE-018478131361}"/>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5836-46C9-8FBE-018478131361}"/>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5</c:f>
              <c:multiLvlStrCache>
                <c:ptCount val="4"/>
                <c:lvl>
                  <c:pt idx="0">
                    <c:v>Total</c:v>
                  </c:pt>
                  <c:pt idx="1">
                    <c:v>Nicolas</c:v>
                  </c:pt>
                  <c:pt idx="2">
                    <c:v>Total</c:v>
                  </c:pt>
                  <c:pt idx="3">
                    <c:v>Nicolas</c:v>
                  </c:pt>
                </c:lvl>
                <c:lvl>
                  <c:pt idx="0">
                    <c:v>Champagnes</c:v>
                  </c:pt>
                  <c:pt idx="2">
                    <c:v>Mousseux</c:v>
                  </c:pt>
                </c:lvl>
              </c:multiLvlStrCache>
            </c:multiLvlStrRef>
          </c:cat>
          <c:val>
            <c:numRef>
              <c:f>Sheet1!$D$2:$D$5</c:f>
              <c:numCache>
                <c:formatCode>General</c:formatCode>
                <c:ptCount val="4"/>
                <c:pt idx="0">
                  <c:v>64.910399999999996</c:v>
                </c:pt>
                <c:pt idx="1">
                  <c:v>31.7425</c:v>
                </c:pt>
                <c:pt idx="2">
                  <c:v>14.255800000000001</c:v>
                </c:pt>
                <c:pt idx="3">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5</c:f>
              <c:multiLvlStrCache>
                <c:ptCount val="4"/>
                <c:lvl>
                  <c:pt idx="0">
                    <c:v>Total</c:v>
                  </c:pt>
                  <c:pt idx="1">
                    <c:v>Nicolas</c:v>
                  </c:pt>
                  <c:pt idx="2">
                    <c:v>Total</c:v>
                  </c:pt>
                  <c:pt idx="3">
                    <c:v>Nicolas</c:v>
                  </c:pt>
                </c:lvl>
                <c:lvl>
                  <c:pt idx="0">
                    <c:v>Champagnes</c:v>
                  </c:pt>
                  <c:pt idx="2">
                    <c:v>Mousseux</c:v>
                  </c:pt>
                </c:lvl>
              </c:multiLvlStrCache>
            </c:multiLvlStrRef>
          </c:cat>
          <c:val>
            <c:numRef>
              <c:f>Sheet1!$C$2:$C$5</c:f>
              <c:numCache>
                <c:formatCode>General</c:formatCode>
                <c:ptCount val="4"/>
                <c:pt idx="0">
                  <c:v>3.2</c:v>
                </c:pt>
                <c:pt idx="1">
                  <c:v>0.2</c:v>
                </c:pt>
                <c:pt idx="2">
                  <c:v>0.2</c:v>
                </c:pt>
                <c:pt idx="3">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62.5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DD06-4A88-A066-80C162EC35A3}"/>
                </c:ext>
              </c:extLst>
            </c:dLbl>
            <c:dLbl>
              <c:idx val="1"/>
              <c:tx>
                <c:rich>
                  <a:bodyPr/>
                  <a:lstStyle/>
                  <a:p>
                    <a:r>
                      <a:t>31.7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DD06-4A88-A066-80C162EC35A3}"/>
                </c:ext>
              </c:extLst>
            </c:dLbl>
            <c:dLbl>
              <c:idx val="2"/>
              <c:tx>
                <c:rich>
                  <a:bodyPr/>
                  <a:lstStyle/>
                  <a:p>
                    <a:r>
                      <a:t>13.7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DD06-4A88-A066-80C162EC35A3}"/>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DD06-4A88-A066-80C162EC35A3}"/>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5</c:f>
              <c:multiLvlStrCache>
                <c:ptCount val="4"/>
                <c:lvl>
                  <c:pt idx="0">
                    <c:v>Total</c:v>
                  </c:pt>
                  <c:pt idx="1">
                    <c:v>Nicolas</c:v>
                  </c:pt>
                  <c:pt idx="2">
                    <c:v>Total</c:v>
                  </c:pt>
                  <c:pt idx="3">
                    <c:v>Nicolas</c:v>
                  </c:pt>
                </c:lvl>
                <c:lvl>
                  <c:pt idx="0">
                    <c:v>Champagnes</c:v>
                  </c:pt>
                  <c:pt idx="2">
                    <c:v>Mousseux</c:v>
                  </c:pt>
                </c:lvl>
              </c:multiLvlStrCache>
            </c:multiLvlStrRef>
          </c:cat>
          <c:val>
            <c:numRef>
              <c:f>Sheet1!$D$2:$D$5</c:f>
              <c:numCache>
                <c:formatCode>General</c:formatCode>
                <c:ptCount val="4"/>
                <c:pt idx="0">
                  <c:v>62.505899999999997</c:v>
                </c:pt>
                <c:pt idx="1">
                  <c:v>31.761099999999999</c:v>
                </c:pt>
                <c:pt idx="2">
                  <c:v>13.750500000000001</c:v>
                </c:pt>
                <c:pt idx="3">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B-96BA-4F54-A742-EBF16683C547}"/>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7</c:f>
              <c:multiLvlStrCache>
                <c:ptCount val="6"/>
                <c:lvl>
                  <c:pt idx="0">
                    <c:v>Total</c:v>
                  </c:pt>
                  <c:pt idx="1">
                    <c:v>Nicolas</c:v>
                  </c:pt>
                  <c:pt idx="2">
                    <c:v>Total</c:v>
                  </c:pt>
                  <c:pt idx="3">
                    <c:v>Nicolas</c:v>
                  </c:pt>
                  <c:pt idx="4">
                    <c:v>Total</c:v>
                  </c:pt>
                  <c:pt idx="5">
                    <c:v>Nicolas</c:v>
                  </c:pt>
                </c:lvl>
                <c:lvl>
                  <c:pt idx="0">
                    <c:v>Champagnes</c:v>
                  </c:pt>
                  <c:pt idx="2">
                    <c:v>Mousseux</c:v>
                  </c:pt>
                  <c:pt idx="4">
                    <c:v>Effervescents Sans Alcool</c:v>
                  </c:pt>
                </c:lvl>
              </c:multiLvlStrCache>
            </c:multiLvlStrRef>
          </c:cat>
          <c:val>
            <c:numRef>
              <c:f>Sheet1!$C$2:$C$7</c:f>
              <c:numCache>
                <c:formatCode>General</c:formatCode>
                <c:ptCount val="6"/>
                <c:pt idx="0">
                  <c:v>43.7</c:v>
                </c:pt>
                <c:pt idx="1">
                  <c:v>3.8</c:v>
                </c:pt>
                <c:pt idx="2">
                  <c:v>2.7</c:v>
                </c:pt>
                <c:pt idx="3">
                  <c:v>0</c:v>
                </c:pt>
                <c:pt idx="4">
                  <c:v>0.5</c:v>
                </c:pt>
                <c:pt idx="5">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57.6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96BA-4F54-A742-EBF16683C547}"/>
                </c:ext>
              </c:extLst>
            </c:dLbl>
            <c:dLbl>
              <c:idx val="1"/>
              <c:tx>
                <c:rich>
                  <a:bodyPr/>
                  <a:lstStyle/>
                  <a:p>
                    <a:r>
                      <a:t>31.6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96BA-4F54-A742-EBF16683C547}"/>
                </c:ext>
              </c:extLst>
            </c:dLbl>
            <c:dLbl>
              <c:idx val="2"/>
              <c:tx>
                <c:rich>
                  <a:bodyPr/>
                  <a:lstStyle/>
                  <a:p>
                    <a:r>
                      <a:t>14.1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96BA-4F54-A742-EBF16683C547}"/>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96BA-4F54-A742-EBF16683C547}"/>
                </c:ext>
              </c:extLst>
            </c:dLbl>
            <c:dLbl>
              <c:idx val="4"/>
              <c:tx>
                <c:rich>
                  <a:bodyPr/>
                  <a:lstStyle/>
                  <a:p>
                    <a:r>
                      <a:t>23.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96BA-4F54-A742-EBF16683C547}"/>
                </c:ext>
              </c:extLst>
            </c:dLbl>
            <c:dLbl>
              <c:idx val="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96BA-4F54-A742-EBF16683C547}"/>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7</c:f>
              <c:multiLvlStrCache>
                <c:ptCount val="6"/>
                <c:lvl>
                  <c:pt idx="0">
                    <c:v>Total</c:v>
                  </c:pt>
                  <c:pt idx="1">
                    <c:v>Nicolas</c:v>
                  </c:pt>
                  <c:pt idx="2">
                    <c:v>Total</c:v>
                  </c:pt>
                  <c:pt idx="3">
                    <c:v>Nicolas</c:v>
                  </c:pt>
                  <c:pt idx="4">
                    <c:v>Total</c:v>
                  </c:pt>
                  <c:pt idx="5">
                    <c:v>Nicolas</c:v>
                  </c:pt>
                </c:lvl>
                <c:lvl>
                  <c:pt idx="0">
                    <c:v>Champagnes</c:v>
                  </c:pt>
                  <c:pt idx="2">
                    <c:v>Mousseux</c:v>
                  </c:pt>
                  <c:pt idx="4">
                    <c:v>Effervescents Sans Alcool</c:v>
                  </c:pt>
                </c:lvl>
              </c:multiLvlStrCache>
            </c:multiLvlStrRef>
          </c:cat>
          <c:val>
            <c:numRef>
              <c:f>Sheet1!$D$2:$D$7</c:f>
              <c:numCache>
                <c:formatCode>General</c:formatCode>
                <c:ptCount val="6"/>
                <c:pt idx="0">
                  <c:v>57.671999999999997</c:v>
                </c:pt>
                <c:pt idx="1">
                  <c:v>31.663</c:v>
                </c:pt>
                <c:pt idx="2">
                  <c:v>14.1342</c:v>
                </c:pt>
                <c:pt idx="3">
                  <c:v>0</c:v>
                </c:pt>
                <c:pt idx="4">
                  <c:v>23.398599999999998</c:v>
                </c:pt>
                <c:pt idx="5">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6A80FE98-368F-4FD0-AAB6-D7F6DD1E221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4E3B739A-5DE7-41DF-9DBF-21DA49120E6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0D21E18F-2DD4-41FA-A59D-853525D25E4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95DAD55D-3E1E-4833-8696-20FA6101944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4152605A-3F42-4BE9-91C1-6D4E41B31EA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4FEC3575-E295-4B53-98B2-AC24FC9C6DA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D1DA2856-4A97-4FAE-8F2A-A936E9C21FB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C809925F-556B-450C-BB77-BC41FBF04BC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57.5593</c:v>
                </c:pt>
                <c:pt idx="1">
                  <c:v>22.207599999999999</c:v>
                </c:pt>
                <c:pt idx="2">
                  <c:v>48.483199999999997</c:v>
                </c:pt>
                <c:pt idx="3">
                  <c:v>49.057299999999998</c:v>
                </c:pt>
                <c:pt idx="4">
                  <c:v>29.282399999999999</c:v>
                </c:pt>
                <c:pt idx="5">
                  <c:v>37.173099999999998</c:v>
                </c:pt>
                <c:pt idx="6">
                  <c:v>30.305599999999998</c:v>
                </c:pt>
                <c:pt idx="7">
                  <c:v>52.314700000000002</c:v>
                </c:pt>
              </c:numCache>
            </c:numRef>
          </c:xVal>
          <c:yVal>
            <c:numRef>
              <c:f>Sheet1!$B$2:$B$9</c:f>
              <c:numCache>
                <c:formatCode>General</c:formatCode>
                <c:ptCount val="8"/>
                <c:pt idx="0">
                  <c:v>1.4390000000000001</c:v>
                </c:pt>
                <c:pt idx="1">
                  <c:v>0.56299999999999994</c:v>
                </c:pt>
                <c:pt idx="2">
                  <c:v>1.1859999999999999</c:v>
                </c:pt>
                <c:pt idx="3">
                  <c:v>1.0980000000000001</c:v>
                </c:pt>
                <c:pt idx="4">
                  <c:v>0.74399999999999999</c:v>
                </c:pt>
                <c:pt idx="5">
                  <c:v>0.94499999999999995</c:v>
                </c:pt>
                <c:pt idx="6">
                  <c:v>0.79200000000000004</c:v>
                </c:pt>
                <c:pt idx="7">
                  <c:v>1.1599999999999999</c:v>
                </c:pt>
              </c:numCache>
            </c:numRef>
          </c:yVal>
          <c:bubbleSize>
            <c:numRef>
              <c:f>Sheet1!$C$2:$C$9</c:f>
              <c:numCache>
                <c:formatCode>General</c:formatCode>
                <c:ptCount val="8"/>
                <c:pt idx="0">
                  <c:v>8876227</c:v>
                </c:pt>
                <c:pt idx="1">
                  <c:v>4648693</c:v>
                </c:pt>
                <c:pt idx="2">
                  <c:v>4269285</c:v>
                </c:pt>
                <c:pt idx="3">
                  <c:v>2622261</c:v>
                </c:pt>
                <c:pt idx="4">
                  <c:v>2092464</c:v>
                </c:pt>
                <c:pt idx="5">
                  <c:v>1761075</c:v>
                </c:pt>
                <c:pt idx="6">
                  <c:v>1729845</c:v>
                </c:pt>
                <c:pt idx="7">
                  <c:v>1639753</c:v>
                </c:pt>
              </c:numCache>
            </c:numRef>
          </c:bubbleSize>
          <c:bubble3D val="0"/>
          <c:extLst>
            <c:ext xmlns:c15="http://schemas.microsoft.com/office/drawing/2012/chart" uri="{02D57815-91ED-43cb-92C2-25804820EDAC}">
              <c15:datalabelsRange>
                <c15:f>Sheet1!$E$2:$E$10</c15:f>
                <c15:dlblRangeCache>
                  <c:ptCount val="9"/>
                  <c:pt idx="0">
                    <c:v>Ruinart</c:v>
                  </c:pt>
                  <c:pt idx="1">
                    <c:v>Nicolas</c:v>
                  </c:pt>
                  <c:pt idx="2">
                    <c:v>Deutz</c:v>
                  </c:pt>
                  <c:pt idx="3">
                    <c:v>Laurent Perrier</c:v>
                  </c:pt>
                  <c:pt idx="4">
                    <c:v>Heidsieck &amp; Co Monopole</c:v>
                  </c:pt>
                  <c:pt idx="5">
                    <c:v>Ayala</c:v>
                  </c:pt>
                  <c:pt idx="6">
                    <c:v>Canard Duchêne</c:v>
                  </c:pt>
                  <c:pt idx="7">
                    <c:v>Taittinger</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9"/>
          <c:min val="18"/>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5</c:f>
              <c:multiLvlStrCache>
                <c:ptCount val="4"/>
                <c:lvl>
                  <c:pt idx="0">
                    <c:v>Total</c:v>
                  </c:pt>
                  <c:pt idx="1">
                    <c:v>Nicolas</c:v>
                  </c:pt>
                  <c:pt idx="2">
                    <c:v>Total</c:v>
                  </c:pt>
                  <c:pt idx="3">
                    <c:v>Nicolas</c:v>
                  </c:pt>
                </c:lvl>
                <c:lvl>
                  <c:pt idx="0">
                    <c:v>Champagnes</c:v>
                  </c:pt>
                  <c:pt idx="2">
                    <c:v>Mousseux</c:v>
                  </c:pt>
                </c:lvl>
              </c:multiLvlStrCache>
            </c:multiLvlStrRef>
          </c:cat>
          <c:val>
            <c:numRef>
              <c:f>Sheet1!$C$2:$C$5</c:f>
              <c:numCache>
                <c:formatCode>General</c:formatCode>
                <c:ptCount val="4"/>
                <c:pt idx="0">
                  <c:v>6.3</c:v>
                </c:pt>
                <c:pt idx="1">
                  <c:v>0.6</c:v>
                </c:pt>
                <c:pt idx="2">
                  <c:v>0.3</c:v>
                </c:pt>
                <c:pt idx="3">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60.7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AFE1-4C32-9851-47D9D9B5D2CF}"/>
                </c:ext>
              </c:extLst>
            </c:dLbl>
            <c:dLbl>
              <c:idx val="1"/>
              <c:tx>
                <c:rich>
                  <a:bodyPr/>
                  <a:lstStyle/>
                  <a:p>
                    <a:r>
                      <a:t>31.4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AFE1-4C32-9851-47D9D9B5D2CF}"/>
                </c:ext>
              </c:extLst>
            </c:dLbl>
            <c:dLbl>
              <c:idx val="2"/>
              <c:tx>
                <c:rich>
                  <a:bodyPr/>
                  <a:lstStyle/>
                  <a:p>
                    <a:r>
                      <a:t>13.6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AFE1-4C32-9851-47D9D9B5D2CF}"/>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AFE1-4C32-9851-47D9D9B5D2CF}"/>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5</c:f>
              <c:multiLvlStrCache>
                <c:ptCount val="4"/>
                <c:lvl>
                  <c:pt idx="0">
                    <c:v>Total</c:v>
                  </c:pt>
                  <c:pt idx="1">
                    <c:v>Nicolas</c:v>
                  </c:pt>
                  <c:pt idx="2">
                    <c:v>Total</c:v>
                  </c:pt>
                  <c:pt idx="3">
                    <c:v>Nicolas</c:v>
                  </c:pt>
                </c:lvl>
                <c:lvl>
                  <c:pt idx="0">
                    <c:v>Champagnes</c:v>
                  </c:pt>
                  <c:pt idx="2">
                    <c:v>Mousseux</c:v>
                  </c:pt>
                </c:lvl>
              </c:multiLvlStrCache>
            </c:multiLvlStrRef>
          </c:cat>
          <c:val>
            <c:numRef>
              <c:f>Sheet1!$D$2:$D$5</c:f>
              <c:numCache>
                <c:formatCode>General</c:formatCode>
                <c:ptCount val="4"/>
                <c:pt idx="0">
                  <c:v>60.7303</c:v>
                </c:pt>
                <c:pt idx="1">
                  <c:v>31.423500000000001</c:v>
                </c:pt>
                <c:pt idx="2">
                  <c:v>13.6219</c:v>
                </c:pt>
                <c:pt idx="3">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B-2D24-4EA4-A575-8010E0383CA4}"/>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7</c:f>
              <c:multiLvlStrCache>
                <c:ptCount val="6"/>
                <c:lvl>
                  <c:pt idx="0">
                    <c:v>Total</c:v>
                  </c:pt>
                  <c:pt idx="1">
                    <c:v>Nicolas</c:v>
                  </c:pt>
                  <c:pt idx="2">
                    <c:v>Total</c:v>
                  </c:pt>
                  <c:pt idx="3">
                    <c:v>Nicolas</c:v>
                  </c:pt>
                  <c:pt idx="4">
                    <c:v>Total</c:v>
                  </c:pt>
                  <c:pt idx="5">
                    <c:v>Nicolas</c:v>
                  </c:pt>
                </c:lvl>
                <c:lvl>
                  <c:pt idx="0">
                    <c:v>Champagnes</c:v>
                  </c:pt>
                  <c:pt idx="2">
                    <c:v>Mousseux</c:v>
                  </c:pt>
                  <c:pt idx="4">
                    <c:v>Effervescents Sans Alcool</c:v>
                  </c:pt>
                </c:lvl>
              </c:multiLvlStrCache>
            </c:multiLvlStrRef>
          </c:cat>
          <c:val>
            <c:numRef>
              <c:f>Sheet1!$C$2:$C$7</c:f>
              <c:numCache>
                <c:formatCode>General</c:formatCode>
                <c:ptCount val="6"/>
                <c:pt idx="0">
                  <c:v>3.5</c:v>
                </c:pt>
                <c:pt idx="1">
                  <c:v>0.3</c:v>
                </c:pt>
                <c:pt idx="2">
                  <c:v>0.3</c:v>
                </c:pt>
                <c:pt idx="3">
                  <c:v>0</c:v>
                </c:pt>
                <c:pt idx="4">
                  <c:v>0</c:v>
                </c:pt>
                <c:pt idx="5">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58.7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2D24-4EA4-A575-8010E0383CA4}"/>
                </c:ext>
              </c:extLst>
            </c:dLbl>
            <c:dLbl>
              <c:idx val="1"/>
              <c:tx>
                <c:rich>
                  <a:bodyPr/>
                  <a:lstStyle/>
                  <a:p>
                    <a:r>
                      <a:t>32.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2D24-4EA4-A575-8010E0383CA4}"/>
                </c:ext>
              </c:extLst>
            </c:dLbl>
            <c:dLbl>
              <c:idx val="2"/>
              <c:tx>
                <c:rich>
                  <a:bodyPr/>
                  <a:lstStyle/>
                  <a:p>
                    <a:r>
                      <a:t>13.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2D24-4EA4-A575-8010E0383CA4}"/>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2D24-4EA4-A575-8010E0383CA4}"/>
                </c:ext>
              </c:extLst>
            </c:dLbl>
            <c:dLbl>
              <c:idx val="4"/>
              <c:tx>
                <c:rich>
                  <a:bodyPr/>
                  <a:lstStyle/>
                  <a:p>
                    <a:r>
                      <a:t>23.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2D24-4EA4-A575-8010E0383CA4}"/>
                </c:ext>
              </c:extLst>
            </c:dLbl>
            <c:dLbl>
              <c:idx val="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2D24-4EA4-A575-8010E0383CA4}"/>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7</c:f>
              <c:multiLvlStrCache>
                <c:ptCount val="6"/>
                <c:lvl>
                  <c:pt idx="0">
                    <c:v>Total</c:v>
                  </c:pt>
                  <c:pt idx="1">
                    <c:v>Nicolas</c:v>
                  </c:pt>
                  <c:pt idx="2">
                    <c:v>Total</c:v>
                  </c:pt>
                  <c:pt idx="3">
                    <c:v>Nicolas</c:v>
                  </c:pt>
                  <c:pt idx="4">
                    <c:v>Total</c:v>
                  </c:pt>
                  <c:pt idx="5">
                    <c:v>Nicolas</c:v>
                  </c:pt>
                </c:lvl>
                <c:lvl>
                  <c:pt idx="0">
                    <c:v>Champagnes</c:v>
                  </c:pt>
                  <c:pt idx="2">
                    <c:v>Mousseux</c:v>
                  </c:pt>
                  <c:pt idx="4">
                    <c:v>Effervescents Sans Alcool</c:v>
                  </c:pt>
                </c:lvl>
              </c:multiLvlStrCache>
            </c:multiLvlStrRef>
          </c:cat>
          <c:val>
            <c:numRef>
              <c:f>Sheet1!$D$2:$D$7</c:f>
              <c:numCache>
                <c:formatCode>General</c:formatCode>
                <c:ptCount val="6"/>
                <c:pt idx="0">
                  <c:v>58.762300000000003</c:v>
                </c:pt>
                <c:pt idx="1">
                  <c:v>32.7014</c:v>
                </c:pt>
                <c:pt idx="2">
                  <c:v>13.6953</c:v>
                </c:pt>
                <c:pt idx="3">
                  <c:v>0</c:v>
                </c:pt>
                <c:pt idx="4">
                  <c:v>23.302399999999999</c:v>
                </c:pt>
                <c:pt idx="5">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B-44CD-4906-BA92-B8DCC9D53194}"/>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7</c:f>
              <c:multiLvlStrCache>
                <c:ptCount val="6"/>
                <c:lvl>
                  <c:pt idx="0">
                    <c:v>Total</c:v>
                  </c:pt>
                  <c:pt idx="1">
                    <c:v>Nicolas</c:v>
                  </c:pt>
                  <c:pt idx="2">
                    <c:v>Total</c:v>
                  </c:pt>
                  <c:pt idx="3">
                    <c:v>Nicolas</c:v>
                  </c:pt>
                  <c:pt idx="4">
                    <c:v>Total</c:v>
                  </c:pt>
                  <c:pt idx="5">
                    <c:v>Nicolas</c:v>
                  </c:pt>
                </c:lvl>
                <c:lvl>
                  <c:pt idx="0">
                    <c:v>Champagnes</c:v>
                  </c:pt>
                  <c:pt idx="2">
                    <c:v>Mousseux</c:v>
                  </c:pt>
                  <c:pt idx="4">
                    <c:v>Effervescents Sans Alcool</c:v>
                  </c:pt>
                </c:lvl>
              </c:multiLvlStrCache>
            </c:multiLvlStrRef>
          </c:cat>
          <c:val>
            <c:numRef>
              <c:f>Sheet1!$C$2:$C$7</c:f>
              <c:numCache>
                <c:formatCode>General</c:formatCode>
                <c:ptCount val="6"/>
                <c:pt idx="0">
                  <c:v>1.8</c:v>
                </c:pt>
                <c:pt idx="1">
                  <c:v>0.2</c:v>
                </c:pt>
                <c:pt idx="2">
                  <c:v>0.1</c:v>
                </c:pt>
                <c:pt idx="3">
                  <c:v>0</c:v>
                </c:pt>
                <c:pt idx="4">
                  <c:v>0</c:v>
                </c:pt>
                <c:pt idx="5">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54.0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44CD-4906-BA92-B8DCC9D53194}"/>
                </c:ext>
              </c:extLst>
            </c:dLbl>
            <c:dLbl>
              <c:idx val="1"/>
              <c:tx>
                <c:rich>
                  <a:bodyPr/>
                  <a:lstStyle/>
                  <a:p>
                    <a:r>
                      <a:t>30.6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44CD-4906-BA92-B8DCC9D53194}"/>
                </c:ext>
              </c:extLst>
            </c:dLbl>
            <c:dLbl>
              <c:idx val="2"/>
              <c:tx>
                <c:rich>
                  <a:bodyPr/>
                  <a:lstStyle/>
                  <a:p>
                    <a:r>
                      <a:t>13.4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44CD-4906-BA92-B8DCC9D53194}"/>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44CD-4906-BA92-B8DCC9D53194}"/>
                </c:ext>
              </c:extLst>
            </c:dLbl>
            <c:dLbl>
              <c:idx val="4"/>
              <c:tx>
                <c:rich>
                  <a:bodyPr/>
                  <a:lstStyle/>
                  <a:p>
                    <a:r>
                      <a:t>21.6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44CD-4906-BA92-B8DCC9D53194}"/>
                </c:ext>
              </c:extLst>
            </c:dLbl>
            <c:dLbl>
              <c:idx val="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44CD-4906-BA92-B8DCC9D53194}"/>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7</c:f>
              <c:multiLvlStrCache>
                <c:ptCount val="6"/>
                <c:lvl>
                  <c:pt idx="0">
                    <c:v>Total</c:v>
                  </c:pt>
                  <c:pt idx="1">
                    <c:v>Nicolas</c:v>
                  </c:pt>
                  <c:pt idx="2">
                    <c:v>Total</c:v>
                  </c:pt>
                  <c:pt idx="3">
                    <c:v>Nicolas</c:v>
                  </c:pt>
                  <c:pt idx="4">
                    <c:v>Total</c:v>
                  </c:pt>
                  <c:pt idx="5">
                    <c:v>Nicolas</c:v>
                  </c:pt>
                </c:lvl>
                <c:lvl>
                  <c:pt idx="0">
                    <c:v>Champagnes</c:v>
                  </c:pt>
                  <c:pt idx="2">
                    <c:v>Mousseux</c:v>
                  </c:pt>
                  <c:pt idx="4">
                    <c:v>Effervescents Sans Alcool</c:v>
                  </c:pt>
                </c:lvl>
              </c:multiLvlStrCache>
            </c:multiLvlStrRef>
          </c:cat>
          <c:val>
            <c:numRef>
              <c:f>Sheet1!$D$2:$D$7</c:f>
              <c:numCache>
                <c:formatCode>General</c:formatCode>
                <c:ptCount val="6"/>
                <c:pt idx="0">
                  <c:v>54.082299999999996</c:v>
                </c:pt>
                <c:pt idx="1">
                  <c:v>30.671199999999999</c:v>
                </c:pt>
                <c:pt idx="2">
                  <c:v>13.433999999999999</c:v>
                </c:pt>
                <c:pt idx="3">
                  <c:v>0</c:v>
                </c:pt>
                <c:pt idx="4">
                  <c:v>21.657599999999999</c:v>
                </c:pt>
                <c:pt idx="5">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5</c:f>
              <c:multiLvlStrCache>
                <c:ptCount val="4"/>
                <c:lvl>
                  <c:pt idx="0">
                    <c:v>Total</c:v>
                  </c:pt>
                  <c:pt idx="1">
                    <c:v>Nicolas</c:v>
                  </c:pt>
                  <c:pt idx="2">
                    <c:v>Total</c:v>
                  </c:pt>
                  <c:pt idx="3">
                    <c:v>Nicolas</c:v>
                  </c:pt>
                </c:lvl>
                <c:lvl>
                  <c:pt idx="0">
                    <c:v>Champagnes</c:v>
                  </c:pt>
                  <c:pt idx="2">
                    <c:v>Mousseux</c:v>
                  </c:pt>
                </c:lvl>
              </c:multiLvlStrCache>
            </c:multiLvlStrRef>
          </c:cat>
          <c:val>
            <c:numRef>
              <c:f>Sheet1!$C$2:$C$5</c:f>
              <c:numCache>
                <c:formatCode>General</c:formatCode>
                <c:ptCount val="4"/>
                <c:pt idx="0">
                  <c:v>1.6</c:v>
                </c:pt>
                <c:pt idx="1">
                  <c:v>0.2</c:v>
                </c:pt>
                <c:pt idx="2">
                  <c:v>0.2</c:v>
                </c:pt>
                <c:pt idx="3">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53.4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742F-4792-9499-CF5B64765A64}"/>
                </c:ext>
              </c:extLst>
            </c:dLbl>
            <c:dLbl>
              <c:idx val="1"/>
              <c:tx>
                <c:rich>
                  <a:bodyPr/>
                  <a:lstStyle/>
                  <a:p>
                    <a:r>
                      <a:t>31.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742F-4792-9499-CF5B64765A64}"/>
                </c:ext>
              </c:extLst>
            </c:dLbl>
            <c:dLbl>
              <c:idx val="2"/>
              <c:tx>
                <c:rich>
                  <a:bodyPr/>
                  <a:lstStyle/>
                  <a:p>
                    <a:r>
                      <a:t>15.4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742F-4792-9499-CF5B64765A64}"/>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742F-4792-9499-CF5B64765A64}"/>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5</c:f>
              <c:multiLvlStrCache>
                <c:ptCount val="4"/>
                <c:lvl>
                  <c:pt idx="0">
                    <c:v>Total</c:v>
                  </c:pt>
                  <c:pt idx="1">
                    <c:v>Nicolas</c:v>
                  </c:pt>
                  <c:pt idx="2">
                    <c:v>Total</c:v>
                  </c:pt>
                  <c:pt idx="3">
                    <c:v>Nicolas</c:v>
                  </c:pt>
                </c:lvl>
                <c:lvl>
                  <c:pt idx="0">
                    <c:v>Champagnes</c:v>
                  </c:pt>
                  <c:pt idx="2">
                    <c:v>Mousseux</c:v>
                  </c:pt>
                </c:lvl>
              </c:multiLvlStrCache>
            </c:multiLvlStrRef>
          </c:cat>
          <c:val>
            <c:numRef>
              <c:f>Sheet1!$D$2:$D$5</c:f>
              <c:numCache>
                <c:formatCode>General</c:formatCode>
                <c:ptCount val="4"/>
                <c:pt idx="0">
                  <c:v>53.488700000000001</c:v>
                </c:pt>
                <c:pt idx="1">
                  <c:v>30.996300000000002</c:v>
                </c:pt>
                <c:pt idx="2">
                  <c:v>15.4397</c:v>
                </c:pt>
                <c:pt idx="3">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B-9297-49A7-ABDE-C439D1C912F1}"/>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7</c:f>
              <c:multiLvlStrCache>
                <c:ptCount val="6"/>
                <c:lvl>
                  <c:pt idx="0">
                    <c:v>Total</c:v>
                  </c:pt>
                  <c:pt idx="1">
                    <c:v>Nicolas</c:v>
                  </c:pt>
                  <c:pt idx="2">
                    <c:v>Total</c:v>
                  </c:pt>
                  <c:pt idx="3">
                    <c:v>Nicolas</c:v>
                  </c:pt>
                  <c:pt idx="4">
                    <c:v>Total</c:v>
                  </c:pt>
                  <c:pt idx="5">
                    <c:v>Nicolas</c:v>
                  </c:pt>
                </c:lvl>
                <c:lvl>
                  <c:pt idx="0">
                    <c:v>Champagnes</c:v>
                  </c:pt>
                  <c:pt idx="2">
                    <c:v>Mousseux</c:v>
                  </c:pt>
                  <c:pt idx="4">
                    <c:v>Effervescents Sans Alcool</c:v>
                  </c:pt>
                </c:lvl>
              </c:multiLvlStrCache>
            </c:multiLvlStrRef>
          </c:cat>
          <c:val>
            <c:numRef>
              <c:f>Sheet1!$C$2:$C$7</c:f>
              <c:numCache>
                <c:formatCode>General</c:formatCode>
                <c:ptCount val="6"/>
                <c:pt idx="0">
                  <c:v>18.8</c:v>
                </c:pt>
                <c:pt idx="1">
                  <c:v>1.5</c:v>
                </c:pt>
                <c:pt idx="2">
                  <c:v>1</c:v>
                </c:pt>
                <c:pt idx="3">
                  <c:v>0</c:v>
                </c:pt>
                <c:pt idx="4">
                  <c:v>0.2</c:v>
                </c:pt>
                <c:pt idx="5">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61.1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9297-49A7-ABDE-C439D1C912F1}"/>
                </c:ext>
              </c:extLst>
            </c:dLbl>
            <c:dLbl>
              <c:idx val="1"/>
              <c:tx>
                <c:rich>
                  <a:bodyPr/>
                  <a:lstStyle/>
                  <a:p>
                    <a:r>
                      <a:t>31.5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9297-49A7-ABDE-C439D1C912F1}"/>
                </c:ext>
              </c:extLst>
            </c:dLbl>
            <c:dLbl>
              <c:idx val="2"/>
              <c:tx>
                <c:rich>
                  <a:bodyPr/>
                  <a:lstStyle/>
                  <a:p>
                    <a:r>
                      <a:t>13.9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9297-49A7-ABDE-C439D1C912F1}"/>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9297-49A7-ABDE-C439D1C912F1}"/>
                </c:ext>
              </c:extLst>
            </c:dLbl>
            <c:dLbl>
              <c:idx val="4"/>
              <c:tx>
                <c:rich>
                  <a:bodyPr/>
                  <a:lstStyle/>
                  <a:p>
                    <a:r>
                      <a:t>24.4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9297-49A7-ABDE-C439D1C912F1}"/>
                </c:ext>
              </c:extLst>
            </c:dLbl>
            <c:dLbl>
              <c:idx val="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9297-49A7-ABDE-C439D1C912F1}"/>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7</c:f>
              <c:multiLvlStrCache>
                <c:ptCount val="6"/>
                <c:lvl>
                  <c:pt idx="0">
                    <c:v>Total</c:v>
                  </c:pt>
                  <c:pt idx="1">
                    <c:v>Nicolas</c:v>
                  </c:pt>
                  <c:pt idx="2">
                    <c:v>Total</c:v>
                  </c:pt>
                  <c:pt idx="3">
                    <c:v>Nicolas</c:v>
                  </c:pt>
                  <c:pt idx="4">
                    <c:v>Total</c:v>
                  </c:pt>
                  <c:pt idx="5">
                    <c:v>Nicolas</c:v>
                  </c:pt>
                </c:lvl>
                <c:lvl>
                  <c:pt idx="0">
                    <c:v>Champagnes</c:v>
                  </c:pt>
                  <c:pt idx="2">
                    <c:v>Mousseux</c:v>
                  </c:pt>
                  <c:pt idx="4">
                    <c:v>Effervescents Sans Alcool</c:v>
                  </c:pt>
                </c:lvl>
              </c:multiLvlStrCache>
            </c:multiLvlStrRef>
          </c:cat>
          <c:val>
            <c:numRef>
              <c:f>Sheet1!$D$2:$D$7</c:f>
              <c:numCache>
                <c:formatCode>General</c:formatCode>
                <c:ptCount val="6"/>
                <c:pt idx="0">
                  <c:v>61.190300000000001</c:v>
                </c:pt>
                <c:pt idx="1">
                  <c:v>31.593699999999998</c:v>
                </c:pt>
                <c:pt idx="2">
                  <c:v>13.916499999999999</c:v>
                </c:pt>
                <c:pt idx="3">
                  <c:v>0</c:v>
                </c:pt>
                <c:pt idx="4">
                  <c:v>24.481999999999999</c:v>
                </c:pt>
                <c:pt idx="5">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B-CA7C-45CB-BABA-3DC12291C1A9}"/>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7</c:f>
              <c:multiLvlStrCache>
                <c:ptCount val="6"/>
                <c:lvl>
                  <c:pt idx="0">
                    <c:v>Total</c:v>
                  </c:pt>
                  <c:pt idx="1">
                    <c:v>Nicolas</c:v>
                  </c:pt>
                  <c:pt idx="2">
                    <c:v>Total</c:v>
                  </c:pt>
                  <c:pt idx="3">
                    <c:v>Nicolas</c:v>
                  </c:pt>
                  <c:pt idx="4">
                    <c:v>Total</c:v>
                  </c:pt>
                  <c:pt idx="5">
                    <c:v>Nicolas</c:v>
                  </c:pt>
                </c:lvl>
                <c:lvl>
                  <c:pt idx="0">
                    <c:v>Champagnes</c:v>
                  </c:pt>
                  <c:pt idx="2">
                    <c:v>Mousseux</c:v>
                  </c:pt>
                  <c:pt idx="4">
                    <c:v>Effervescents Sans Alcool</c:v>
                  </c:pt>
                </c:lvl>
              </c:multiLvlStrCache>
            </c:multiLvlStrRef>
          </c:cat>
          <c:val>
            <c:numRef>
              <c:f>Sheet1!$C$2:$C$7</c:f>
              <c:numCache>
                <c:formatCode>General</c:formatCode>
                <c:ptCount val="6"/>
                <c:pt idx="0">
                  <c:v>9</c:v>
                </c:pt>
                <c:pt idx="1">
                  <c:v>0.8</c:v>
                </c:pt>
                <c:pt idx="2">
                  <c:v>0.7</c:v>
                </c:pt>
                <c:pt idx="3">
                  <c:v>0</c:v>
                </c:pt>
                <c:pt idx="4">
                  <c:v>0.1</c:v>
                </c:pt>
                <c:pt idx="5">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56.3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CA7C-45CB-BABA-3DC12291C1A9}"/>
                </c:ext>
              </c:extLst>
            </c:dLbl>
            <c:dLbl>
              <c:idx val="1"/>
              <c:tx>
                <c:rich>
                  <a:bodyPr/>
                  <a:lstStyle/>
                  <a:p>
                    <a:r>
                      <a:t>31.3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CA7C-45CB-BABA-3DC12291C1A9}"/>
                </c:ext>
              </c:extLst>
            </c:dLbl>
            <c:dLbl>
              <c:idx val="2"/>
              <c:tx>
                <c:rich>
                  <a:bodyPr/>
                  <a:lstStyle/>
                  <a:p>
                    <a:r>
                      <a:t>14.0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CA7C-45CB-BABA-3DC12291C1A9}"/>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CA7C-45CB-BABA-3DC12291C1A9}"/>
                </c:ext>
              </c:extLst>
            </c:dLbl>
            <c:dLbl>
              <c:idx val="4"/>
              <c:tx>
                <c:rich>
                  <a:bodyPr/>
                  <a:lstStyle/>
                  <a:p>
                    <a:r>
                      <a:t>23.1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CA7C-45CB-BABA-3DC12291C1A9}"/>
                </c:ext>
              </c:extLst>
            </c:dLbl>
            <c:dLbl>
              <c:idx val="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CA7C-45CB-BABA-3DC12291C1A9}"/>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7</c:f>
              <c:multiLvlStrCache>
                <c:ptCount val="6"/>
                <c:lvl>
                  <c:pt idx="0">
                    <c:v>Total</c:v>
                  </c:pt>
                  <c:pt idx="1">
                    <c:v>Nicolas</c:v>
                  </c:pt>
                  <c:pt idx="2">
                    <c:v>Total</c:v>
                  </c:pt>
                  <c:pt idx="3">
                    <c:v>Nicolas</c:v>
                  </c:pt>
                  <c:pt idx="4">
                    <c:v>Total</c:v>
                  </c:pt>
                  <c:pt idx="5">
                    <c:v>Nicolas</c:v>
                  </c:pt>
                </c:lvl>
                <c:lvl>
                  <c:pt idx="0">
                    <c:v>Champagnes</c:v>
                  </c:pt>
                  <c:pt idx="2">
                    <c:v>Mousseux</c:v>
                  </c:pt>
                  <c:pt idx="4">
                    <c:v>Effervescents Sans Alcool</c:v>
                  </c:pt>
                </c:lvl>
              </c:multiLvlStrCache>
            </c:multiLvlStrRef>
          </c:cat>
          <c:val>
            <c:numRef>
              <c:f>Sheet1!$D$2:$D$7</c:f>
              <c:numCache>
                <c:formatCode>General</c:formatCode>
                <c:ptCount val="6"/>
                <c:pt idx="0">
                  <c:v>56.344200000000001</c:v>
                </c:pt>
                <c:pt idx="1">
                  <c:v>31.387</c:v>
                </c:pt>
                <c:pt idx="2">
                  <c:v>14.055400000000001</c:v>
                </c:pt>
                <c:pt idx="3">
                  <c:v>0</c:v>
                </c:pt>
                <c:pt idx="4">
                  <c:v>23.1082</c:v>
                </c:pt>
                <c:pt idx="5">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B-A76E-4303-95E6-BFAE9D08EB84}"/>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7</c:f>
              <c:multiLvlStrCache>
                <c:ptCount val="6"/>
                <c:lvl>
                  <c:pt idx="0">
                    <c:v>Total</c:v>
                  </c:pt>
                  <c:pt idx="1">
                    <c:v>Nicolas</c:v>
                  </c:pt>
                  <c:pt idx="2">
                    <c:v>Total</c:v>
                  </c:pt>
                  <c:pt idx="3">
                    <c:v>Nicolas</c:v>
                  </c:pt>
                  <c:pt idx="4">
                    <c:v>Total</c:v>
                  </c:pt>
                  <c:pt idx="5">
                    <c:v>Nicolas</c:v>
                  </c:pt>
                </c:lvl>
                <c:lvl>
                  <c:pt idx="0">
                    <c:v>Champagnes</c:v>
                  </c:pt>
                  <c:pt idx="2">
                    <c:v>Mousseux</c:v>
                  </c:pt>
                  <c:pt idx="4">
                    <c:v>Effervescents Sans Alcool</c:v>
                  </c:pt>
                </c:lvl>
              </c:multiLvlStrCache>
            </c:multiLvlStrRef>
          </c:cat>
          <c:val>
            <c:numRef>
              <c:f>Sheet1!$C$2:$C$7</c:f>
              <c:numCache>
                <c:formatCode>General</c:formatCode>
                <c:ptCount val="6"/>
                <c:pt idx="0">
                  <c:v>13.9</c:v>
                </c:pt>
                <c:pt idx="1">
                  <c:v>1.3</c:v>
                </c:pt>
                <c:pt idx="2">
                  <c:v>1</c:v>
                </c:pt>
                <c:pt idx="3">
                  <c:v>0</c:v>
                </c:pt>
                <c:pt idx="4">
                  <c:v>0.2</c:v>
                </c:pt>
                <c:pt idx="5">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56.4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A76E-4303-95E6-BFAE9D08EB84}"/>
                </c:ext>
              </c:extLst>
            </c:dLbl>
            <c:dLbl>
              <c:idx val="1"/>
              <c:tx>
                <c:rich>
                  <a:bodyPr/>
                  <a:lstStyle/>
                  <a:p>
                    <a:r>
                      <a:t>31.6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A76E-4303-95E6-BFAE9D08EB84}"/>
                </c:ext>
              </c:extLst>
            </c:dLbl>
            <c:dLbl>
              <c:idx val="2"/>
              <c:tx>
                <c:rich>
                  <a:bodyPr/>
                  <a:lstStyle/>
                  <a:p>
                    <a:r>
                      <a:t>14.0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A76E-4303-95E6-BFAE9D08EB84}"/>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A76E-4303-95E6-BFAE9D08EB84}"/>
                </c:ext>
              </c:extLst>
            </c:dLbl>
            <c:dLbl>
              <c:idx val="4"/>
              <c:tx>
                <c:rich>
                  <a:bodyPr/>
                  <a:lstStyle/>
                  <a:p>
                    <a:r>
                      <a:t>23.2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A76E-4303-95E6-BFAE9D08EB84}"/>
                </c:ext>
              </c:extLst>
            </c:dLbl>
            <c:dLbl>
              <c:idx val="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A76E-4303-95E6-BFAE9D08EB84}"/>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7</c:f>
              <c:multiLvlStrCache>
                <c:ptCount val="6"/>
                <c:lvl>
                  <c:pt idx="0">
                    <c:v>Total</c:v>
                  </c:pt>
                  <c:pt idx="1">
                    <c:v>Nicolas</c:v>
                  </c:pt>
                  <c:pt idx="2">
                    <c:v>Total</c:v>
                  </c:pt>
                  <c:pt idx="3">
                    <c:v>Nicolas</c:v>
                  </c:pt>
                  <c:pt idx="4">
                    <c:v>Total</c:v>
                  </c:pt>
                  <c:pt idx="5">
                    <c:v>Nicolas</c:v>
                  </c:pt>
                </c:lvl>
                <c:lvl>
                  <c:pt idx="0">
                    <c:v>Champagnes</c:v>
                  </c:pt>
                  <c:pt idx="2">
                    <c:v>Mousseux</c:v>
                  </c:pt>
                  <c:pt idx="4">
                    <c:v>Effervescents Sans Alcool</c:v>
                  </c:pt>
                </c:lvl>
              </c:multiLvlStrCache>
            </c:multiLvlStrRef>
          </c:cat>
          <c:val>
            <c:numRef>
              <c:f>Sheet1!$D$2:$D$7</c:f>
              <c:numCache>
                <c:formatCode>General</c:formatCode>
                <c:ptCount val="6"/>
                <c:pt idx="0">
                  <c:v>56.410800000000002</c:v>
                </c:pt>
                <c:pt idx="1">
                  <c:v>31.6081</c:v>
                </c:pt>
                <c:pt idx="2">
                  <c:v>14.0586</c:v>
                </c:pt>
                <c:pt idx="3">
                  <c:v>0</c:v>
                </c:pt>
                <c:pt idx="4">
                  <c:v>23.253499999999999</c:v>
                </c:pt>
                <c:pt idx="5">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5</c:f>
              <c:multiLvlStrCache>
                <c:ptCount val="4"/>
                <c:lvl>
                  <c:pt idx="0">
                    <c:v>Total</c:v>
                  </c:pt>
                  <c:pt idx="1">
                    <c:v>Nicolas</c:v>
                  </c:pt>
                  <c:pt idx="2">
                    <c:v>Total</c:v>
                  </c:pt>
                  <c:pt idx="3">
                    <c:v>Nicolas</c:v>
                  </c:pt>
                </c:lvl>
                <c:lvl>
                  <c:pt idx="0">
                    <c:v>Champagnes</c:v>
                  </c:pt>
                  <c:pt idx="2">
                    <c:v>Mousseux</c:v>
                  </c:pt>
                </c:lvl>
              </c:multiLvlStrCache>
            </c:multiLvlStrRef>
          </c:cat>
          <c:val>
            <c:numRef>
              <c:f>Sheet1!$C$2:$C$5</c:f>
              <c:numCache>
                <c:formatCode>General</c:formatCode>
                <c:ptCount val="4"/>
                <c:pt idx="0">
                  <c:v>11.1</c:v>
                </c:pt>
                <c:pt idx="1">
                  <c:v>1</c:v>
                </c:pt>
                <c:pt idx="2">
                  <c:v>0.8</c:v>
                </c:pt>
                <c:pt idx="3">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56.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EE3F-42A4-917D-33D0A474F2D6}"/>
                </c:ext>
              </c:extLst>
            </c:dLbl>
            <c:dLbl>
              <c:idx val="1"/>
              <c:tx>
                <c:rich>
                  <a:bodyPr/>
                  <a:lstStyle/>
                  <a:p>
                    <a:r>
                      <a:t>31.7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EE3F-42A4-917D-33D0A474F2D6}"/>
                </c:ext>
              </c:extLst>
            </c:dLbl>
            <c:dLbl>
              <c:idx val="2"/>
              <c:tx>
                <c:rich>
                  <a:bodyPr/>
                  <a:lstStyle/>
                  <a:p>
                    <a:r>
                      <a:t>14.3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EE3F-42A4-917D-33D0A474F2D6}"/>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EE3F-42A4-917D-33D0A474F2D6}"/>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5</c:f>
              <c:multiLvlStrCache>
                <c:ptCount val="4"/>
                <c:lvl>
                  <c:pt idx="0">
                    <c:v>Total</c:v>
                  </c:pt>
                  <c:pt idx="1">
                    <c:v>Nicolas</c:v>
                  </c:pt>
                  <c:pt idx="2">
                    <c:v>Total</c:v>
                  </c:pt>
                  <c:pt idx="3">
                    <c:v>Nicolas</c:v>
                  </c:pt>
                </c:lvl>
                <c:lvl>
                  <c:pt idx="0">
                    <c:v>Champagnes</c:v>
                  </c:pt>
                  <c:pt idx="2">
                    <c:v>Mousseux</c:v>
                  </c:pt>
                </c:lvl>
              </c:multiLvlStrCache>
            </c:multiLvlStrRef>
          </c:cat>
          <c:val>
            <c:numRef>
              <c:f>Sheet1!$D$2:$D$5</c:f>
              <c:numCache>
                <c:formatCode>General</c:formatCode>
                <c:ptCount val="4"/>
                <c:pt idx="0">
                  <c:v>56.203899999999997</c:v>
                </c:pt>
                <c:pt idx="1">
                  <c:v>31.770299999999999</c:v>
                </c:pt>
                <c:pt idx="2">
                  <c:v>14.335100000000001</c:v>
                </c:pt>
                <c:pt idx="3">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5</c:f>
              <c:multiLvlStrCache>
                <c:ptCount val="4"/>
                <c:lvl>
                  <c:pt idx="0">
                    <c:v>Total</c:v>
                  </c:pt>
                  <c:pt idx="1">
                    <c:v>Nicolas</c:v>
                  </c:pt>
                  <c:pt idx="2">
                    <c:v>Total</c:v>
                  </c:pt>
                  <c:pt idx="3">
                    <c:v>Nicolas</c:v>
                  </c:pt>
                </c:lvl>
                <c:lvl>
                  <c:pt idx="0">
                    <c:v>Champagnes</c:v>
                  </c:pt>
                  <c:pt idx="2">
                    <c:v>Mousseux</c:v>
                  </c:pt>
                </c:lvl>
              </c:multiLvlStrCache>
            </c:multiLvlStrRef>
          </c:cat>
          <c:val>
            <c:numRef>
              <c:f>Sheet1!$C$2:$C$5</c:f>
              <c:numCache>
                <c:formatCode>General</c:formatCode>
                <c:ptCount val="4"/>
                <c:pt idx="0">
                  <c:v>10.1</c:v>
                </c:pt>
                <c:pt idx="1">
                  <c:v>1.1000000000000001</c:v>
                </c:pt>
                <c:pt idx="2">
                  <c:v>0.8</c:v>
                </c:pt>
                <c:pt idx="3">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55.4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8A2B-425E-A5A3-9F2D286C4B03}"/>
                </c:ext>
              </c:extLst>
            </c:dLbl>
            <c:dLbl>
              <c:idx val="1"/>
              <c:tx>
                <c:rich>
                  <a:bodyPr/>
                  <a:lstStyle/>
                  <a:p>
                    <a:r>
                      <a:t>31.8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8A2B-425E-A5A3-9F2D286C4B03}"/>
                </c:ext>
              </c:extLst>
            </c:dLbl>
            <c:dLbl>
              <c:idx val="2"/>
              <c:tx>
                <c:rich>
                  <a:bodyPr/>
                  <a:lstStyle/>
                  <a:p>
                    <a:r>
                      <a:t>14.1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8A2B-425E-A5A3-9F2D286C4B03}"/>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8A2B-425E-A5A3-9F2D286C4B03}"/>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5</c:f>
              <c:multiLvlStrCache>
                <c:ptCount val="4"/>
                <c:lvl>
                  <c:pt idx="0">
                    <c:v>Total</c:v>
                  </c:pt>
                  <c:pt idx="1">
                    <c:v>Nicolas</c:v>
                  </c:pt>
                  <c:pt idx="2">
                    <c:v>Total</c:v>
                  </c:pt>
                  <c:pt idx="3">
                    <c:v>Nicolas</c:v>
                  </c:pt>
                </c:lvl>
                <c:lvl>
                  <c:pt idx="0">
                    <c:v>Champagnes</c:v>
                  </c:pt>
                  <c:pt idx="2">
                    <c:v>Mousseux</c:v>
                  </c:pt>
                </c:lvl>
              </c:multiLvlStrCache>
            </c:multiLvlStrRef>
          </c:cat>
          <c:val>
            <c:numRef>
              <c:f>Sheet1!$D$2:$D$5</c:f>
              <c:numCache>
                <c:formatCode>General</c:formatCode>
                <c:ptCount val="4"/>
                <c:pt idx="0">
                  <c:v>55.447299999999998</c:v>
                </c:pt>
                <c:pt idx="1">
                  <c:v>31.8188</c:v>
                </c:pt>
                <c:pt idx="2">
                  <c:v>14.1297</c:v>
                </c:pt>
                <c:pt idx="3">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B-4B1B-4ECE-9A37-3F2F5B68475B}"/>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1"/>
            <c:bubble3D val="0"/>
            <c:spPr>
              <a:solidFill>
                <a:srgbClr val="AEABAB"/>
              </a:solidFill>
              <a:ln>
                <a:noFill/>
              </a:ln>
              <a:effectLst/>
            </c:spPr>
            <c:extLst>
              <c:ext xmlns:c16="http://schemas.microsoft.com/office/drawing/2014/chart" uri="{C3380CC4-5D6E-409C-BE32-E72D297353CC}">
                <c16:uniqueId val="{0000001D-4B1B-4ECE-9A37-3F2F5B68475B}"/>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Nicolas</c:v>
                  </c:pt>
                  <c:pt idx="2">
                    <c:v>Total</c:v>
                  </c:pt>
                  <c:pt idx="3">
                    <c:v>Nicolas</c:v>
                  </c:pt>
                  <c:pt idx="4">
                    <c:v>Total</c:v>
                  </c:pt>
                  <c:pt idx="5">
                    <c:v>Nicolas</c:v>
                  </c:pt>
                  <c:pt idx="6">
                    <c:v>Total</c:v>
                  </c:pt>
                  <c:pt idx="7">
                    <c:v>Nicolas</c:v>
                  </c:pt>
                  <c:pt idx="8">
                    <c:v>Total</c:v>
                  </c:pt>
                  <c:pt idx="9">
                    <c:v>Nicolas</c:v>
                  </c:pt>
                </c:lvl>
                <c:lvl>
                  <c:pt idx="0">
                    <c:v>Bruts</c:v>
                  </c:pt>
                  <c:pt idx="2">
                    <c:v>Mousseux Autres</c:v>
                  </c:pt>
                  <c:pt idx="4">
                    <c:v>Mousseux Italiens</c:v>
                  </c:pt>
                  <c:pt idx="6">
                    <c:v>Mousseux Alsace</c:v>
                  </c:pt>
                  <c:pt idx="8">
                    <c:v>Mousseux Val De Loire</c:v>
                  </c:pt>
                </c:lvl>
              </c:multiLvlStrCache>
            </c:multiLvlStrRef>
          </c:cat>
          <c:val>
            <c:numRef>
              <c:f>Sheet1!$C$2:$C$11</c:f>
              <c:numCache>
                <c:formatCode>General</c:formatCode>
                <c:ptCount val="10"/>
                <c:pt idx="0">
                  <c:v>475.5</c:v>
                </c:pt>
                <c:pt idx="1">
                  <c:v>4.5999999999999996</c:v>
                </c:pt>
                <c:pt idx="2">
                  <c:v>175.7</c:v>
                </c:pt>
                <c:pt idx="3">
                  <c:v>0</c:v>
                </c:pt>
                <c:pt idx="4">
                  <c:v>131.1</c:v>
                </c:pt>
                <c:pt idx="5">
                  <c:v>0</c:v>
                </c:pt>
                <c:pt idx="6">
                  <c:v>103.8</c:v>
                </c:pt>
                <c:pt idx="7">
                  <c:v>0</c:v>
                </c:pt>
                <c:pt idx="8">
                  <c:v>70.3</c:v>
                </c:pt>
                <c:pt idx="9">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26.3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4B1B-4ECE-9A37-3F2F5B68475B}"/>
                </c:ext>
              </c:extLst>
            </c:dLbl>
            <c:dLbl>
              <c:idx val="1"/>
              <c:tx>
                <c:rich>
                  <a:bodyPr/>
                  <a:lstStyle/>
                  <a:p>
                    <a:r>
                      <a:t>29.5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4B1B-4ECE-9A37-3F2F5B68475B}"/>
                </c:ext>
              </c:extLst>
            </c:dLbl>
            <c:dLbl>
              <c:idx val="2"/>
              <c:tx>
                <c:rich>
                  <a:bodyPr/>
                  <a:lstStyle/>
                  <a:p>
                    <a:r>
                      <a:t>2.9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4B1B-4ECE-9A37-3F2F5B68475B}"/>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4B1B-4ECE-9A37-3F2F5B68475B}"/>
                </c:ext>
              </c:extLst>
            </c:dLbl>
            <c:dLbl>
              <c:idx val="4"/>
              <c:tx>
                <c:rich>
                  <a:bodyPr/>
                  <a:lstStyle/>
                  <a:p>
                    <a:r>
                      <a:t>8.2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4B1B-4ECE-9A37-3F2F5B68475B}"/>
                </c:ext>
              </c:extLst>
            </c:dLbl>
            <c:dLbl>
              <c:idx val="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4B1B-4ECE-9A37-3F2F5B68475B}"/>
                </c:ext>
              </c:extLst>
            </c:dLbl>
            <c:dLbl>
              <c:idx val="6"/>
              <c:tx>
                <c:rich>
                  <a:bodyPr/>
                  <a:lstStyle/>
                  <a:p>
                    <a:r>
                      <a:t>6.9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4B1B-4ECE-9A37-3F2F5B68475B}"/>
                </c:ext>
              </c:extLst>
            </c:dLbl>
            <c:dLbl>
              <c:idx val="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4B1B-4ECE-9A37-3F2F5B68475B}"/>
                </c:ext>
              </c:extLst>
            </c:dLbl>
            <c:dLbl>
              <c:idx val="8"/>
              <c:tx>
                <c:rich>
                  <a:bodyPr/>
                  <a:lstStyle/>
                  <a:p>
                    <a:r>
                      <a:t>7.1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4B1B-4ECE-9A37-3F2F5B68475B}"/>
                </c:ext>
              </c:extLst>
            </c:dLbl>
            <c:dLbl>
              <c:idx val="9"/>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4B1B-4ECE-9A37-3F2F5B68475B}"/>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Nicolas</c:v>
                  </c:pt>
                  <c:pt idx="2">
                    <c:v>Total</c:v>
                  </c:pt>
                  <c:pt idx="3">
                    <c:v>Nicolas</c:v>
                  </c:pt>
                  <c:pt idx="4">
                    <c:v>Total</c:v>
                  </c:pt>
                  <c:pt idx="5">
                    <c:v>Nicolas</c:v>
                  </c:pt>
                  <c:pt idx="6">
                    <c:v>Total</c:v>
                  </c:pt>
                  <c:pt idx="7">
                    <c:v>Nicolas</c:v>
                  </c:pt>
                  <c:pt idx="8">
                    <c:v>Total</c:v>
                  </c:pt>
                  <c:pt idx="9">
                    <c:v>Nicolas</c:v>
                  </c:pt>
                </c:lvl>
                <c:lvl>
                  <c:pt idx="0">
                    <c:v>Bruts</c:v>
                  </c:pt>
                  <c:pt idx="2">
                    <c:v>Mousseux Autres</c:v>
                  </c:pt>
                  <c:pt idx="4">
                    <c:v>Mousseux Italiens</c:v>
                  </c:pt>
                  <c:pt idx="6">
                    <c:v>Mousseux Alsace</c:v>
                  </c:pt>
                  <c:pt idx="8">
                    <c:v>Mousseux Val De Loire</c:v>
                  </c:pt>
                </c:lvl>
              </c:multiLvlStrCache>
            </c:multiLvlStrRef>
          </c:cat>
          <c:val>
            <c:numRef>
              <c:f>Sheet1!$D$2:$D$11</c:f>
              <c:numCache>
                <c:formatCode>General</c:formatCode>
                <c:ptCount val="10"/>
                <c:pt idx="0">
                  <c:v>26.361699999999999</c:v>
                </c:pt>
                <c:pt idx="1">
                  <c:v>29.526199999999999</c:v>
                </c:pt>
                <c:pt idx="2">
                  <c:v>2.94</c:v>
                </c:pt>
                <c:pt idx="3">
                  <c:v>0</c:v>
                </c:pt>
                <c:pt idx="4">
                  <c:v>8.2279999999999998</c:v>
                </c:pt>
                <c:pt idx="5">
                  <c:v>0</c:v>
                </c:pt>
                <c:pt idx="6">
                  <c:v>6.9306000000000001</c:v>
                </c:pt>
                <c:pt idx="7">
                  <c:v>0</c:v>
                </c:pt>
                <c:pt idx="8">
                  <c:v>7.1753</c:v>
                </c:pt>
                <c:pt idx="9">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925801D8-9219-4FDC-93FD-8CCF529B530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0CBAFD39-53CF-4934-82EB-5613B5D3646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71-46D6-BBFE-7C00E0D51738}"/>
                </c:ext>
              </c:extLst>
            </c:dLbl>
            <c:dLbl>
              <c:idx val="3"/>
              <c:tx>
                <c:rich>
                  <a:bodyPr/>
                  <a:lstStyle/>
                  <a:p>
                    <a:fld id="{7B21DD41-40CA-412C-B7DF-E1D0978601E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71-46D6-BBFE-7C00E0D51738}"/>
                </c:ext>
              </c:extLst>
            </c:dLbl>
            <c:dLbl>
              <c:idx val="4"/>
              <c:tx>
                <c:rich>
                  <a:bodyPr/>
                  <a:lstStyle/>
                  <a:p>
                    <a:fld id="{7897F291-67D2-4F59-A02A-B8CE4994D76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D871-46D6-BBFE-7C00E0D51738}"/>
                </c:ext>
              </c:extLst>
            </c:dLbl>
            <c:dLbl>
              <c:idx val="5"/>
              <c:tx>
                <c:rich>
                  <a:bodyPr/>
                  <a:lstStyle/>
                  <a:p>
                    <a:fld id="{3A2A922A-27D1-4156-A534-BF462A8A231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71-46D6-BBFE-7C00E0D51738}"/>
                </c:ext>
              </c:extLst>
            </c:dLbl>
            <c:dLbl>
              <c:idx val="6"/>
              <c:tx>
                <c:rich>
                  <a:bodyPr/>
                  <a:lstStyle/>
                  <a:p>
                    <a:fld id="{7655DD47-5269-4C55-A497-2D291574AA0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71-46D6-BBFE-7C00E0D51738}"/>
                </c:ext>
              </c:extLst>
            </c:dLbl>
            <c:dLbl>
              <c:idx val="7"/>
              <c:tx>
                <c:rich>
                  <a:bodyPr/>
                  <a:lstStyle/>
                  <a:p>
                    <a:fld id="{55CCF9FD-510C-4353-80DB-6FBBCFF2B24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71-46D6-BBFE-7C00E0D51738}"/>
                </c:ext>
              </c:extLst>
            </c:dLbl>
            <c:dLbl>
              <c:idx val="8"/>
              <c:tx>
                <c:rich>
                  <a:bodyPr/>
                  <a:lstStyle/>
                  <a:p>
                    <a:fld id="{68E8749E-9A2A-4540-8923-3FAEC11D16D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29.6005</c:v>
                </c:pt>
                <c:pt idx="1">
                  <c:v>30.4802</c:v>
                </c:pt>
                <c:pt idx="2">
                  <c:v>31.5137</c:v>
                </c:pt>
                <c:pt idx="3">
                  <c:v>35.524299999999997</c:v>
                </c:pt>
              </c:numCache>
            </c:numRef>
          </c:xVal>
          <c:yVal>
            <c:numRef>
              <c:f>Sheet1!$B$2:$B$5</c:f>
              <c:numCache>
                <c:formatCode>General</c:formatCode>
                <c:ptCount val="4"/>
                <c:pt idx="0">
                  <c:v>0.98699999999999999</c:v>
                </c:pt>
                <c:pt idx="1">
                  <c:v>1.0149999999999999</c:v>
                </c:pt>
                <c:pt idx="2">
                  <c:v>1.0469999999999999</c:v>
                </c:pt>
                <c:pt idx="3">
                  <c:v>1.077</c:v>
                </c:pt>
              </c:numCache>
            </c:numRef>
          </c:yVal>
          <c:bubbleSize>
            <c:numRef>
              <c:f>Sheet1!$C$2:$C$5</c:f>
              <c:numCache>
                <c:formatCode>General</c:formatCode>
                <c:ptCount val="4"/>
                <c:pt idx="0">
                  <c:v>2007386</c:v>
                </c:pt>
                <c:pt idx="1">
                  <c:v>530203</c:v>
                </c:pt>
                <c:pt idx="2">
                  <c:v>279022</c:v>
                </c:pt>
                <c:pt idx="3">
                  <c:v>70054</c:v>
                </c:pt>
              </c:numCache>
            </c:numRef>
          </c:bubbleSize>
          <c:bubble3D val="0"/>
          <c:extLst>
            <c:ext xmlns:c15="http://schemas.microsoft.com/office/drawing/2012/chart" uri="{02D57815-91ED-43cb-92C2-25804820EDAC}">
              <c15:datalabelsRange>
                <c15:f>Sheet1!$E$2:$E$10</c15:f>
                <c15:dlblRangeCache>
                  <c:ptCount val="9"/>
                  <c:pt idx="0">
                    <c:v>Malard</c:v>
                  </c:pt>
                  <c:pt idx="1">
                    <c:v>Vesselle</c:v>
                  </c:pt>
                  <c:pt idx="2">
                    <c:v>Louis Martin</c:v>
                  </c:pt>
                  <c:pt idx="3">
                    <c:v>Nicolas</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3"/>
          <c:min val="24"/>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B-4511-477D-B17C-E6AAB997E227}"/>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1"/>
            <c:bubble3D val="0"/>
            <c:spPr>
              <a:solidFill>
                <a:srgbClr val="AEABAB"/>
              </a:solidFill>
              <a:ln>
                <a:noFill/>
              </a:ln>
              <a:effectLst/>
            </c:spPr>
            <c:extLst>
              <c:ext xmlns:c16="http://schemas.microsoft.com/office/drawing/2014/chart" uri="{C3380CC4-5D6E-409C-BE32-E72D297353CC}">
                <c16:uniqueId val="{0000001D-4511-477D-B17C-E6AAB997E227}"/>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Nicolas</c:v>
                  </c:pt>
                  <c:pt idx="2">
                    <c:v>Total</c:v>
                  </c:pt>
                  <c:pt idx="3">
                    <c:v>Nicolas</c:v>
                  </c:pt>
                  <c:pt idx="4">
                    <c:v>Total</c:v>
                  </c:pt>
                  <c:pt idx="5">
                    <c:v>Nicolas</c:v>
                  </c:pt>
                  <c:pt idx="6">
                    <c:v>Total</c:v>
                  </c:pt>
                  <c:pt idx="7">
                    <c:v>Nicolas</c:v>
                  </c:pt>
                  <c:pt idx="8">
                    <c:v>Total</c:v>
                  </c:pt>
                  <c:pt idx="9">
                    <c:v>Nicolas</c:v>
                  </c:pt>
                </c:lvl>
                <c:lvl>
                  <c:pt idx="0">
                    <c:v>Bruts</c:v>
                  </c:pt>
                  <c:pt idx="2">
                    <c:v>Blanc De Blancs</c:v>
                  </c:pt>
                  <c:pt idx="4">
                    <c:v>Rosés</c:v>
                  </c:pt>
                  <c:pt idx="6">
                    <c:v>Crus</c:v>
                  </c:pt>
                  <c:pt idx="8">
                    <c:v>Millesimes</c:v>
                  </c:pt>
                </c:lvl>
              </c:multiLvlStrCache>
            </c:multiLvlStrRef>
          </c:cat>
          <c:val>
            <c:numRef>
              <c:f>Sheet1!$C$2:$C$11</c:f>
              <c:numCache>
                <c:formatCode>General</c:formatCode>
                <c:ptCount val="10"/>
                <c:pt idx="0">
                  <c:v>42</c:v>
                </c:pt>
                <c:pt idx="1">
                  <c:v>4.5999999999999996</c:v>
                </c:pt>
                <c:pt idx="2">
                  <c:v>8.1</c:v>
                </c:pt>
                <c:pt idx="3">
                  <c:v>0.5</c:v>
                </c:pt>
                <c:pt idx="4">
                  <c:v>4.3</c:v>
                </c:pt>
                <c:pt idx="5">
                  <c:v>0.4</c:v>
                </c:pt>
                <c:pt idx="6">
                  <c:v>2.9</c:v>
                </c:pt>
                <c:pt idx="7">
                  <c:v>0.1</c:v>
                </c:pt>
                <c:pt idx="8">
                  <c:v>2.5</c:v>
                </c:pt>
                <c:pt idx="9">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52.4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4511-477D-B17C-E6AAB997E227}"/>
                </c:ext>
              </c:extLst>
            </c:dLbl>
            <c:dLbl>
              <c:idx val="1"/>
              <c:tx>
                <c:rich>
                  <a:bodyPr/>
                  <a:lstStyle/>
                  <a:p>
                    <a:r>
                      <a:t>29.5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4511-477D-B17C-E6AAB997E227}"/>
                </c:ext>
              </c:extLst>
            </c:dLbl>
            <c:dLbl>
              <c:idx val="2"/>
              <c:tx>
                <c:rich>
                  <a:bodyPr/>
                  <a:lstStyle/>
                  <a:p>
                    <a:r>
                      <a:t>97.5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4511-477D-B17C-E6AAB997E227}"/>
                </c:ext>
              </c:extLst>
            </c:dLbl>
            <c:dLbl>
              <c:idx val="3"/>
              <c:tx>
                <c:rich>
                  <a:bodyPr/>
                  <a:lstStyle/>
                  <a:p>
                    <a:r>
                      <a:t>54.8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4511-477D-B17C-E6AAB997E227}"/>
                </c:ext>
              </c:extLst>
            </c:dLbl>
            <c:dLbl>
              <c:idx val="4"/>
              <c:tx>
                <c:rich>
                  <a:bodyPr/>
                  <a:lstStyle/>
                  <a:p>
                    <a:r>
                      <a:t>75.7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4511-477D-B17C-E6AAB997E227}"/>
                </c:ext>
              </c:extLst>
            </c:dLbl>
            <c:dLbl>
              <c:idx val="5"/>
              <c:tx>
                <c:rich>
                  <a:bodyPr/>
                  <a:lstStyle/>
                  <a:p>
                    <a:r>
                      <a:t>38.1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4511-477D-B17C-E6AAB997E227}"/>
                </c:ext>
              </c:extLst>
            </c:dLbl>
            <c:dLbl>
              <c:idx val="6"/>
              <c:tx>
                <c:rich>
                  <a:bodyPr/>
                  <a:lstStyle/>
                  <a:p>
                    <a:r>
                      <a:t>39.9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4511-477D-B17C-E6AAB997E227}"/>
                </c:ext>
              </c:extLst>
            </c:dLbl>
            <c:dLbl>
              <c:idx val="7"/>
              <c:tx>
                <c:rich>
                  <a:bodyPr/>
                  <a:lstStyle/>
                  <a:p>
                    <a:r>
                      <a:t>43.0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4511-477D-B17C-E6AAB997E227}"/>
                </c:ext>
              </c:extLst>
            </c:dLbl>
            <c:dLbl>
              <c:idx val="8"/>
              <c:tx>
                <c:rich>
                  <a:bodyPr/>
                  <a:lstStyle/>
                  <a:p>
                    <a:r>
                      <a:t>180.0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4511-477D-B17C-E6AAB997E227}"/>
                </c:ext>
              </c:extLst>
            </c:dLbl>
            <c:dLbl>
              <c:idx val="9"/>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4511-477D-B17C-E6AAB997E227}"/>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Nicolas</c:v>
                  </c:pt>
                  <c:pt idx="2">
                    <c:v>Total</c:v>
                  </c:pt>
                  <c:pt idx="3">
                    <c:v>Nicolas</c:v>
                  </c:pt>
                  <c:pt idx="4">
                    <c:v>Total</c:v>
                  </c:pt>
                  <c:pt idx="5">
                    <c:v>Nicolas</c:v>
                  </c:pt>
                  <c:pt idx="6">
                    <c:v>Total</c:v>
                  </c:pt>
                  <c:pt idx="7">
                    <c:v>Nicolas</c:v>
                  </c:pt>
                  <c:pt idx="8">
                    <c:v>Total</c:v>
                  </c:pt>
                  <c:pt idx="9">
                    <c:v>Nicolas</c:v>
                  </c:pt>
                </c:lvl>
                <c:lvl>
                  <c:pt idx="0">
                    <c:v>Bruts</c:v>
                  </c:pt>
                  <c:pt idx="2">
                    <c:v>Blanc De Blancs</c:v>
                  </c:pt>
                  <c:pt idx="4">
                    <c:v>Rosés</c:v>
                  </c:pt>
                  <c:pt idx="6">
                    <c:v>Crus</c:v>
                  </c:pt>
                  <c:pt idx="8">
                    <c:v>Millesimes</c:v>
                  </c:pt>
                </c:lvl>
              </c:multiLvlStrCache>
            </c:multiLvlStrRef>
          </c:cat>
          <c:val>
            <c:numRef>
              <c:f>Sheet1!$D$2:$D$11</c:f>
              <c:numCache>
                <c:formatCode>General</c:formatCode>
                <c:ptCount val="10"/>
                <c:pt idx="0">
                  <c:v>52.466700000000003</c:v>
                </c:pt>
                <c:pt idx="1">
                  <c:v>29.543600000000001</c:v>
                </c:pt>
                <c:pt idx="2">
                  <c:v>97.591700000000003</c:v>
                </c:pt>
                <c:pt idx="3">
                  <c:v>54.874099999999999</c:v>
                </c:pt>
                <c:pt idx="4">
                  <c:v>75.725800000000007</c:v>
                </c:pt>
                <c:pt idx="5">
                  <c:v>38.1937</c:v>
                </c:pt>
                <c:pt idx="6">
                  <c:v>39.992199999999997</c:v>
                </c:pt>
                <c:pt idx="7">
                  <c:v>43.083599999999997</c:v>
                </c:pt>
                <c:pt idx="8">
                  <c:v>180.0427</c:v>
                </c:pt>
                <c:pt idx="9">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B-7233-45EC-90CF-D7B199833142}"/>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1"/>
            <c:bubble3D val="0"/>
            <c:spPr>
              <a:solidFill>
                <a:srgbClr val="AEABAB"/>
              </a:solidFill>
              <a:ln>
                <a:noFill/>
              </a:ln>
              <a:effectLst/>
            </c:spPr>
            <c:extLst>
              <c:ext xmlns:c16="http://schemas.microsoft.com/office/drawing/2014/chart" uri="{C3380CC4-5D6E-409C-BE32-E72D297353CC}">
                <c16:uniqueId val="{0000001D-7233-45EC-90CF-D7B199833142}"/>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Nicolas</c:v>
                  </c:pt>
                  <c:pt idx="2">
                    <c:v>Total</c:v>
                  </c:pt>
                  <c:pt idx="3">
                    <c:v>Nicolas</c:v>
                  </c:pt>
                  <c:pt idx="4">
                    <c:v>Total</c:v>
                  </c:pt>
                  <c:pt idx="5">
                    <c:v>Nicolas</c:v>
                  </c:pt>
                  <c:pt idx="6">
                    <c:v>Total</c:v>
                  </c:pt>
                  <c:pt idx="7">
                    <c:v>Nicolas</c:v>
                  </c:pt>
                  <c:pt idx="8">
                    <c:v>Total</c:v>
                  </c:pt>
                  <c:pt idx="9">
                    <c:v>Nicolas</c:v>
                  </c:pt>
                </c:lvl>
                <c:lvl>
                  <c:pt idx="0">
                    <c:v>Bruts</c:v>
                  </c:pt>
                  <c:pt idx="2">
                    <c:v>Blanc De Blancs</c:v>
                  </c:pt>
                  <c:pt idx="4">
                    <c:v>Rosés</c:v>
                  </c:pt>
                  <c:pt idx="6">
                    <c:v>Crus</c:v>
                  </c:pt>
                  <c:pt idx="8">
                    <c:v>Extra Brut</c:v>
                  </c:pt>
                </c:lvl>
              </c:multiLvlStrCache>
            </c:multiLvlStrRef>
          </c:cat>
          <c:val>
            <c:numRef>
              <c:f>Sheet1!$C$2:$C$11</c:f>
              <c:numCache>
                <c:formatCode>General</c:formatCode>
                <c:ptCount val="10"/>
                <c:pt idx="0">
                  <c:v>18.8</c:v>
                </c:pt>
                <c:pt idx="1">
                  <c:v>2.1</c:v>
                </c:pt>
                <c:pt idx="2">
                  <c:v>2.8</c:v>
                </c:pt>
                <c:pt idx="3">
                  <c:v>0.2</c:v>
                </c:pt>
                <c:pt idx="4">
                  <c:v>1.8</c:v>
                </c:pt>
                <c:pt idx="5">
                  <c:v>0.2</c:v>
                </c:pt>
                <c:pt idx="6">
                  <c:v>1.4</c:v>
                </c:pt>
                <c:pt idx="7">
                  <c:v>0</c:v>
                </c:pt>
                <c:pt idx="8">
                  <c:v>1.1000000000000001</c:v>
                </c:pt>
                <c:pt idx="9">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52.0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7233-45EC-90CF-D7B199833142}"/>
                </c:ext>
              </c:extLst>
            </c:dLbl>
            <c:dLbl>
              <c:idx val="1"/>
              <c:tx>
                <c:rich>
                  <a:bodyPr/>
                  <a:lstStyle/>
                  <a:p>
                    <a:r>
                      <a:t>29.6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7233-45EC-90CF-D7B199833142}"/>
                </c:ext>
              </c:extLst>
            </c:dLbl>
            <c:dLbl>
              <c:idx val="2"/>
              <c:tx>
                <c:rich>
                  <a:bodyPr/>
                  <a:lstStyle/>
                  <a:p>
                    <a:r>
                      <a:t>93.4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7233-45EC-90CF-D7B199833142}"/>
                </c:ext>
              </c:extLst>
            </c:dLbl>
            <c:dLbl>
              <c:idx val="3"/>
              <c:tx>
                <c:rich>
                  <a:bodyPr/>
                  <a:lstStyle/>
                  <a:p>
                    <a:r>
                      <a:t>54.4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7233-45EC-90CF-D7B199833142}"/>
                </c:ext>
              </c:extLst>
            </c:dLbl>
            <c:dLbl>
              <c:idx val="4"/>
              <c:tx>
                <c:rich>
                  <a:bodyPr/>
                  <a:lstStyle/>
                  <a:p>
                    <a:r>
                      <a:t>74.9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7233-45EC-90CF-D7B199833142}"/>
                </c:ext>
              </c:extLst>
            </c:dLbl>
            <c:dLbl>
              <c:idx val="5"/>
              <c:tx>
                <c:rich>
                  <a:bodyPr/>
                  <a:lstStyle/>
                  <a:p>
                    <a:r>
                      <a:t>38.4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7233-45EC-90CF-D7B199833142}"/>
                </c:ext>
              </c:extLst>
            </c:dLbl>
            <c:dLbl>
              <c:idx val="6"/>
              <c:tx>
                <c:rich>
                  <a:bodyPr/>
                  <a:lstStyle/>
                  <a:p>
                    <a:r>
                      <a:t>40.0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7233-45EC-90CF-D7B199833142}"/>
                </c:ext>
              </c:extLst>
            </c:dLbl>
            <c:dLbl>
              <c:idx val="7"/>
              <c:tx>
                <c:rich>
                  <a:bodyPr/>
                  <a:lstStyle/>
                  <a:p>
                    <a:r>
                      <a:t>43.5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7233-45EC-90CF-D7B199833142}"/>
                </c:ext>
              </c:extLst>
            </c:dLbl>
            <c:dLbl>
              <c:idx val="8"/>
              <c:tx>
                <c:rich>
                  <a:bodyPr/>
                  <a:lstStyle/>
                  <a:p>
                    <a:r>
                      <a:t>44.2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7233-45EC-90CF-D7B199833142}"/>
                </c:ext>
              </c:extLst>
            </c:dLbl>
            <c:dLbl>
              <c:idx val="9"/>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7233-45EC-90CF-D7B199833142}"/>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Nicolas</c:v>
                  </c:pt>
                  <c:pt idx="2">
                    <c:v>Total</c:v>
                  </c:pt>
                  <c:pt idx="3">
                    <c:v>Nicolas</c:v>
                  </c:pt>
                  <c:pt idx="4">
                    <c:v>Total</c:v>
                  </c:pt>
                  <c:pt idx="5">
                    <c:v>Nicolas</c:v>
                  </c:pt>
                  <c:pt idx="6">
                    <c:v>Total</c:v>
                  </c:pt>
                  <c:pt idx="7">
                    <c:v>Nicolas</c:v>
                  </c:pt>
                  <c:pt idx="8">
                    <c:v>Total</c:v>
                  </c:pt>
                  <c:pt idx="9">
                    <c:v>Nicolas</c:v>
                  </c:pt>
                </c:lvl>
                <c:lvl>
                  <c:pt idx="0">
                    <c:v>Bruts</c:v>
                  </c:pt>
                  <c:pt idx="2">
                    <c:v>Blanc De Blancs</c:v>
                  </c:pt>
                  <c:pt idx="4">
                    <c:v>Rosés</c:v>
                  </c:pt>
                  <c:pt idx="6">
                    <c:v>Crus</c:v>
                  </c:pt>
                  <c:pt idx="8">
                    <c:v>Extra Brut</c:v>
                  </c:pt>
                </c:lvl>
              </c:multiLvlStrCache>
            </c:multiLvlStrRef>
          </c:cat>
          <c:val>
            <c:numRef>
              <c:f>Sheet1!$D$2:$D$11</c:f>
              <c:numCache>
                <c:formatCode>General</c:formatCode>
                <c:ptCount val="10"/>
                <c:pt idx="0">
                  <c:v>52.0747</c:v>
                </c:pt>
                <c:pt idx="1">
                  <c:v>29.639299999999999</c:v>
                </c:pt>
                <c:pt idx="2">
                  <c:v>93.406300000000002</c:v>
                </c:pt>
                <c:pt idx="3">
                  <c:v>54.441699999999997</c:v>
                </c:pt>
                <c:pt idx="4">
                  <c:v>74.968500000000006</c:v>
                </c:pt>
                <c:pt idx="5">
                  <c:v>38.447499999999998</c:v>
                </c:pt>
                <c:pt idx="6">
                  <c:v>40.025500000000001</c:v>
                </c:pt>
                <c:pt idx="7">
                  <c:v>43.528599999999997</c:v>
                </c:pt>
                <c:pt idx="8">
                  <c:v>44.255899999999997</c:v>
                </c:pt>
                <c:pt idx="9">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B-22C6-477C-9BAD-F701CF7CDC24}"/>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1"/>
            <c:bubble3D val="0"/>
            <c:spPr>
              <a:solidFill>
                <a:srgbClr val="AEABAB"/>
              </a:solidFill>
              <a:ln>
                <a:noFill/>
              </a:ln>
              <a:effectLst/>
            </c:spPr>
            <c:extLst>
              <c:ext xmlns:c16="http://schemas.microsoft.com/office/drawing/2014/chart" uri="{C3380CC4-5D6E-409C-BE32-E72D297353CC}">
                <c16:uniqueId val="{0000001D-22C6-477C-9BAD-F701CF7CDC24}"/>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Nicolas</c:v>
                  </c:pt>
                  <c:pt idx="2">
                    <c:v>Total</c:v>
                  </c:pt>
                  <c:pt idx="3">
                    <c:v>Nicolas</c:v>
                  </c:pt>
                  <c:pt idx="4">
                    <c:v>Total</c:v>
                  </c:pt>
                  <c:pt idx="5">
                    <c:v>Nicolas</c:v>
                  </c:pt>
                  <c:pt idx="6">
                    <c:v>Total</c:v>
                  </c:pt>
                  <c:pt idx="7">
                    <c:v>Nicolas</c:v>
                  </c:pt>
                  <c:pt idx="8">
                    <c:v>Total</c:v>
                  </c:pt>
                  <c:pt idx="9">
                    <c:v>Nicolas</c:v>
                  </c:pt>
                </c:lvl>
                <c:lvl>
                  <c:pt idx="0">
                    <c:v>Bruts</c:v>
                  </c:pt>
                  <c:pt idx="2">
                    <c:v>Blanc De Blancs</c:v>
                  </c:pt>
                  <c:pt idx="4">
                    <c:v>Rosés</c:v>
                  </c:pt>
                  <c:pt idx="6">
                    <c:v>Crus</c:v>
                  </c:pt>
                  <c:pt idx="8">
                    <c:v>Millesimes</c:v>
                  </c:pt>
                </c:lvl>
              </c:multiLvlStrCache>
            </c:multiLvlStrRef>
          </c:cat>
          <c:val>
            <c:numRef>
              <c:f>Sheet1!$C$2:$C$11</c:f>
              <c:numCache>
                <c:formatCode>General</c:formatCode>
                <c:ptCount val="10"/>
                <c:pt idx="0">
                  <c:v>8</c:v>
                </c:pt>
                <c:pt idx="1">
                  <c:v>1</c:v>
                </c:pt>
                <c:pt idx="2">
                  <c:v>1.8</c:v>
                </c:pt>
                <c:pt idx="3">
                  <c:v>0.1</c:v>
                </c:pt>
                <c:pt idx="4">
                  <c:v>0.8</c:v>
                </c:pt>
                <c:pt idx="5">
                  <c:v>0.1</c:v>
                </c:pt>
                <c:pt idx="6">
                  <c:v>0.6</c:v>
                </c:pt>
                <c:pt idx="7">
                  <c:v>0</c:v>
                </c:pt>
                <c:pt idx="8">
                  <c:v>0.4</c:v>
                </c:pt>
                <c:pt idx="9">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50.8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22C6-477C-9BAD-F701CF7CDC24}"/>
                </c:ext>
              </c:extLst>
            </c:dLbl>
            <c:dLbl>
              <c:idx val="1"/>
              <c:tx>
                <c:rich>
                  <a:bodyPr/>
                  <a:lstStyle/>
                  <a:p>
                    <a:r>
                      <a:t>29.4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22C6-477C-9BAD-F701CF7CDC24}"/>
                </c:ext>
              </c:extLst>
            </c:dLbl>
            <c:dLbl>
              <c:idx val="2"/>
              <c:tx>
                <c:rich>
                  <a:bodyPr/>
                  <a:lstStyle/>
                  <a:p>
                    <a:r>
                      <a:t>89.9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22C6-477C-9BAD-F701CF7CDC24}"/>
                </c:ext>
              </c:extLst>
            </c:dLbl>
            <c:dLbl>
              <c:idx val="3"/>
              <c:tx>
                <c:rich>
                  <a:bodyPr/>
                  <a:lstStyle/>
                  <a:p>
                    <a:r>
                      <a:t>54.3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22C6-477C-9BAD-F701CF7CDC24}"/>
                </c:ext>
              </c:extLst>
            </c:dLbl>
            <c:dLbl>
              <c:idx val="4"/>
              <c:tx>
                <c:rich>
                  <a:bodyPr/>
                  <a:lstStyle/>
                  <a:p>
                    <a:r>
                      <a:t>69.4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22C6-477C-9BAD-F701CF7CDC24}"/>
                </c:ext>
              </c:extLst>
            </c:dLbl>
            <c:dLbl>
              <c:idx val="5"/>
              <c:tx>
                <c:rich>
                  <a:bodyPr/>
                  <a:lstStyle/>
                  <a:p>
                    <a:r>
                      <a:t>37.5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22C6-477C-9BAD-F701CF7CDC24}"/>
                </c:ext>
              </c:extLst>
            </c:dLbl>
            <c:dLbl>
              <c:idx val="6"/>
              <c:tx>
                <c:rich>
                  <a:bodyPr/>
                  <a:lstStyle/>
                  <a:p>
                    <a:r>
                      <a:t>39.7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22C6-477C-9BAD-F701CF7CDC24}"/>
                </c:ext>
              </c:extLst>
            </c:dLbl>
            <c:dLbl>
              <c:idx val="7"/>
              <c:tx>
                <c:rich>
                  <a:bodyPr/>
                  <a:lstStyle/>
                  <a:p>
                    <a:r>
                      <a:t>42.7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22C6-477C-9BAD-F701CF7CDC24}"/>
                </c:ext>
              </c:extLst>
            </c:dLbl>
            <c:dLbl>
              <c:idx val="8"/>
              <c:tx>
                <c:rich>
                  <a:bodyPr/>
                  <a:lstStyle/>
                  <a:p>
                    <a:r>
                      <a:t>165.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22C6-477C-9BAD-F701CF7CDC24}"/>
                </c:ext>
              </c:extLst>
            </c:dLbl>
            <c:dLbl>
              <c:idx val="9"/>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22C6-477C-9BAD-F701CF7CDC24}"/>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Nicolas</c:v>
                  </c:pt>
                  <c:pt idx="2">
                    <c:v>Total</c:v>
                  </c:pt>
                  <c:pt idx="3">
                    <c:v>Nicolas</c:v>
                  </c:pt>
                  <c:pt idx="4">
                    <c:v>Total</c:v>
                  </c:pt>
                  <c:pt idx="5">
                    <c:v>Nicolas</c:v>
                  </c:pt>
                  <c:pt idx="6">
                    <c:v>Total</c:v>
                  </c:pt>
                  <c:pt idx="7">
                    <c:v>Nicolas</c:v>
                  </c:pt>
                  <c:pt idx="8">
                    <c:v>Total</c:v>
                  </c:pt>
                  <c:pt idx="9">
                    <c:v>Nicolas</c:v>
                  </c:pt>
                </c:lvl>
                <c:lvl>
                  <c:pt idx="0">
                    <c:v>Bruts</c:v>
                  </c:pt>
                  <c:pt idx="2">
                    <c:v>Blanc De Blancs</c:v>
                  </c:pt>
                  <c:pt idx="4">
                    <c:v>Rosés</c:v>
                  </c:pt>
                  <c:pt idx="6">
                    <c:v>Crus</c:v>
                  </c:pt>
                  <c:pt idx="8">
                    <c:v>Millesimes</c:v>
                  </c:pt>
                </c:lvl>
              </c:multiLvlStrCache>
            </c:multiLvlStrRef>
          </c:cat>
          <c:val>
            <c:numRef>
              <c:f>Sheet1!$D$2:$D$11</c:f>
              <c:numCache>
                <c:formatCode>General</c:formatCode>
                <c:ptCount val="10"/>
                <c:pt idx="0">
                  <c:v>50.809600000000003</c:v>
                </c:pt>
                <c:pt idx="1">
                  <c:v>29.407</c:v>
                </c:pt>
                <c:pt idx="2">
                  <c:v>89.915599999999998</c:v>
                </c:pt>
                <c:pt idx="3">
                  <c:v>54.375500000000002</c:v>
                </c:pt>
                <c:pt idx="4">
                  <c:v>69.418400000000005</c:v>
                </c:pt>
                <c:pt idx="5">
                  <c:v>37.555500000000002</c:v>
                </c:pt>
                <c:pt idx="6">
                  <c:v>39.741700000000002</c:v>
                </c:pt>
                <c:pt idx="7">
                  <c:v>42.764400000000002</c:v>
                </c:pt>
                <c:pt idx="8">
                  <c:v>165.1045</c:v>
                </c:pt>
                <c:pt idx="9">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B-F2ED-40B1-B122-6D2B0F520549}"/>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1"/>
            <c:bubble3D val="0"/>
            <c:spPr>
              <a:solidFill>
                <a:srgbClr val="AEABAB"/>
              </a:solidFill>
              <a:ln>
                <a:noFill/>
              </a:ln>
              <a:effectLst/>
            </c:spPr>
            <c:extLst>
              <c:ext xmlns:c16="http://schemas.microsoft.com/office/drawing/2014/chart" uri="{C3380CC4-5D6E-409C-BE32-E72D297353CC}">
                <c16:uniqueId val="{0000001D-F2ED-40B1-B122-6D2B0F520549}"/>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Nicolas</c:v>
                  </c:pt>
                  <c:pt idx="2">
                    <c:v>Total</c:v>
                  </c:pt>
                  <c:pt idx="3">
                    <c:v>Nicolas</c:v>
                  </c:pt>
                  <c:pt idx="4">
                    <c:v>Total</c:v>
                  </c:pt>
                  <c:pt idx="5">
                    <c:v>Nicolas</c:v>
                  </c:pt>
                  <c:pt idx="6">
                    <c:v>Total</c:v>
                  </c:pt>
                  <c:pt idx="7">
                    <c:v>Nicolas</c:v>
                  </c:pt>
                  <c:pt idx="8">
                    <c:v>Total</c:v>
                  </c:pt>
                  <c:pt idx="9">
                    <c:v>Nicolas</c:v>
                  </c:pt>
                </c:lvl>
                <c:lvl>
                  <c:pt idx="0">
                    <c:v>Bruts</c:v>
                  </c:pt>
                  <c:pt idx="2">
                    <c:v>Blanc De Blancs</c:v>
                  </c:pt>
                  <c:pt idx="4">
                    <c:v>Rosés</c:v>
                  </c:pt>
                  <c:pt idx="6">
                    <c:v>Millesimes</c:v>
                  </c:pt>
                  <c:pt idx="8">
                    <c:v>Crus</c:v>
                  </c:pt>
                </c:lvl>
              </c:multiLvlStrCache>
            </c:multiLvlStrRef>
          </c:cat>
          <c:val>
            <c:numRef>
              <c:f>Sheet1!$C$2:$C$11</c:f>
              <c:numCache>
                <c:formatCode>General</c:formatCode>
                <c:ptCount val="10"/>
                <c:pt idx="0">
                  <c:v>5</c:v>
                </c:pt>
                <c:pt idx="1">
                  <c:v>0.5</c:v>
                </c:pt>
                <c:pt idx="2">
                  <c:v>1</c:v>
                </c:pt>
                <c:pt idx="3">
                  <c:v>0</c:v>
                </c:pt>
                <c:pt idx="4">
                  <c:v>0.5</c:v>
                </c:pt>
                <c:pt idx="5">
                  <c:v>0</c:v>
                </c:pt>
                <c:pt idx="6">
                  <c:v>0.4</c:v>
                </c:pt>
                <c:pt idx="7">
                  <c:v>0</c:v>
                </c:pt>
                <c:pt idx="8">
                  <c:v>0.4</c:v>
                </c:pt>
                <c:pt idx="9">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54.1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F2ED-40B1-B122-6D2B0F520549}"/>
                </c:ext>
              </c:extLst>
            </c:dLbl>
            <c:dLbl>
              <c:idx val="1"/>
              <c:tx>
                <c:rich>
                  <a:bodyPr/>
                  <a:lstStyle/>
                  <a:p>
                    <a:r>
                      <a:t>29.7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F2ED-40B1-B122-6D2B0F520549}"/>
                </c:ext>
              </c:extLst>
            </c:dLbl>
            <c:dLbl>
              <c:idx val="2"/>
              <c:tx>
                <c:rich>
                  <a:bodyPr/>
                  <a:lstStyle/>
                  <a:p>
                    <a:r>
                      <a:t>105.4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F2ED-40B1-B122-6D2B0F520549}"/>
                </c:ext>
              </c:extLst>
            </c:dLbl>
            <c:dLbl>
              <c:idx val="3"/>
              <c:tx>
                <c:rich>
                  <a:bodyPr/>
                  <a:lstStyle/>
                  <a:p>
                    <a:r>
                      <a:t>55.9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F2ED-40B1-B122-6D2B0F520549}"/>
                </c:ext>
              </c:extLst>
            </c:dLbl>
            <c:dLbl>
              <c:idx val="4"/>
              <c:tx>
                <c:rich>
                  <a:bodyPr/>
                  <a:lstStyle/>
                  <a:p>
                    <a:r>
                      <a:t>77.8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F2ED-40B1-B122-6D2B0F520549}"/>
                </c:ext>
              </c:extLst>
            </c:dLbl>
            <c:dLbl>
              <c:idx val="5"/>
              <c:tx>
                <c:rich>
                  <a:bodyPr/>
                  <a:lstStyle/>
                  <a:p>
                    <a:r>
                      <a:t>39.3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F2ED-40B1-B122-6D2B0F520549}"/>
                </c:ext>
              </c:extLst>
            </c:dLbl>
            <c:dLbl>
              <c:idx val="6"/>
              <c:tx>
                <c:rich>
                  <a:bodyPr/>
                  <a:lstStyle/>
                  <a:p>
                    <a:r>
                      <a:t>199.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F2ED-40B1-B122-6D2B0F520549}"/>
                </c:ext>
              </c:extLst>
            </c:dLbl>
            <c:dLbl>
              <c:idx val="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F2ED-40B1-B122-6D2B0F520549}"/>
                </c:ext>
              </c:extLst>
            </c:dLbl>
            <c:dLbl>
              <c:idx val="8"/>
              <c:tx>
                <c:rich>
                  <a:bodyPr/>
                  <a:lstStyle/>
                  <a:p>
                    <a:r>
                      <a:t>40.2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F2ED-40B1-B122-6D2B0F520549}"/>
                </c:ext>
              </c:extLst>
            </c:dLbl>
            <c:dLbl>
              <c:idx val="9"/>
              <c:tx>
                <c:rich>
                  <a:bodyPr/>
                  <a:lstStyle/>
                  <a:p>
                    <a:r>
                      <a:t>43.1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F2ED-40B1-B122-6D2B0F520549}"/>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Nicolas</c:v>
                  </c:pt>
                  <c:pt idx="2">
                    <c:v>Total</c:v>
                  </c:pt>
                  <c:pt idx="3">
                    <c:v>Nicolas</c:v>
                  </c:pt>
                  <c:pt idx="4">
                    <c:v>Total</c:v>
                  </c:pt>
                  <c:pt idx="5">
                    <c:v>Nicolas</c:v>
                  </c:pt>
                  <c:pt idx="6">
                    <c:v>Total</c:v>
                  </c:pt>
                  <c:pt idx="7">
                    <c:v>Nicolas</c:v>
                  </c:pt>
                  <c:pt idx="8">
                    <c:v>Total</c:v>
                  </c:pt>
                  <c:pt idx="9">
                    <c:v>Nicolas</c:v>
                  </c:pt>
                </c:lvl>
                <c:lvl>
                  <c:pt idx="0">
                    <c:v>Bruts</c:v>
                  </c:pt>
                  <c:pt idx="2">
                    <c:v>Blanc De Blancs</c:v>
                  </c:pt>
                  <c:pt idx="4">
                    <c:v>Rosés</c:v>
                  </c:pt>
                  <c:pt idx="6">
                    <c:v>Millesimes</c:v>
                  </c:pt>
                  <c:pt idx="8">
                    <c:v>Crus</c:v>
                  </c:pt>
                </c:lvl>
              </c:multiLvlStrCache>
            </c:multiLvlStrRef>
          </c:cat>
          <c:val>
            <c:numRef>
              <c:f>Sheet1!$D$2:$D$11</c:f>
              <c:numCache>
                <c:formatCode>General</c:formatCode>
                <c:ptCount val="10"/>
                <c:pt idx="0">
                  <c:v>54.107599999999998</c:v>
                </c:pt>
                <c:pt idx="1">
                  <c:v>29.730899999999998</c:v>
                </c:pt>
                <c:pt idx="2">
                  <c:v>105.47490000000001</c:v>
                </c:pt>
                <c:pt idx="3">
                  <c:v>55.932699999999997</c:v>
                </c:pt>
                <c:pt idx="4">
                  <c:v>77.8583</c:v>
                </c:pt>
                <c:pt idx="5">
                  <c:v>39.375799999999998</c:v>
                </c:pt>
                <c:pt idx="6">
                  <c:v>199.89930000000001</c:v>
                </c:pt>
                <c:pt idx="7">
                  <c:v>0</c:v>
                </c:pt>
                <c:pt idx="8">
                  <c:v>40.273899999999998</c:v>
                </c:pt>
                <c:pt idx="9">
                  <c:v>43.153799999999997</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B-4133-4FD4-A26C-49D5EF1715CB}"/>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1"/>
            <c:bubble3D val="0"/>
            <c:spPr>
              <a:solidFill>
                <a:srgbClr val="AEABAB"/>
              </a:solidFill>
              <a:ln>
                <a:noFill/>
              </a:ln>
              <a:effectLst/>
            </c:spPr>
            <c:extLst>
              <c:ext xmlns:c16="http://schemas.microsoft.com/office/drawing/2014/chart" uri="{C3380CC4-5D6E-409C-BE32-E72D297353CC}">
                <c16:uniqueId val="{0000001D-4133-4FD4-A26C-49D5EF1715CB}"/>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Nicolas</c:v>
                  </c:pt>
                  <c:pt idx="2">
                    <c:v>Total</c:v>
                  </c:pt>
                  <c:pt idx="3">
                    <c:v>Nicolas</c:v>
                  </c:pt>
                  <c:pt idx="4">
                    <c:v>Total</c:v>
                  </c:pt>
                  <c:pt idx="5">
                    <c:v>Nicolas</c:v>
                  </c:pt>
                  <c:pt idx="6">
                    <c:v>Total</c:v>
                  </c:pt>
                  <c:pt idx="7">
                    <c:v>Nicolas</c:v>
                  </c:pt>
                  <c:pt idx="8">
                    <c:v>Total</c:v>
                  </c:pt>
                  <c:pt idx="9">
                    <c:v>Nicolas</c:v>
                  </c:pt>
                </c:lvl>
                <c:lvl>
                  <c:pt idx="0">
                    <c:v>Bruts</c:v>
                  </c:pt>
                  <c:pt idx="2">
                    <c:v>Blanc De Blancs</c:v>
                  </c:pt>
                  <c:pt idx="4">
                    <c:v>Rosés</c:v>
                  </c:pt>
                  <c:pt idx="6">
                    <c:v>Millesimes</c:v>
                  </c:pt>
                  <c:pt idx="8">
                    <c:v>Extra Brut</c:v>
                  </c:pt>
                </c:lvl>
              </c:multiLvlStrCache>
            </c:multiLvlStrRef>
          </c:cat>
          <c:val>
            <c:numRef>
              <c:f>Sheet1!$C$2:$C$11</c:f>
              <c:numCache>
                <c:formatCode>General</c:formatCode>
                <c:ptCount val="10"/>
                <c:pt idx="0">
                  <c:v>3.3</c:v>
                </c:pt>
                <c:pt idx="1">
                  <c:v>0.3</c:v>
                </c:pt>
                <c:pt idx="2">
                  <c:v>1</c:v>
                </c:pt>
                <c:pt idx="3">
                  <c:v>0</c:v>
                </c:pt>
                <c:pt idx="4">
                  <c:v>0.4</c:v>
                </c:pt>
                <c:pt idx="5">
                  <c:v>0</c:v>
                </c:pt>
                <c:pt idx="6">
                  <c:v>0.3</c:v>
                </c:pt>
                <c:pt idx="7">
                  <c:v>0</c:v>
                </c:pt>
                <c:pt idx="8">
                  <c:v>0.2</c:v>
                </c:pt>
                <c:pt idx="9">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55.9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4133-4FD4-A26C-49D5EF1715CB}"/>
                </c:ext>
              </c:extLst>
            </c:dLbl>
            <c:dLbl>
              <c:idx val="1"/>
              <c:tx>
                <c:rich>
                  <a:bodyPr/>
                  <a:lstStyle/>
                  <a:p>
                    <a:r>
                      <a:t>29.5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4133-4FD4-A26C-49D5EF1715CB}"/>
                </c:ext>
              </c:extLst>
            </c:dLbl>
            <c:dLbl>
              <c:idx val="2"/>
              <c:tx>
                <c:rich>
                  <a:bodyPr/>
                  <a:lstStyle/>
                  <a:p>
                    <a:r>
                      <a:t>111.7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4133-4FD4-A26C-49D5EF1715CB}"/>
                </c:ext>
              </c:extLst>
            </c:dLbl>
            <c:dLbl>
              <c:idx val="3"/>
              <c:tx>
                <c:rich>
                  <a:bodyPr/>
                  <a:lstStyle/>
                  <a:p>
                    <a:r>
                      <a:t>55.5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4133-4FD4-A26C-49D5EF1715CB}"/>
                </c:ext>
              </c:extLst>
            </c:dLbl>
            <c:dLbl>
              <c:idx val="4"/>
              <c:tx>
                <c:rich>
                  <a:bodyPr/>
                  <a:lstStyle/>
                  <a:p>
                    <a:r>
                      <a:t>93.7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4133-4FD4-A26C-49D5EF1715CB}"/>
                </c:ext>
              </c:extLst>
            </c:dLbl>
            <c:dLbl>
              <c:idx val="5"/>
              <c:tx>
                <c:rich>
                  <a:bodyPr/>
                  <a:lstStyle/>
                  <a:p>
                    <a:r>
                      <a:t>38.3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4133-4FD4-A26C-49D5EF1715CB}"/>
                </c:ext>
              </c:extLst>
            </c:dLbl>
            <c:dLbl>
              <c:idx val="6"/>
              <c:tx>
                <c:rich>
                  <a:bodyPr/>
                  <a:lstStyle/>
                  <a:p>
                    <a:r>
                      <a:t>215.5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4133-4FD4-A26C-49D5EF1715CB}"/>
                </c:ext>
              </c:extLst>
            </c:dLbl>
            <c:dLbl>
              <c:idx val="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4133-4FD4-A26C-49D5EF1715CB}"/>
                </c:ext>
              </c:extLst>
            </c:dLbl>
            <c:dLbl>
              <c:idx val="8"/>
              <c:tx>
                <c:rich>
                  <a:bodyPr/>
                  <a:lstStyle/>
                  <a:p>
                    <a:r>
                      <a:t>45.1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4133-4FD4-A26C-49D5EF1715CB}"/>
                </c:ext>
              </c:extLst>
            </c:dLbl>
            <c:dLbl>
              <c:idx val="9"/>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4133-4FD4-A26C-49D5EF1715CB}"/>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Nicolas</c:v>
                  </c:pt>
                  <c:pt idx="2">
                    <c:v>Total</c:v>
                  </c:pt>
                  <c:pt idx="3">
                    <c:v>Nicolas</c:v>
                  </c:pt>
                  <c:pt idx="4">
                    <c:v>Total</c:v>
                  </c:pt>
                  <c:pt idx="5">
                    <c:v>Nicolas</c:v>
                  </c:pt>
                  <c:pt idx="6">
                    <c:v>Total</c:v>
                  </c:pt>
                  <c:pt idx="7">
                    <c:v>Nicolas</c:v>
                  </c:pt>
                  <c:pt idx="8">
                    <c:v>Total</c:v>
                  </c:pt>
                  <c:pt idx="9">
                    <c:v>Nicolas</c:v>
                  </c:pt>
                </c:lvl>
                <c:lvl>
                  <c:pt idx="0">
                    <c:v>Bruts</c:v>
                  </c:pt>
                  <c:pt idx="2">
                    <c:v>Blanc De Blancs</c:v>
                  </c:pt>
                  <c:pt idx="4">
                    <c:v>Rosés</c:v>
                  </c:pt>
                  <c:pt idx="6">
                    <c:v>Millesimes</c:v>
                  </c:pt>
                  <c:pt idx="8">
                    <c:v>Extra Brut</c:v>
                  </c:pt>
                </c:lvl>
              </c:multiLvlStrCache>
            </c:multiLvlStrRef>
          </c:cat>
          <c:val>
            <c:numRef>
              <c:f>Sheet1!$D$2:$D$11</c:f>
              <c:numCache>
                <c:formatCode>General</c:formatCode>
                <c:ptCount val="10"/>
                <c:pt idx="0">
                  <c:v>55.952300000000001</c:v>
                </c:pt>
                <c:pt idx="1">
                  <c:v>29.520299999999999</c:v>
                </c:pt>
                <c:pt idx="2">
                  <c:v>111.7274</c:v>
                </c:pt>
                <c:pt idx="3">
                  <c:v>55.527999999999999</c:v>
                </c:pt>
                <c:pt idx="4">
                  <c:v>93.713300000000004</c:v>
                </c:pt>
                <c:pt idx="5">
                  <c:v>38.324199999999998</c:v>
                </c:pt>
                <c:pt idx="6">
                  <c:v>215.56800000000001</c:v>
                </c:pt>
                <c:pt idx="7">
                  <c:v>0</c:v>
                </c:pt>
                <c:pt idx="8">
                  <c:v>45.168300000000002</c:v>
                </c:pt>
                <c:pt idx="9">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B-296E-4116-8EE9-0F9CF6C2E6A0}"/>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1"/>
            <c:bubble3D val="0"/>
            <c:spPr>
              <a:solidFill>
                <a:srgbClr val="AEABAB"/>
              </a:solidFill>
              <a:ln>
                <a:noFill/>
              </a:ln>
              <a:effectLst/>
            </c:spPr>
            <c:extLst>
              <c:ext xmlns:c16="http://schemas.microsoft.com/office/drawing/2014/chart" uri="{C3380CC4-5D6E-409C-BE32-E72D297353CC}">
                <c16:uniqueId val="{0000001D-296E-4116-8EE9-0F9CF6C2E6A0}"/>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Nicolas</c:v>
                  </c:pt>
                  <c:pt idx="2">
                    <c:v>Total</c:v>
                  </c:pt>
                  <c:pt idx="3">
                    <c:v>Nicolas</c:v>
                  </c:pt>
                  <c:pt idx="4">
                    <c:v>Total</c:v>
                  </c:pt>
                  <c:pt idx="5">
                    <c:v>Nicolas</c:v>
                  </c:pt>
                  <c:pt idx="6">
                    <c:v>Total</c:v>
                  </c:pt>
                  <c:pt idx="7">
                    <c:v>Nicolas</c:v>
                  </c:pt>
                  <c:pt idx="8">
                    <c:v>Total</c:v>
                  </c:pt>
                  <c:pt idx="9">
                    <c:v>Nicolas</c:v>
                  </c:pt>
                </c:lvl>
                <c:lvl>
                  <c:pt idx="0">
                    <c:v>Bruts</c:v>
                  </c:pt>
                  <c:pt idx="2">
                    <c:v>Blanc De Blancs</c:v>
                  </c:pt>
                  <c:pt idx="4">
                    <c:v>Rosés</c:v>
                  </c:pt>
                  <c:pt idx="6">
                    <c:v>Millesimes</c:v>
                  </c:pt>
                  <c:pt idx="8">
                    <c:v>Extra Brut</c:v>
                  </c:pt>
                </c:lvl>
              </c:multiLvlStrCache>
            </c:multiLvlStrRef>
          </c:cat>
          <c:val>
            <c:numRef>
              <c:f>Sheet1!$C$2:$C$11</c:f>
              <c:numCache>
                <c:formatCode>General</c:formatCode>
                <c:ptCount val="10"/>
                <c:pt idx="0">
                  <c:v>2</c:v>
                </c:pt>
                <c:pt idx="1">
                  <c:v>0.2</c:v>
                </c:pt>
                <c:pt idx="2">
                  <c:v>0.6</c:v>
                </c:pt>
                <c:pt idx="3">
                  <c:v>0</c:v>
                </c:pt>
                <c:pt idx="4">
                  <c:v>0.2</c:v>
                </c:pt>
                <c:pt idx="5">
                  <c:v>0</c:v>
                </c:pt>
                <c:pt idx="6">
                  <c:v>0.2</c:v>
                </c:pt>
                <c:pt idx="7">
                  <c:v>0</c:v>
                </c:pt>
                <c:pt idx="8">
                  <c:v>0.1</c:v>
                </c:pt>
                <c:pt idx="9">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54.5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296E-4116-8EE9-0F9CF6C2E6A0}"/>
                </c:ext>
              </c:extLst>
            </c:dLbl>
            <c:dLbl>
              <c:idx val="1"/>
              <c:tx>
                <c:rich>
                  <a:bodyPr/>
                  <a:lstStyle/>
                  <a:p>
                    <a:r>
                      <a:t>29.3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296E-4116-8EE9-0F9CF6C2E6A0}"/>
                </c:ext>
              </c:extLst>
            </c:dLbl>
            <c:dLbl>
              <c:idx val="2"/>
              <c:tx>
                <c:rich>
                  <a:bodyPr/>
                  <a:lstStyle/>
                  <a:p>
                    <a:r>
                      <a:t>106.9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296E-4116-8EE9-0F9CF6C2E6A0}"/>
                </c:ext>
              </c:extLst>
            </c:dLbl>
            <c:dLbl>
              <c:idx val="3"/>
              <c:tx>
                <c:rich>
                  <a:bodyPr/>
                  <a:lstStyle/>
                  <a:p>
                    <a:r>
                      <a:t>56.3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296E-4116-8EE9-0F9CF6C2E6A0}"/>
                </c:ext>
              </c:extLst>
            </c:dLbl>
            <c:dLbl>
              <c:idx val="4"/>
              <c:tx>
                <c:rich>
                  <a:bodyPr/>
                  <a:lstStyle/>
                  <a:p>
                    <a:r>
                      <a:t>77.2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296E-4116-8EE9-0F9CF6C2E6A0}"/>
                </c:ext>
              </c:extLst>
            </c:dLbl>
            <c:dLbl>
              <c:idx val="5"/>
              <c:tx>
                <c:rich>
                  <a:bodyPr/>
                  <a:lstStyle/>
                  <a:p>
                    <a:r>
                      <a:t>38.1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296E-4116-8EE9-0F9CF6C2E6A0}"/>
                </c:ext>
              </c:extLst>
            </c:dLbl>
            <c:dLbl>
              <c:idx val="6"/>
              <c:tx>
                <c:rich>
                  <a:bodyPr/>
                  <a:lstStyle/>
                  <a:p>
                    <a:r>
                      <a:t>184.5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296E-4116-8EE9-0F9CF6C2E6A0}"/>
                </c:ext>
              </c:extLst>
            </c:dLbl>
            <c:dLbl>
              <c:idx val="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296E-4116-8EE9-0F9CF6C2E6A0}"/>
                </c:ext>
              </c:extLst>
            </c:dLbl>
            <c:dLbl>
              <c:idx val="8"/>
              <c:tx>
                <c:rich>
                  <a:bodyPr/>
                  <a:lstStyle/>
                  <a:p>
                    <a:r>
                      <a:t>44.2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296E-4116-8EE9-0F9CF6C2E6A0}"/>
                </c:ext>
              </c:extLst>
            </c:dLbl>
            <c:dLbl>
              <c:idx val="9"/>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296E-4116-8EE9-0F9CF6C2E6A0}"/>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Nicolas</c:v>
                  </c:pt>
                  <c:pt idx="2">
                    <c:v>Total</c:v>
                  </c:pt>
                  <c:pt idx="3">
                    <c:v>Nicolas</c:v>
                  </c:pt>
                  <c:pt idx="4">
                    <c:v>Total</c:v>
                  </c:pt>
                  <c:pt idx="5">
                    <c:v>Nicolas</c:v>
                  </c:pt>
                  <c:pt idx="6">
                    <c:v>Total</c:v>
                  </c:pt>
                  <c:pt idx="7">
                    <c:v>Nicolas</c:v>
                  </c:pt>
                  <c:pt idx="8">
                    <c:v>Total</c:v>
                  </c:pt>
                  <c:pt idx="9">
                    <c:v>Nicolas</c:v>
                  </c:pt>
                </c:lvl>
                <c:lvl>
                  <c:pt idx="0">
                    <c:v>Bruts</c:v>
                  </c:pt>
                  <c:pt idx="2">
                    <c:v>Blanc De Blancs</c:v>
                  </c:pt>
                  <c:pt idx="4">
                    <c:v>Rosés</c:v>
                  </c:pt>
                  <c:pt idx="6">
                    <c:v>Millesimes</c:v>
                  </c:pt>
                  <c:pt idx="8">
                    <c:v>Extra Brut</c:v>
                  </c:pt>
                </c:lvl>
              </c:multiLvlStrCache>
            </c:multiLvlStrRef>
          </c:cat>
          <c:val>
            <c:numRef>
              <c:f>Sheet1!$D$2:$D$11</c:f>
              <c:numCache>
                <c:formatCode>General</c:formatCode>
                <c:ptCount val="10"/>
                <c:pt idx="0">
                  <c:v>54.516300000000001</c:v>
                </c:pt>
                <c:pt idx="1">
                  <c:v>29.320399999999999</c:v>
                </c:pt>
                <c:pt idx="2">
                  <c:v>106.9933</c:v>
                </c:pt>
                <c:pt idx="3">
                  <c:v>56.330599999999997</c:v>
                </c:pt>
                <c:pt idx="4">
                  <c:v>77.268100000000004</c:v>
                </c:pt>
                <c:pt idx="5">
                  <c:v>38.129199999999997</c:v>
                </c:pt>
                <c:pt idx="6">
                  <c:v>184.56649999999999</c:v>
                </c:pt>
                <c:pt idx="7">
                  <c:v>0</c:v>
                </c:pt>
                <c:pt idx="8">
                  <c:v>44.226100000000002</c:v>
                </c:pt>
                <c:pt idx="9">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B-CAED-4FF2-9992-DE15D5B7EB92}"/>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1"/>
            <c:bubble3D val="0"/>
            <c:spPr>
              <a:solidFill>
                <a:srgbClr val="AEABAB"/>
              </a:solidFill>
              <a:ln>
                <a:noFill/>
              </a:ln>
              <a:effectLst/>
            </c:spPr>
            <c:extLst>
              <c:ext xmlns:c16="http://schemas.microsoft.com/office/drawing/2014/chart" uri="{C3380CC4-5D6E-409C-BE32-E72D297353CC}">
                <c16:uniqueId val="{0000001D-CAED-4FF2-9992-DE15D5B7EB92}"/>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Nicolas</c:v>
                  </c:pt>
                  <c:pt idx="2">
                    <c:v>Total</c:v>
                  </c:pt>
                  <c:pt idx="3">
                    <c:v>Nicolas</c:v>
                  </c:pt>
                  <c:pt idx="4">
                    <c:v>Total</c:v>
                  </c:pt>
                  <c:pt idx="5">
                    <c:v>Nicolas</c:v>
                  </c:pt>
                  <c:pt idx="6">
                    <c:v>Total</c:v>
                  </c:pt>
                  <c:pt idx="7">
                    <c:v>Nicolas</c:v>
                  </c:pt>
                  <c:pt idx="8">
                    <c:v>Total</c:v>
                  </c:pt>
                  <c:pt idx="9">
                    <c:v>Nicolas</c:v>
                  </c:pt>
                </c:lvl>
                <c:lvl>
                  <c:pt idx="0">
                    <c:v>Bruts</c:v>
                  </c:pt>
                  <c:pt idx="2">
                    <c:v>Blanc De Blancs</c:v>
                  </c:pt>
                  <c:pt idx="4">
                    <c:v>Rosés</c:v>
                  </c:pt>
                  <c:pt idx="6">
                    <c:v>Crus</c:v>
                  </c:pt>
                  <c:pt idx="8">
                    <c:v>Extra Brut</c:v>
                  </c:pt>
                </c:lvl>
              </c:multiLvlStrCache>
            </c:multiLvlStrRef>
          </c:cat>
          <c:val>
            <c:numRef>
              <c:f>Sheet1!$C$2:$C$11</c:f>
              <c:numCache>
                <c:formatCode>General</c:formatCode>
                <c:ptCount val="10"/>
                <c:pt idx="0">
                  <c:v>29</c:v>
                </c:pt>
                <c:pt idx="1">
                  <c:v>3.1</c:v>
                </c:pt>
                <c:pt idx="2">
                  <c:v>5.5</c:v>
                </c:pt>
                <c:pt idx="3">
                  <c:v>0.4</c:v>
                </c:pt>
                <c:pt idx="4">
                  <c:v>3</c:v>
                </c:pt>
                <c:pt idx="5">
                  <c:v>0.3</c:v>
                </c:pt>
                <c:pt idx="6">
                  <c:v>2.1</c:v>
                </c:pt>
                <c:pt idx="7">
                  <c:v>0</c:v>
                </c:pt>
                <c:pt idx="8">
                  <c:v>1.7</c:v>
                </c:pt>
                <c:pt idx="9">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52.7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CAED-4FF2-9992-DE15D5B7EB92}"/>
                </c:ext>
              </c:extLst>
            </c:dLbl>
            <c:dLbl>
              <c:idx val="1"/>
              <c:tx>
                <c:rich>
                  <a:bodyPr/>
                  <a:lstStyle/>
                  <a:p>
                    <a:r>
                      <a:t>29.5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CAED-4FF2-9992-DE15D5B7EB92}"/>
                </c:ext>
              </c:extLst>
            </c:dLbl>
            <c:dLbl>
              <c:idx val="2"/>
              <c:tx>
                <c:rich>
                  <a:bodyPr/>
                  <a:lstStyle/>
                  <a:p>
                    <a:r>
                      <a:t>99.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CAED-4FF2-9992-DE15D5B7EB92}"/>
                </c:ext>
              </c:extLst>
            </c:dLbl>
            <c:dLbl>
              <c:idx val="3"/>
              <c:tx>
                <c:rich>
                  <a:bodyPr/>
                  <a:lstStyle/>
                  <a:p>
                    <a:r>
                      <a:t>54.2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CAED-4FF2-9992-DE15D5B7EB92}"/>
                </c:ext>
              </c:extLst>
            </c:dLbl>
            <c:dLbl>
              <c:idx val="4"/>
              <c:tx>
                <c:rich>
                  <a:bodyPr/>
                  <a:lstStyle/>
                  <a:p>
                    <a:r>
                      <a:t>76.9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CAED-4FF2-9992-DE15D5B7EB92}"/>
                </c:ext>
              </c:extLst>
            </c:dLbl>
            <c:dLbl>
              <c:idx val="5"/>
              <c:tx>
                <c:rich>
                  <a:bodyPr/>
                  <a:lstStyle/>
                  <a:p>
                    <a:r>
                      <a:t>38.4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CAED-4FF2-9992-DE15D5B7EB92}"/>
                </c:ext>
              </c:extLst>
            </c:dLbl>
            <c:dLbl>
              <c:idx val="6"/>
              <c:tx>
                <c:rich>
                  <a:bodyPr/>
                  <a:lstStyle/>
                  <a:p>
                    <a:r>
                      <a:t>40.0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CAED-4FF2-9992-DE15D5B7EB92}"/>
                </c:ext>
              </c:extLst>
            </c:dLbl>
            <c:dLbl>
              <c:idx val="7"/>
              <c:tx>
                <c:rich>
                  <a:bodyPr/>
                  <a:lstStyle/>
                  <a:p>
                    <a:r>
                      <a:t>43.9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CAED-4FF2-9992-DE15D5B7EB92}"/>
                </c:ext>
              </c:extLst>
            </c:dLbl>
            <c:dLbl>
              <c:idx val="8"/>
              <c:tx>
                <c:rich>
                  <a:bodyPr/>
                  <a:lstStyle/>
                  <a:p>
                    <a:r>
                      <a:t>44.4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CAED-4FF2-9992-DE15D5B7EB92}"/>
                </c:ext>
              </c:extLst>
            </c:dLbl>
            <c:dLbl>
              <c:idx val="9"/>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CAED-4FF2-9992-DE15D5B7EB92}"/>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Nicolas</c:v>
                  </c:pt>
                  <c:pt idx="2">
                    <c:v>Total</c:v>
                  </c:pt>
                  <c:pt idx="3">
                    <c:v>Nicolas</c:v>
                  </c:pt>
                  <c:pt idx="4">
                    <c:v>Total</c:v>
                  </c:pt>
                  <c:pt idx="5">
                    <c:v>Nicolas</c:v>
                  </c:pt>
                  <c:pt idx="6">
                    <c:v>Total</c:v>
                  </c:pt>
                  <c:pt idx="7">
                    <c:v>Nicolas</c:v>
                  </c:pt>
                  <c:pt idx="8">
                    <c:v>Total</c:v>
                  </c:pt>
                  <c:pt idx="9">
                    <c:v>Nicolas</c:v>
                  </c:pt>
                </c:lvl>
                <c:lvl>
                  <c:pt idx="0">
                    <c:v>Bruts</c:v>
                  </c:pt>
                  <c:pt idx="2">
                    <c:v>Blanc De Blancs</c:v>
                  </c:pt>
                  <c:pt idx="4">
                    <c:v>Rosés</c:v>
                  </c:pt>
                  <c:pt idx="6">
                    <c:v>Crus</c:v>
                  </c:pt>
                  <c:pt idx="8">
                    <c:v>Extra Brut</c:v>
                  </c:pt>
                </c:lvl>
              </c:multiLvlStrCache>
            </c:multiLvlStrRef>
          </c:cat>
          <c:val>
            <c:numRef>
              <c:f>Sheet1!$D$2:$D$11</c:f>
              <c:numCache>
                <c:formatCode>General</c:formatCode>
                <c:ptCount val="10"/>
                <c:pt idx="0">
                  <c:v>52.746600000000001</c:v>
                </c:pt>
                <c:pt idx="1">
                  <c:v>29.5703</c:v>
                </c:pt>
                <c:pt idx="2">
                  <c:v>99.004499999999993</c:v>
                </c:pt>
                <c:pt idx="3">
                  <c:v>54.210900000000002</c:v>
                </c:pt>
                <c:pt idx="4">
                  <c:v>76.944500000000005</c:v>
                </c:pt>
                <c:pt idx="5">
                  <c:v>38.406399999999998</c:v>
                </c:pt>
                <c:pt idx="6">
                  <c:v>40.0443</c:v>
                </c:pt>
                <c:pt idx="7">
                  <c:v>43.926900000000003</c:v>
                </c:pt>
                <c:pt idx="8">
                  <c:v>44.462200000000003</c:v>
                </c:pt>
                <c:pt idx="9">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B-2EB7-42C6-9F8D-B8552DF35E35}"/>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1"/>
            <c:bubble3D val="0"/>
            <c:spPr>
              <a:solidFill>
                <a:srgbClr val="AEABAB"/>
              </a:solidFill>
              <a:ln>
                <a:noFill/>
              </a:ln>
              <a:effectLst/>
            </c:spPr>
            <c:extLst>
              <c:ext xmlns:c16="http://schemas.microsoft.com/office/drawing/2014/chart" uri="{C3380CC4-5D6E-409C-BE32-E72D297353CC}">
                <c16:uniqueId val="{0000001D-2EB7-42C6-9F8D-B8552DF35E35}"/>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Nicolas</c:v>
                  </c:pt>
                  <c:pt idx="2">
                    <c:v>Total</c:v>
                  </c:pt>
                  <c:pt idx="3">
                    <c:v>Nicolas</c:v>
                  </c:pt>
                  <c:pt idx="4">
                    <c:v>Total</c:v>
                  </c:pt>
                  <c:pt idx="5">
                    <c:v>Nicolas</c:v>
                  </c:pt>
                  <c:pt idx="6">
                    <c:v>Total</c:v>
                  </c:pt>
                  <c:pt idx="7">
                    <c:v>Nicolas</c:v>
                  </c:pt>
                  <c:pt idx="8">
                    <c:v>Total</c:v>
                  </c:pt>
                  <c:pt idx="9">
                    <c:v>Nicolas</c:v>
                  </c:pt>
                </c:lvl>
                <c:lvl>
                  <c:pt idx="0">
                    <c:v>Bruts</c:v>
                  </c:pt>
                  <c:pt idx="2">
                    <c:v>Blanc De Blancs</c:v>
                  </c:pt>
                  <c:pt idx="4">
                    <c:v>Rosés</c:v>
                  </c:pt>
                  <c:pt idx="6">
                    <c:v>Millesimes</c:v>
                  </c:pt>
                  <c:pt idx="8">
                    <c:v>Mousseux Italiens</c:v>
                  </c:pt>
                </c:lvl>
              </c:multiLvlStrCache>
            </c:multiLvlStrRef>
          </c:cat>
          <c:val>
            <c:numRef>
              <c:f>Sheet1!$C$2:$C$11</c:f>
              <c:numCache>
                <c:formatCode>General</c:formatCode>
                <c:ptCount val="10"/>
                <c:pt idx="0">
                  <c:v>4.0999999999999996</c:v>
                </c:pt>
                <c:pt idx="1">
                  <c:v>0.5</c:v>
                </c:pt>
                <c:pt idx="2">
                  <c:v>1</c:v>
                </c:pt>
                <c:pt idx="3">
                  <c:v>0.1</c:v>
                </c:pt>
                <c:pt idx="4">
                  <c:v>0.5</c:v>
                </c:pt>
                <c:pt idx="5">
                  <c:v>0</c:v>
                </c:pt>
                <c:pt idx="6">
                  <c:v>0.3</c:v>
                </c:pt>
                <c:pt idx="7">
                  <c:v>0</c:v>
                </c:pt>
                <c:pt idx="8">
                  <c:v>0.2</c:v>
                </c:pt>
                <c:pt idx="9">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52.9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2EB7-42C6-9F8D-B8552DF35E35}"/>
                </c:ext>
              </c:extLst>
            </c:dLbl>
            <c:dLbl>
              <c:idx val="1"/>
              <c:tx>
                <c:rich>
                  <a:bodyPr/>
                  <a:lstStyle/>
                  <a:p>
                    <a:r>
                      <a:t>29.3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2EB7-42C6-9F8D-B8552DF35E35}"/>
                </c:ext>
              </c:extLst>
            </c:dLbl>
            <c:dLbl>
              <c:idx val="2"/>
              <c:tx>
                <c:rich>
                  <a:bodyPr/>
                  <a:lstStyle/>
                  <a:p>
                    <a:r>
                      <a:t>106.7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2EB7-42C6-9F8D-B8552DF35E35}"/>
                </c:ext>
              </c:extLst>
            </c:dLbl>
            <c:dLbl>
              <c:idx val="3"/>
              <c:tx>
                <c:rich>
                  <a:bodyPr/>
                  <a:lstStyle/>
                  <a:p>
                    <a:r>
                      <a:t>55.7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2EB7-42C6-9F8D-B8552DF35E35}"/>
                </c:ext>
              </c:extLst>
            </c:dLbl>
            <c:dLbl>
              <c:idx val="4"/>
              <c:tx>
                <c:rich>
                  <a:bodyPr/>
                  <a:lstStyle/>
                  <a:p>
                    <a:r>
                      <a:t>77.9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2EB7-42C6-9F8D-B8552DF35E35}"/>
                </c:ext>
              </c:extLst>
            </c:dLbl>
            <c:dLbl>
              <c:idx val="5"/>
              <c:tx>
                <c:rich>
                  <a:bodyPr/>
                  <a:lstStyle/>
                  <a:p>
                    <a:r>
                      <a:t>38.0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2EB7-42C6-9F8D-B8552DF35E35}"/>
                </c:ext>
              </c:extLst>
            </c:dLbl>
            <c:dLbl>
              <c:idx val="6"/>
              <c:tx>
                <c:rich>
                  <a:bodyPr/>
                  <a:lstStyle/>
                  <a:p>
                    <a:r>
                      <a:t>225.2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2EB7-42C6-9F8D-B8552DF35E35}"/>
                </c:ext>
              </c:extLst>
            </c:dLbl>
            <c:dLbl>
              <c:idx val="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2EB7-42C6-9F8D-B8552DF35E35}"/>
                </c:ext>
              </c:extLst>
            </c:dLbl>
            <c:dLbl>
              <c:idx val="8"/>
              <c:tx>
                <c:rich>
                  <a:bodyPr/>
                  <a:lstStyle/>
                  <a:p>
                    <a:r>
                      <a:t>12.0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2EB7-42C6-9F8D-B8552DF35E35}"/>
                </c:ext>
              </c:extLst>
            </c:dLbl>
            <c:dLbl>
              <c:idx val="9"/>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2EB7-42C6-9F8D-B8552DF35E35}"/>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Nicolas</c:v>
                  </c:pt>
                  <c:pt idx="2">
                    <c:v>Total</c:v>
                  </c:pt>
                  <c:pt idx="3">
                    <c:v>Nicolas</c:v>
                  </c:pt>
                  <c:pt idx="4">
                    <c:v>Total</c:v>
                  </c:pt>
                  <c:pt idx="5">
                    <c:v>Nicolas</c:v>
                  </c:pt>
                  <c:pt idx="6">
                    <c:v>Total</c:v>
                  </c:pt>
                  <c:pt idx="7">
                    <c:v>Nicolas</c:v>
                  </c:pt>
                  <c:pt idx="8">
                    <c:v>Total</c:v>
                  </c:pt>
                  <c:pt idx="9">
                    <c:v>Nicolas</c:v>
                  </c:pt>
                </c:lvl>
                <c:lvl>
                  <c:pt idx="0">
                    <c:v>Bruts</c:v>
                  </c:pt>
                  <c:pt idx="2">
                    <c:v>Blanc De Blancs</c:v>
                  </c:pt>
                  <c:pt idx="4">
                    <c:v>Rosés</c:v>
                  </c:pt>
                  <c:pt idx="6">
                    <c:v>Millesimes</c:v>
                  </c:pt>
                  <c:pt idx="8">
                    <c:v>Mousseux Italiens</c:v>
                  </c:pt>
                </c:lvl>
              </c:multiLvlStrCache>
            </c:multiLvlStrRef>
          </c:cat>
          <c:val>
            <c:numRef>
              <c:f>Sheet1!$D$2:$D$11</c:f>
              <c:numCache>
                <c:formatCode>General</c:formatCode>
                <c:ptCount val="10"/>
                <c:pt idx="0">
                  <c:v>52.975099999999998</c:v>
                </c:pt>
                <c:pt idx="1">
                  <c:v>29.342099999999999</c:v>
                </c:pt>
                <c:pt idx="2">
                  <c:v>106.7418</c:v>
                </c:pt>
                <c:pt idx="3">
                  <c:v>55.7864</c:v>
                </c:pt>
                <c:pt idx="4">
                  <c:v>77.956299999999999</c:v>
                </c:pt>
                <c:pt idx="5">
                  <c:v>38.017800000000001</c:v>
                </c:pt>
                <c:pt idx="6">
                  <c:v>225.2834</c:v>
                </c:pt>
                <c:pt idx="7">
                  <c:v>0</c:v>
                </c:pt>
                <c:pt idx="8">
                  <c:v>12.029199999999999</c:v>
                </c:pt>
                <c:pt idx="9">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B-ADAD-403F-AC53-984DA636E5E0}"/>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1"/>
            <c:bubble3D val="0"/>
            <c:spPr>
              <a:solidFill>
                <a:srgbClr val="AEABAB"/>
              </a:solidFill>
              <a:ln>
                <a:noFill/>
              </a:ln>
              <a:effectLst/>
            </c:spPr>
            <c:extLst>
              <c:ext xmlns:c16="http://schemas.microsoft.com/office/drawing/2014/chart" uri="{C3380CC4-5D6E-409C-BE32-E72D297353CC}">
                <c16:uniqueId val="{0000001D-ADAD-403F-AC53-984DA636E5E0}"/>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Nicolas</c:v>
                  </c:pt>
                  <c:pt idx="2">
                    <c:v>Total</c:v>
                  </c:pt>
                  <c:pt idx="3">
                    <c:v>Nicolas</c:v>
                  </c:pt>
                  <c:pt idx="4">
                    <c:v>Total</c:v>
                  </c:pt>
                  <c:pt idx="5">
                    <c:v>Nicolas</c:v>
                  </c:pt>
                  <c:pt idx="6">
                    <c:v>Total</c:v>
                  </c:pt>
                  <c:pt idx="7">
                    <c:v>Nicolas</c:v>
                  </c:pt>
                  <c:pt idx="8">
                    <c:v>Total</c:v>
                  </c:pt>
                  <c:pt idx="9">
                    <c:v>Nicolas</c:v>
                  </c:pt>
                </c:lvl>
                <c:lvl>
                  <c:pt idx="0">
                    <c:v>Bruts</c:v>
                  </c:pt>
                  <c:pt idx="2">
                    <c:v>Blanc De Blancs</c:v>
                  </c:pt>
                  <c:pt idx="4">
                    <c:v>Rosés</c:v>
                  </c:pt>
                  <c:pt idx="6">
                    <c:v>Millesimes</c:v>
                  </c:pt>
                  <c:pt idx="8">
                    <c:v>Crus</c:v>
                  </c:pt>
                </c:lvl>
              </c:multiLvlStrCache>
            </c:multiLvlStrRef>
          </c:cat>
          <c:val>
            <c:numRef>
              <c:f>Sheet1!$C$2:$C$11</c:f>
              <c:numCache>
                <c:formatCode>General</c:formatCode>
                <c:ptCount val="10"/>
                <c:pt idx="0">
                  <c:v>2.4</c:v>
                </c:pt>
                <c:pt idx="1">
                  <c:v>0.2</c:v>
                </c:pt>
                <c:pt idx="2">
                  <c:v>0.4</c:v>
                </c:pt>
                <c:pt idx="3">
                  <c:v>0</c:v>
                </c:pt>
                <c:pt idx="4">
                  <c:v>0.2</c:v>
                </c:pt>
                <c:pt idx="5">
                  <c:v>0</c:v>
                </c:pt>
                <c:pt idx="6">
                  <c:v>0.2</c:v>
                </c:pt>
                <c:pt idx="7">
                  <c:v>0</c:v>
                </c:pt>
                <c:pt idx="8">
                  <c:v>0.1</c:v>
                </c:pt>
                <c:pt idx="9">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53.6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ADAD-403F-AC53-984DA636E5E0}"/>
                </c:ext>
              </c:extLst>
            </c:dLbl>
            <c:dLbl>
              <c:idx val="1"/>
              <c:tx>
                <c:rich>
                  <a:bodyPr/>
                  <a:lstStyle/>
                  <a:p>
                    <a:r>
                      <a:t>30.2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ADAD-403F-AC53-984DA636E5E0}"/>
                </c:ext>
              </c:extLst>
            </c:dLbl>
            <c:dLbl>
              <c:idx val="2"/>
              <c:tx>
                <c:rich>
                  <a:bodyPr/>
                  <a:lstStyle/>
                  <a:p>
                    <a:r>
                      <a:t>98.8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ADAD-403F-AC53-984DA636E5E0}"/>
                </c:ext>
              </c:extLst>
            </c:dLbl>
            <c:dLbl>
              <c:idx val="3"/>
              <c:tx>
                <c:rich>
                  <a:bodyPr/>
                  <a:lstStyle/>
                  <a:p>
                    <a:r>
                      <a:t>58.0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ADAD-403F-AC53-984DA636E5E0}"/>
                </c:ext>
              </c:extLst>
            </c:dLbl>
            <c:dLbl>
              <c:idx val="4"/>
              <c:tx>
                <c:rich>
                  <a:bodyPr/>
                  <a:lstStyle/>
                  <a:p>
                    <a:r>
                      <a:t>73.6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ADAD-403F-AC53-984DA636E5E0}"/>
                </c:ext>
              </c:extLst>
            </c:dLbl>
            <c:dLbl>
              <c:idx val="5"/>
              <c:tx>
                <c:rich>
                  <a:bodyPr/>
                  <a:lstStyle/>
                  <a:p>
                    <a:r>
                      <a:t>38.4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ADAD-403F-AC53-984DA636E5E0}"/>
                </c:ext>
              </c:extLst>
            </c:dLbl>
            <c:dLbl>
              <c:idx val="6"/>
              <c:tx>
                <c:rich>
                  <a:bodyPr/>
                  <a:lstStyle/>
                  <a:p>
                    <a:r>
                      <a:t>187.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ADAD-403F-AC53-984DA636E5E0}"/>
                </c:ext>
              </c:extLst>
            </c:dLbl>
            <c:dLbl>
              <c:idx val="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ADAD-403F-AC53-984DA636E5E0}"/>
                </c:ext>
              </c:extLst>
            </c:dLbl>
            <c:dLbl>
              <c:idx val="8"/>
              <c:tx>
                <c:rich>
                  <a:bodyPr/>
                  <a:lstStyle/>
                  <a:p>
                    <a:r>
                      <a:t>39.9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ADAD-403F-AC53-984DA636E5E0}"/>
                </c:ext>
              </c:extLst>
            </c:dLbl>
            <c:dLbl>
              <c:idx val="9"/>
              <c:tx>
                <c:rich>
                  <a:bodyPr/>
                  <a:lstStyle/>
                  <a:p>
                    <a:r>
                      <a:t>44.8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ADAD-403F-AC53-984DA636E5E0}"/>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Nicolas</c:v>
                  </c:pt>
                  <c:pt idx="2">
                    <c:v>Total</c:v>
                  </c:pt>
                  <c:pt idx="3">
                    <c:v>Nicolas</c:v>
                  </c:pt>
                  <c:pt idx="4">
                    <c:v>Total</c:v>
                  </c:pt>
                  <c:pt idx="5">
                    <c:v>Nicolas</c:v>
                  </c:pt>
                  <c:pt idx="6">
                    <c:v>Total</c:v>
                  </c:pt>
                  <c:pt idx="7">
                    <c:v>Nicolas</c:v>
                  </c:pt>
                  <c:pt idx="8">
                    <c:v>Total</c:v>
                  </c:pt>
                  <c:pt idx="9">
                    <c:v>Nicolas</c:v>
                  </c:pt>
                </c:lvl>
                <c:lvl>
                  <c:pt idx="0">
                    <c:v>Bruts</c:v>
                  </c:pt>
                  <c:pt idx="2">
                    <c:v>Blanc De Blancs</c:v>
                  </c:pt>
                  <c:pt idx="4">
                    <c:v>Rosés</c:v>
                  </c:pt>
                  <c:pt idx="6">
                    <c:v>Millesimes</c:v>
                  </c:pt>
                  <c:pt idx="8">
                    <c:v>Crus</c:v>
                  </c:pt>
                </c:lvl>
              </c:multiLvlStrCache>
            </c:multiLvlStrRef>
          </c:cat>
          <c:val>
            <c:numRef>
              <c:f>Sheet1!$D$2:$D$11</c:f>
              <c:numCache>
                <c:formatCode>General</c:formatCode>
                <c:ptCount val="10"/>
                <c:pt idx="0">
                  <c:v>53.6935</c:v>
                </c:pt>
                <c:pt idx="1">
                  <c:v>30.215599999999998</c:v>
                </c:pt>
                <c:pt idx="2">
                  <c:v>98.810699999999997</c:v>
                </c:pt>
                <c:pt idx="3">
                  <c:v>58.055700000000002</c:v>
                </c:pt>
                <c:pt idx="4">
                  <c:v>73.642300000000006</c:v>
                </c:pt>
                <c:pt idx="5">
                  <c:v>38.415900000000001</c:v>
                </c:pt>
                <c:pt idx="6">
                  <c:v>187.09819999999999</c:v>
                </c:pt>
                <c:pt idx="7">
                  <c:v>0</c:v>
                </c:pt>
                <c:pt idx="8">
                  <c:v>39.974299999999999</c:v>
                </c:pt>
                <c:pt idx="9">
                  <c:v>44.848500000000001</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B-0E8C-4291-A57D-00F5D63061A4}"/>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1"/>
            <c:bubble3D val="0"/>
            <c:spPr>
              <a:solidFill>
                <a:srgbClr val="AEABAB"/>
              </a:solidFill>
              <a:ln>
                <a:noFill/>
              </a:ln>
              <a:effectLst/>
            </c:spPr>
            <c:extLst>
              <c:ext xmlns:c16="http://schemas.microsoft.com/office/drawing/2014/chart" uri="{C3380CC4-5D6E-409C-BE32-E72D297353CC}">
                <c16:uniqueId val="{0000001D-0E8C-4291-A57D-00F5D63061A4}"/>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Nicolas</c:v>
                  </c:pt>
                  <c:pt idx="2">
                    <c:v>Total</c:v>
                  </c:pt>
                  <c:pt idx="3">
                    <c:v>Nicolas</c:v>
                  </c:pt>
                  <c:pt idx="4">
                    <c:v>Total</c:v>
                  </c:pt>
                  <c:pt idx="5">
                    <c:v>Nicolas</c:v>
                  </c:pt>
                  <c:pt idx="6">
                    <c:v>Total</c:v>
                  </c:pt>
                  <c:pt idx="7">
                    <c:v>Nicolas</c:v>
                  </c:pt>
                  <c:pt idx="8">
                    <c:v>Total</c:v>
                  </c:pt>
                  <c:pt idx="9">
                    <c:v>Nicolas</c:v>
                  </c:pt>
                </c:lvl>
                <c:lvl>
                  <c:pt idx="0">
                    <c:v>Bruts</c:v>
                  </c:pt>
                  <c:pt idx="2">
                    <c:v>Blanc De Blancs</c:v>
                  </c:pt>
                  <c:pt idx="4">
                    <c:v>Rosés</c:v>
                  </c:pt>
                  <c:pt idx="6">
                    <c:v>Crus</c:v>
                  </c:pt>
                  <c:pt idx="8">
                    <c:v>Millesimes</c:v>
                  </c:pt>
                </c:lvl>
              </c:multiLvlStrCache>
            </c:multiLvlStrRef>
          </c:cat>
          <c:val>
            <c:numRef>
              <c:f>Sheet1!$C$2:$C$11</c:f>
              <c:numCache>
                <c:formatCode>General</c:formatCode>
                <c:ptCount val="10"/>
                <c:pt idx="0">
                  <c:v>1.3</c:v>
                </c:pt>
                <c:pt idx="1">
                  <c:v>0.2</c:v>
                </c:pt>
                <c:pt idx="2">
                  <c:v>0.2</c:v>
                </c:pt>
                <c:pt idx="3">
                  <c:v>0</c:v>
                </c:pt>
                <c:pt idx="4">
                  <c:v>0.1</c:v>
                </c:pt>
                <c:pt idx="5">
                  <c:v>0</c:v>
                </c:pt>
                <c:pt idx="6">
                  <c:v>0.1</c:v>
                </c:pt>
                <c:pt idx="7">
                  <c:v>0</c:v>
                </c:pt>
                <c:pt idx="8">
                  <c:v>0.1</c:v>
                </c:pt>
                <c:pt idx="9">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49.7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0E8C-4291-A57D-00F5D63061A4}"/>
                </c:ext>
              </c:extLst>
            </c:dLbl>
            <c:dLbl>
              <c:idx val="1"/>
              <c:tx>
                <c:rich>
                  <a:bodyPr/>
                  <a:lstStyle/>
                  <a:p>
                    <a:r>
                      <a:t>29.2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0E8C-4291-A57D-00F5D63061A4}"/>
                </c:ext>
              </c:extLst>
            </c:dLbl>
            <c:dLbl>
              <c:idx val="2"/>
              <c:tx>
                <c:rich>
                  <a:bodyPr/>
                  <a:lstStyle/>
                  <a:p>
                    <a:r>
                      <a:t>92.6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0E8C-4291-A57D-00F5D63061A4}"/>
                </c:ext>
              </c:extLst>
            </c:dLbl>
            <c:dLbl>
              <c:idx val="3"/>
              <c:tx>
                <c:rich>
                  <a:bodyPr/>
                  <a:lstStyle/>
                  <a:p>
                    <a:r>
                      <a:t>55.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0E8C-4291-A57D-00F5D63061A4}"/>
                </c:ext>
              </c:extLst>
            </c:dLbl>
            <c:dLbl>
              <c:idx val="4"/>
              <c:tx>
                <c:rich>
                  <a:bodyPr/>
                  <a:lstStyle/>
                  <a:p>
                    <a:r>
                      <a:t>69.8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0E8C-4291-A57D-00F5D63061A4}"/>
                </c:ext>
              </c:extLst>
            </c:dLbl>
            <c:dLbl>
              <c:idx val="5"/>
              <c:tx>
                <c:rich>
                  <a:bodyPr/>
                  <a:lstStyle/>
                  <a:p>
                    <a:r>
                      <a:t>37.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0E8C-4291-A57D-00F5D63061A4}"/>
                </c:ext>
              </c:extLst>
            </c:dLbl>
            <c:dLbl>
              <c:idx val="6"/>
              <c:tx>
                <c:rich>
                  <a:bodyPr/>
                  <a:lstStyle/>
                  <a:p>
                    <a:r>
                      <a:t>40.1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0E8C-4291-A57D-00F5D63061A4}"/>
                </c:ext>
              </c:extLst>
            </c:dLbl>
            <c:dLbl>
              <c:idx val="7"/>
              <c:tx>
                <c:rich>
                  <a:bodyPr/>
                  <a:lstStyle/>
                  <a:p>
                    <a:r>
                      <a:t>43.5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0E8C-4291-A57D-00F5D63061A4}"/>
                </c:ext>
              </c:extLst>
            </c:dLbl>
            <c:dLbl>
              <c:idx val="8"/>
              <c:tx>
                <c:rich>
                  <a:bodyPr/>
                  <a:lstStyle/>
                  <a:p>
                    <a:r>
                      <a:t>189.1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0E8C-4291-A57D-00F5D63061A4}"/>
                </c:ext>
              </c:extLst>
            </c:dLbl>
            <c:dLbl>
              <c:idx val="9"/>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0E8C-4291-A57D-00F5D63061A4}"/>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Nicolas</c:v>
                  </c:pt>
                  <c:pt idx="2">
                    <c:v>Total</c:v>
                  </c:pt>
                  <c:pt idx="3">
                    <c:v>Nicolas</c:v>
                  </c:pt>
                  <c:pt idx="4">
                    <c:v>Total</c:v>
                  </c:pt>
                  <c:pt idx="5">
                    <c:v>Nicolas</c:v>
                  </c:pt>
                  <c:pt idx="6">
                    <c:v>Total</c:v>
                  </c:pt>
                  <c:pt idx="7">
                    <c:v>Nicolas</c:v>
                  </c:pt>
                  <c:pt idx="8">
                    <c:v>Total</c:v>
                  </c:pt>
                  <c:pt idx="9">
                    <c:v>Nicolas</c:v>
                  </c:pt>
                </c:lvl>
                <c:lvl>
                  <c:pt idx="0">
                    <c:v>Bruts</c:v>
                  </c:pt>
                  <c:pt idx="2">
                    <c:v>Blanc De Blancs</c:v>
                  </c:pt>
                  <c:pt idx="4">
                    <c:v>Rosés</c:v>
                  </c:pt>
                  <c:pt idx="6">
                    <c:v>Crus</c:v>
                  </c:pt>
                  <c:pt idx="8">
                    <c:v>Millesimes</c:v>
                  </c:pt>
                </c:lvl>
              </c:multiLvlStrCache>
            </c:multiLvlStrRef>
          </c:cat>
          <c:val>
            <c:numRef>
              <c:f>Sheet1!$D$2:$D$11</c:f>
              <c:numCache>
                <c:formatCode>General</c:formatCode>
                <c:ptCount val="10"/>
                <c:pt idx="0">
                  <c:v>49.7729</c:v>
                </c:pt>
                <c:pt idx="1">
                  <c:v>29.226299999999998</c:v>
                </c:pt>
                <c:pt idx="2">
                  <c:v>92.624799999999993</c:v>
                </c:pt>
                <c:pt idx="3">
                  <c:v>55.4955</c:v>
                </c:pt>
                <c:pt idx="4">
                  <c:v>69.882499999999993</c:v>
                </c:pt>
                <c:pt idx="5">
                  <c:v>37.238300000000002</c:v>
                </c:pt>
                <c:pt idx="6">
                  <c:v>40.115699999999997</c:v>
                </c:pt>
                <c:pt idx="7">
                  <c:v>43.537300000000002</c:v>
                </c:pt>
                <c:pt idx="8">
                  <c:v>189.125</c:v>
                </c:pt>
                <c:pt idx="9">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CA-4C16-90F6-A0D9A3D8DA8E}"/>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CA-4C16-90F6-A0D9A3D8DA8E}"/>
                </c:ext>
              </c:extLst>
            </c:dLbl>
            <c:dLbl>
              <c:idx val="1"/>
              <c:tx>
                <c:rich>
                  <a:bodyPr/>
                  <a:lstStyle/>
                  <a:p>
                    <a:fld id="{3F5EFE80-619F-4298-B820-4DDE0246B61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CA-4C16-90F6-A0D9A3D8DA8E}"/>
                </c:ext>
              </c:extLst>
            </c:dLbl>
            <c:dLbl>
              <c:idx val="2"/>
              <c:tx>
                <c:rich>
                  <a:bodyPr/>
                  <a:lstStyle/>
                  <a:p>
                    <a:fld id="{7B0714F9-B863-4D57-9844-21044049E89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CA-4C16-90F6-A0D9A3D8DA8E}"/>
                </c:ext>
              </c:extLst>
            </c:dLbl>
            <c:dLbl>
              <c:idx val="3"/>
              <c:tx>
                <c:rich>
                  <a:bodyPr/>
                  <a:lstStyle/>
                  <a:p>
                    <a:fld id="{4544BA09-05A2-4D1F-83A5-16CC29C1451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D8CA-4C16-90F6-A0D9A3D8DA8E}"/>
                </c:ext>
              </c:extLst>
            </c:dLbl>
            <c:dLbl>
              <c:idx val="4"/>
              <c:tx>
                <c:rich>
                  <a:bodyPr/>
                  <a:lstStyle/>
                  <a:p>
                    <a:fld id="{9ADBB94A-3646-4ADF-BAD4-5E9D77F3D11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D8CA-4C16-90F6-A0D9A3D8DA8E}"/>
                </c:ext>
              </c:extLst>
            </c:dLbl>
            <c:dLbl>
              <c:idx val="5"/>
              <c:tx>
                <c:rich>
                  <a:bodyPr/>
                  <a:lstStyle/>
                  <a:p>
                    <a:fld id="{6076E117-8E68-4B58-974E-FAA3D8B3D3B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CA-4C16-90F6-A0D9A3D8DA8E}"/>
                </c:ext>
              </c:extLst>
            </c:dLbl>
            <c:dLbl>
              <c:idx val="6"/>
              <c:tx>
                <c:rich>
                  <a:bodyPr/>
                  <a:lstStyle/>
                  <a:p>
                    <a:fld id="{480CF159-7958-49D9-B71F-BB1CD7EF22C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CA-4C16-90F6-A0D9A3D8DA8E}"/>
                </c:ext>
              </c:extLst>
            </c:dLbl>
            <c:dLbl>
              <c:idx val="7"/>
              <c:tx>
                <c:rich>
                  <a:bodyPr/>
                  <a:lstStyle/>
                  <a:p>
                    <a:fld id="{533C8B81-0085-47FE-B047-F1EBDEDADE7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CA-4C16-90F6-A0D9A3D8DA8E}"/>
                </c:ext>
              </c:extLst>
            </c:dLbl>
            <c:dLbl>
              <c:idx val="8"/>
              <c:tx>
                <c:rich>
                  <a:bodyPr/>
                  <a:lstStyle/>
                  <a:p>
                    <a:fld id="{8BFD3344-41F4-403C-B5CF-F02709E7679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CA-4C16-90F6-A0D9A3D8DA8E}"/>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31.206</c:v>
                </c:pt>
                <c:pt idx="1">
                  <c:v>43.504300000000001</c:v>
                </c:pt>
                <c:pt idx="2">
                  <c:v>39.130899999999997</c:v>
                </c:pt>
              </c:numCache>
            </c:numRef>
          </c:xVal>
          <c:yVal>
            <c:numRef>
              <c:f>Sheet1!$B$2:$B$4</c:f>
              <c:numCache>
                <c:formatCode>General</c:formatCode>
                <c:ptCount val="3"/>
                <c:pt idx="0">
                  <c:v>0.93700000000000006</c:v>
                </c:pt>
                <c:pt idx="1">
                  <c:v>1.3069999999999999</c:v>
                </c:pt>
                <c:pt idx="2">
                  <c:v>1.1140000000000001</c:v>
                </c:pt>
              </c:numCache>
            </c:numRef>
          </c:yVal>
          <c:bubbleSize>
            <c:numRef>
              <c:f>Sheet1!$C$2:$C$4</c:f>
              <c:numCache>
                <c:formatCode>General</c:formatCode>
                <c:ptCount val="3"/>
                <c:pt idx="0">
                  <c:v>1767506</c:v>
                </c:pt>
                <c:pt idx="1">
                  <c:v>484768</c:v>
                </c:pt>
                <c:pt idx="2">
                  <c:v>30796</c:v>
                </c:pt>
              </c:numCache>
            </c:numRef>
          </c:bubbleSize>
          <c:bubble3D val="0"/>
          <c:extLst>
            <c:ext xmlns:c15="http://schemas.microsoft.com/office/drawing/2012/chart" uri="{02D57815-91ED-43cb-92C2-25804820EDAC}">
              <c15:datalabelsRange>
                <c15:f>Sheet1!$E$2:$E$10</c15:f>
                <c15:dlblRangeCache>
                  <c:ptCount val="9"/>
                  <c:pt idx="0">
                    <c:v>Nicolas Feuillatte</c:v>
                  </c:pt>
                  <c:pt idx="1">
                    <c:v>Moët &amp; Chandon</c:v>
                  </c:pt>
                  <c:pt idx="2">
                    <c:v>Canard Duchêne</c:v>
                  </c:pt>
                </c15:dlblRangeCache>
              </c15:datalabelsRange>
            </c:ext>
            <c:ext xmlns:c16="http://schemas.microsoft.com/office/drawing/2014/chart" uri="{C3380CC4-5D6E-409C-BE32-E72D297353CC}">
              <c16:uniqueId val="{00000009-D8CA-4C16-90F6-A0D9A3D8DA8E}"/>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2"/>
          <c:min val="25"/>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B-06E9-4AEB-8972-364E34CBF857}"/>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1"/>
            <c:bubble3D val="0"/>
            <c:spPr>
              <a:solidFill>
                <a:srgbClr val="AEABAB"/>
              </a:solidFill>
              <a:ln>
                <a:noFill/>
              </a:ln>
              <a:effectLst/>
            </c:spPr>
            <c:extLst>
              <c:ext xmlns:c16="http://schemas.microsoft.com/office/drawing/2014/chart" uri="{C3380CC4-5D6E-409C-BE32-E72D297353CC}">
                <c16:uniqueId val="{0000001D-06E9-4AEB-8972-364E34CBF857}"/>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Nicolas</c:v>
                  </c:pt>
                  <c:pt idx="2">
                    <c:v>Total</c:v>
                  </c:pt>
                  <c:pt idx="3">
                    <c:v>Nicolas</c:v>
                  </c:pt>
                  <c:pt idx="4">
                    <c:v>Total</c:v>
                  </c:pt>
                  <c:pt idx="5">
                    <c:v>Nicolas</c:v>
                  </c:pt>
                  <c:pt idx="6">
                    <c:v>Total</c:v>
                  </c:pt>
                  <c:pt idx="7">
                    <c:v>Nicolas</c:v>
                  </c:pt>
                  <c:pt idx="8">
                    <c:v>Total</c:v>
                  </c:pt>
                  <c:pt idx="9">
                    <c:v>Nicolas</c:v>
                  </c:pt>
                </c:lvl>
                <c:lvl>
                  <c:pt idx="0">
                    <c:v>Bruts</c:v>
                  </c:pt>
                  <c:pt idx="2">
                    <c:v>Blanc De Blancs</c:v>
                  </c:pt>
                  <c:pt idx="4">
                    <c:v>Mousseux Alsace</c:v>
                  </c:pt>
                  <c:pt idx="6">
                    <c:v>Rosés</c:v>
                  </c:pt>
                  <c:pt idx="8">
                    <c:v>Millesimes</c:v>
                  </c:pt>
                </c:lvl>
              </c:multiLvlStrCache>
            </c:multiLvlStrRef>
          </c:cat>
          <c:val>
            <c:numRef>
              <c:f>Sheet1!$C$2:$C$11</c:f>
              <c:numCache>
                <c:formatCode>General</c:formatCode>
                <c:ptCount val="10"/>
                <c:pt idx="0">
                  <c:v>1</c:v>
                </c:pt>
                <c:pt idx="1">
                  <c:v>0.1</c:v>
                </c:pt>
                <c:pt idx="2">
                  <c:v>0.2</c:v>
                </c:pt>
                <c:pt idx="3">
                  <c:v>0</c:v>
                </c:pt>
                <c:pt idx="4">
                  <c:v>0.2</c:v>
                </c:pt>
                <c:pt idx="5">
                  <c:v>0</c:v>
                </c:pt>
                <c:pt idx="6">
                  <c:v>0.1</c:v>
                </c:pt>
                <c:pt idx="7">
                  <c:v>0</c:v>
                </c:pt>
                <c:pt idx="8">
                  <c:v>0.1</c:v>
                </c:pt>
                <c:pt idx="9">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5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06E9-4AEB-8972-364E34CBF857}"/>
                </c:ext>
              </c:extLst>
            </c:dLbl>
            <c:dLbl>
              <c:idx val="1"/>
              <c:tx>
                <c:rich>
                  <a:bodyPr/>
                  <a:lstStyle/>
                  <a:p>
                    <a:r>
                      <a:t>28.6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06E9-4AEB-8972-364E34CBF857}"/>
                </c:ext>
              </c:extLst>
            </c:dLbl>
            <c:dLbl>
              <c:idx val="2"/>
              <c:tx>
                <c:rich>
                  <a:bodyPr/>
                  <a:lstStyle/>
                  <a:p>
                    <a:r>
                      <a:t>64.1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06E9-4AEB-8972-364E34CBF857}"/>
                </c:ext>
              </c:extLst>
            </c:dLbl>
            <c:dLbl>
              <c:idx val="3"/>
              <c:tx>
                <c:rich>
                  <a:bodyPr/>
                  <a:lstStyle/>
                  <a:p>
                    <a:r>
                      <a:t>57.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06E9-4AEB-8972-364E34CBF857}"/>
                </c:ext>
              </c:extLst>
            </c:dLbl>
            <c:dLbl>
              <c:idx val="4"/>
              <c:tx>
                <c:rich>
                  <a:bodyPr/>
                  <a:lstStyle/>
                  <a:p>
                    <a:r>
                      <a:t>16.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06E9-4AEB-8972-364E34CBF857}"/>
                </c:ext>
              </c:extLst>
            </c:dLbl>
            <c:dLbl>
              <c:idx val="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06E9-4AEB-8972-364E34CBF857}"/>
                </c:ext>
              </c:extLst>
            </c:dLbl>
            <c:dLbl>
              <c:idx val="6"/>
              <c:tx>
                <c:rich>
                  <a:bodyPr/>
                  <a:lstStyle/>
                  <a:p>
                    <a:r>
                      <a:t>64.3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06E9-4AEB-8972-364E34CBF857}"/>
                </c:ext>
              </c:extLst>
            </c:dLbl>
            <c:dLbl>
              <c:idx val="7"/>
              <c:tx>
                <c:rich>
                  <a:bodyPr/>
                  <a:lstStyle/>
                  <a:p>
                    <a:r>
                      <a:t>35.6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06E9-4AEB-8972-364E34CBF857}"/>
                </c:ext>
              </c:extLst>
            </c:dLbl>
            <c:dLbl>
              <c:idx val="8"/>
              <c:tx>
                <c:rich>
                  <a:bodyPr/>
                  <a:lstStyle/>
                  <a:p>
                    <a:r>
                      <a:t>144.4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06E9-4AEB-8972-364E34CBF857}"/>
                </c:ext>
              </c:extLst>
            </c:dLbl>
            <c:dLbl>
              <c:idx val="9"/>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06E9-4AEB-8972-364E34CBF857}"/>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Nicolas</c:v>
                  </c:pt>
                  <c:pt idx="2">
                    <c:v>Total</c:v>
                  </c:pt>
                  <c:pt idx="3">
                    <c:v>Nicolas</c:v>
                  </c:pt>
                  <c:pt idx="4">
                    <c:v>Total</c:v>
                  </c:pt>
                  <c:pt idx="5">
                    <c:v>Nicolas</c:v>
                  </c:pt>
                  <c:pt idx="6">
                    <c:v>Total</c:v>
                  </c:pt>
                  <c:pt idx="7">
                    <c:v>Nicolas</c:v>
                  </c:pt>
                  <c:pt idx="8">
                    <c:v>Total</c:v>
                  </c:pt>
                  <c:pt idx="9">
                    <c:v>Nicolas</c:v>
                  </c:pt>
                </c:lvl>
                <c:lvl>
                  <c:pt idx="0">
                    <c:v>Bruts</c:v>
                  </c:pt>
                  <c:pt idx="2">
                    <c:v>Blanc De Blancs</c:v>
                  </c:pt>
                  <c:pt idx="4">
                    <c:v>Mousseux Alsace</c:v>
                  </c:pt>
                  <c:pt idx="6">
                    <c:v>Rosés</c:v>
                  </c:pt>
                  <c:pt idx="8">
                    <c:v>Millesimes</c:v>
                  </c:pt>
                </c:lvl>
              </c:multiLvlStrCache>
            </c:multiLvlStrRef>
          </c:cat>
          <c:val>
            <c:numRef>
              <c:f>Sheet1!$D$2:$D$11</c:f>
              <c:numCache>
                <c:formatCode>General</c:formatCode>
                <c:ptCount val="10"/>
                <c:pt idx="0">
                  <c:v>49.9983</c:v>
                </c:pt>
                <c:pt idx="1">
                  <c:v>28.638400000000001</c:v>
                </c:pt>
                <c:pt idx="2">
                  <c:v>64.121099999999998</c:v>
                </c:pt>
                <c:pt idx="3">
                  <c:v>57.200899999999997</c:v>
                </c:pt>
                <c:pt idx="4">
                  <c:v>16.241700000000002</c:v>
                </c:pt>
                <c:pt idx="5">
                  <c:v>0</c:v>
                </c:pt>
                <c:pt idx="6">
                  <c:v>64.334999999999994</c:v>
                </c:pt>
                <c:pt idx="7">
                  <c:v>35.692599999999999</c:v>
                </c:pt>
                <c:pt idx="8">
                  <c:v>144.41679999999999</c:v>
                </c:pt>
                <c:pt idx="9">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B-A264-4C5A-827B-A358F3313495}"/>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1"/>
            <c:bubble3D val="0"/>
            <c:spPr>
              <a:solidFill>
                <a:srgbClr val="AEABAB"/>
              </a:solidFill>
              <a:ln>
                <a:noFill/>
              </a:ln>
              <a:effectLst/>
            </c:spPr>
            <c:extLst>
              <c:ext xmlns:c16="http://schemas.microsoft.com/office/drawing/2014/chart" uri="{C3380CC4-5D6E-409C-BE32-E72D297353CC}">
                <c16:uniqueId val="{0000001D-A264-4C5A-827B-A358F3313495}"/>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Nicolas</c:v>
                  </c:pt>
                  <c:pt idx="2">
                    <c:v>Total</c:v>
                  </c:pt>
                  <c:pt idx="3">
                    <c:v>Nicolas</c:v>
                  </c:pt>
                  <c:pt idx="4">
                    <c:v>Total</c:v>
                  </c:pt>
                  <c:pt idx="5">
                    <c:v>Nicolas</c:v>
                  </c:pt>
                  <c:pt idx="6">
                    <c:v>Total</c:v>
                  </c:pt>
                  <c:pt idx="7">
                    <c:v>Nicolas</c:v>
                  </c:pt>
                  <c:pt idx="8">
                    <c:v>Total</c:v>
                  </c:pt>
                  <c:pt idx="9">
                    <c:v>Nicolas</c:v>
                  </c:pt>
                </c:lvl>
                <c:lvl>
                  <c:pt idx="0">
                    <c:v>Bruts</c:v>
                  </c:pt>
                  <c:pt idx="2">
                    <c:v>Blanc De Blancs</c:v>
                  </c:pt>
                  <c:pt idx="4">
                    <c:v>Rosés</c:v>
                  </c:pt>
                  <c:pt idx="6">
                    <c:v>Millesimes</c:v>
                  </c:pt>
                  <c:pt idx="8">
                    <c:v>Crus</c:v>
                  </c:pt>
                </c:lvl>
              </c:multiLvlStrCache>
            </c:multiLvlStrRef>
          </c:cat>
          <c:val>
            <c:numRef>
              <c:f>Sheet1!$C$2:$C$11</c:f>
              <c:numCache>
                <c:formatCode>General</c:formatCode>
                <c:ptCount val="10"/>
                <c:pt idx="0">
                  <c:v>11.8</c:v>
                </c:pt>
                <c:pt idx="1">
                  <c:v>1.2</c:v>
                </c:pt>
                <c:pt idx="2">
                  <c:v>2.8</c:v>
                </c:pt>
                <c:pt idx="3">
                  <c:v>0.1</c:v>
                </c:pt>
                <c:pt idx="4">
                  <c:v>1.5</c:v>
                </c:pt>
                <c:pt idx="5">
                  <c:v>0.1</c:v>
                </c:pt>
                <c:pt idx="6">
                  <c:v>1</c:v>
                </c:pt>
                <c:pt idx="7">
                  <c:v>0</c:v>
                </c:pt>
                <c:pt idx="8">
                  <c:v>0.8</c:v>
                </c:pt>
                <c:pt idx="9">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53.7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A264-4C5A-827B-A358F3313495}"/>
                </c:ext>
              </c:extLst>
            </c:dLbl>
            <c:dLbl>
              <c:idx val="1"/>
              <c:tx>
                <c:rich>
                  <a:bodyPr/>
                  <a:lstStyle/>
                  <a:p>
                    <a:r>
                      <a:t>29.4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A264-4C5A-827B-A358F3313495}"/>
                </c:ext>
              </c:extLst>
            </c:dLbl>
            <c:dLbl>
              <c:idx val="2"/>
              <c:tx>
                <c:rich>
                  <a:bodyPr/>
                  <a:lstStyle/>
                  <a:p>
                    <a:r>
                      <a:t>103.5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A264-4C5A-827B-A358F3313495}"/>
                </c:ext>
              </c:extLst>
            </c:dLbl>
            <c:dLbl>
              <c:idx val="3"/>
              <c:tx>
                <c:rich>
                  <a:bodyPr/>
                  <a:lstStyle/>
                  <a:p>
                    <a:r>
                      <a:t>54.5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A264-4C5A-827B-A358F3313495}"/>
                </c:ext>
              </c:extLst>
            </c:dLbl>
            <c:dLbl>
              <c:idx val="4"/>
              <c:tx>
                <c:rich>
                  <a:bodyPr/>
                  <a:lstStyle/>
                  <a:p>
                    <a:r>
                      <a:t>86.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A264-4C5A-827B-A358F3313495}"/>
                </c:ext>
              </c:extLst>
            </c:dLbl>
            <c:dLbl>
              <c:idx val="5"/>
              <c:tx>
                <c:rich>
                  <a:bodyPr/>
                  <a:lstStyle/>
                  <a:p>
                    <a:r>
                      <a:t>37.9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A264-4C5A-827B-A358F3313495}"/>
                </c:ext>
              </c:extLst>
            </c:dLbl>
            <c:dLbl>
              <c:idx val="6"/>
              <c:tx>
                <c:rich>
                  <a:bodyPr/>
                  <a:lstStyle/>
                  <a:p>
                    <a:r>
                      <a:t>208.2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A264-4C5A-827B-A358F3313495}"/>
                </c:ext>
              </c:extLst>
            </c:dLbl>
            <c:dLbl>
              <c:idx val="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A264-4C5A-827B-A358F3313495}"/>
                </c:ext>
              </c:extLst>
            </c:dLbl>
            <c:dLbl>
              <c:idx val="8"/>
              <c:tx>
                <c:rich>
                  <a:bodyPr/>
                  <a:lstStyle/>
                  <a:p>
                    <a:r>
                      <a:t>39.9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A264-4C5A-827B-A358F3313495}"/>
                </c:ext>
              </c:extLst>
            </c:dLbl>
            <c:dLbl>
              <c:idx val="9"/>
              <c:tx>
                <c:rich>
                  <a:bodyPr/>
                  <a:lstStyle/>
                  <a:p>
                    <a:r>
                      <a:t>43.9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A264-4C5A-827B-A358F3313495}"/>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Nicolas</c:v>
                  </c:pt>
                  <c:pt idx="2">
                    <c:v>Total</c:v>
                  </c:pt>
                  <c:pt idx="3">
                    <c:v>Nicolas</c:v>
                  </c:pt>
                  <c:pt idx="4">
                    <c:v>Total</c:v>
                  </c:pt>
                  <c:pt idx="5">
                    <c:v>Nicolas</c:v>
                  </c:pt>
                  <c:pt idx="6">
                    <c:v>Total</c:v>
                  </c:pt>
                  <c:pt idx="7">
                    <c:v>Nicolas</c:v>
                  </c:pt>
                  <c:pt idx="8">
                    <c:v>Total</c:v>
                  </c:pt>
                  <c:pt idx="9">
                    <c:v>Nicolas</c:v>
                  </c:pt>
                </c:lvl>
                <c:lvl>
                  <c:pt idx="0">
                    <c:v>Bruts</c:v>
                  </c:pt>
                  <c:pt idx="2">
                    <c:v>Blanc De Blancs</c:v>
                  </c:pt>
                  <c:pt idx="4">
                    <c:v>Rosés</c:v>
                  </c:pt>
                  <c:pt idx="6">
                    <c:v>Millesimes</c:v>
                  </c:pt>
                  <c:pt idx="8">
                    <c:v>Crus</c:v>
                  </c:pt>
                </c:lvl>
              </c:multiLvlStrCache>
            </c:multiLvlStrRef>
          </c:cat>
          <c:val>
            <c:numRef>
              <c:f>Sheet1!$D$2:$D$11</c:f>
              <c:numCache>
                <c:formatCode>General</c:formatCode>
                <c:ptCount val="10"/>
                <c:pt idx="0">
                  <c:v>53.777200000000001</c:v>
                </c:pt>
                <c:pt idx="1">
                  <c:v>29.4495</c:v>
                </c:pt>
                <c:pt idx="2">
                  <c:v>103.51739999999999</c:v>
                </c:pt>
                <c:pt idx="3">
                  <c:v>54.569200000000002</c:v>
                </c:pt>
                <c:pt idx="4">
                  <c:v>86.603999999999999</c:v>
                </c:pt>
                <c:pt idx="5">
                  <c:v>37.9148</c:v>
                </c:pt>
                <c:pt idx="6">
                  <c:v>208.25470000000001</c:v>
                </c:pt>
                <c:pt idx="7">
                  <c:v>0</c:v>
                </c:pt>
                <c:pt idx="8">
                  <c:v>39.921300000000002</c:v>
                </c:pt>
                <c:pt idx="9">
                  <c:v>43.948900000000002</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B-F95C-467A-9E5D-76941A276E0F}"/>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1"/>
            <c:bubble3D val="0"/>
            <c:spPr>
              <a:solidFill>
                <a:srgbClr val="AEABAB"/>
              </a:solidFill>
              <a:ln>
                <a:noFill/>
              </a:ln>
              <a:effectLst/>
            </c:spPr>
            <c:extLst>
              <c:ext xmlns:c16="http://schemas.microsoft.com/office/drawing/2014/chart" uri="{C3380CC4-5D6E-409C-BE32-E72D297353CC}">
                <c16:uniqueId val="{0000001D-F95C-467A-9E5D-76941A276E0F}"/>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Nicolas</c:v>
                  </c:pt>
                  <c:pt idx="2">
                    <c:v>Total</c:v>
                  </c:pt>
                  <c:pt idx="3">
                    <c:v>Nicolas</c:v>
                  </c:pt>
                  <c:pt idx="4">
                    <c:v>Total</c:v>
                  </c:pt>
                  <c:pt idx="5">
                    <c:v>Nicolas</c:v>
                  </c:pt>
                  <c:pt idx="6">
                    <c:v>Total</c:v>
                  </c:pt>
                  <c:pt idx="7">
                    <c:v>Nicolas</c:v>
                  </c:pt>
                  <c:pt idx="8">
                    <c:v>Total</c:v>
                  </c:pt>
                  <c:pt idx="9">
                    <c:v>Nicolas</c:v>
                  </c:pt>
                </c:lvl>
                <c:lvl>
                  <c:pt idx="0">
                    <c:v>Bruts</c:v>
                  </c:pt>
                  <c:pt idx="2">
                    <c:v>Blanc De Blancs</c:v>
                  </c:pt>
                  <c:pt idx="4">
                    <c:v>Rosés</c:v>
                  </c:pt>
                  <c:pt idx="6">
                    <c:v>Crus</c:v>
                  </c:pt>
                  <c:pt idx="8">
                    <c:v>Extra Brut</c:v>
                  </c:pt>
                </c:lvl>
              </c:multiLvlStrCache>
            </c:multiLvlStrRef>
          </c:cat>
          <c:val>
            <c:numRef>
              <c:f>Sheet1!$C$2:$C$11</c:f>
              <c:numCache>
                <c:formatCode>General</c:formatCode>
                <c:ptCount val="10"/>
                <c:pt idx="0">
                  <c:v>6.2</c:v>
                </c:pt>
                <c:pt idx="1">
                  <c:v>0.7</c:v>
                </c:pt>
                <c:pt idx="2">
                  <c:v>1</c:v>
                </c:pt>
                <c:pt idx="3">
                  <c:v>0.1</c:v>
                </c:pt>
                <c:pt idx="4">
                  <c:v>0.6</c:v>
                </c:pt>
                <c:pt idx="5">
                  <c:v>0.1</c:v>
                </c:pt>
                <c:pt idx="6">
                  <c:v>0.4</c:v>
                </c:pt>
                <c:pt idx="7">
                  <c:v>0</c:v>
                </c:pt>
                <c:pt idx="8">
                  <c:v>0.3</c:v>
                </c:pt>
                <c:pt idx="9">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52.2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F95C-467A-9E5D-76941A276E0F}"/>
                </c:ext>
              </c:extLst>
            </c:dLbl>
            <c:dLbl>
              <c:idx val="1"/>
              <c:tx>
                <c:rich>
                  <a:bodyPr/>
                  <a:lstStyle/>
                  <a:p>
                    <a:r>
                      <a:t>29.4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F95C-467A-9E5D-76941A276E0F}"/>
                </c:ext>
              </c:extLst>
            </c:dLbl>
            <c:dLbl>
              <c:idx val="2"/>
              <c:tx>
                <c:rich>
                  <a:bodyPr/>
                  <a:lstStyle/>
                  <a:p>
                    <a:r>
                      <a:t>96.4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F95C-467A-9E5D-76941A276E0F}"/>
                </c:ext>
              </c:extLst>
            </c:dLbl>
            <c:dLbl>
              <c:idx val="3"/>
              <c:tx>
                <c:rich>
                  <a:bodyPr/>
                  <a:lstStyle/>
                  <a:p>
                    <a:r>
                      <a:t>54.1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F95C-467A-9E5D-76941A276E0F}"/>
                </c:ext>
              </c:extLst>
            </c:dLbl>
            <c:dLbl>
              <c:idx val="4"/>
              <c:tx>
                <c:rich>
                  <a:bodyPr/>
                  <a:lstStyle/>
                  <a:p>
                    <a:r>
                      <a:t>71.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F95C-467A-9E5D-76941A276E0F}"/>
                </c:ext>
              </c:extLst>
            </c:dLbl>
            <c:dLbl>
              <c:idx val="5"/>
              <c:tx>
                <c:rich>
                  <a:bodyPr/>
                  <a:lstStyle/>
                  <a:p>
                    <a:r>
                      <a:t>38.4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F95C-467A-9E5D-76941A276E0F}"/>
                </c:ext>
              </c:extLst>
            </c:dLbl>
            <c:dLbl>
              <c:idx val="6"/>
              <c:tx>
                <c:rich>
                  <a:bodyPr/>
                  <a:lstStyle/>
                  <a:p>
                    <a:r>
                      <a:t>4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F95C-467A-9E5D-76941A276E0F}"/>
                </c:ext>
              </c:extLst>
            </c:dLbl>
            <c:dLbl>
              <c:idx val="7"/>
              <c:tx>
                <c:rich>
                  <a:bodyPr/>
                  <a:lstStyle/>
                  <a:p>
                    <a:r>
                      <a:t>43.6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F95C-467A-9E5D-76941A276E0F}"/>
                </c:ext>
              </c:extLst>
            </c:dLbl>
            <c:dLbl>
              <c:idx val="8"/>
              <c:tx>
                <c:rich>
                  <a:bodyPr/>
                  <a:lstStyle/>
                  <a:p>
                    <a:r>
                      <a:t>44.6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F95C-467A-9E5D-76941A276E0F}"/>
                </c:ext>
              </c:extLst>
            </c:dLbl>
            <c:dLbl>
              <c:idx val="9"/>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F95C-467A-9E5D-76941A276E0F}"/>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Nicolas</c:v>
                  </c:pt>
                  <c:pt idx="2">
                    <c:v>Total</c:v>
                  </c:pt>
                  <c:pt idx="3">
                    <c:v>Nicolas</c:v>
                  </c:pt>
                  <c:pt idx="4">
                    <c:v>Total</c:v>
                  </c:pt>
                  <c:pt idx="5">
                    <c:v>Nicolas</c:v>
                  </c:pt>
                  <c:pt idx="6">
                    <c:v>Total</c:v>
                  </c:pt>
                  <c:pt idx="7">
                    <c:v>Nicolas</c:v>
                  </c:pt>
                  <c:pt idx="8">
                    <c:v>Total</c:v>
                  </c:pt>
                  <c:pt idx="9">
                    <c:v>Nicolas</c:v>
                  </c:pt>
                </c:lvl>
                <c:lvl>
                  <c:pt idx="0">
                    <c:v>Bruts</c:v>
                  </c:pt>
                  <c:pt idx="2">
                    <c:v>Blanc De Blancs</c:v>
                  </c:pt>
                  <c:pt idx="4">
                    <c:v>Rosés</c:v>
                  </c:pt>
                  <c:pt idx="6">
                    <c:v>Crus</c:v>
                  </c:pt>
                  <c:pt idx="8">
                    <c:v>Extra Brut</c:v>
                  </c:pt>
                </c:lvl>
              </c:multiLvlStrCache>
            </c:multiLvlStrRef>
          </c:cat>
          <c:val>
            <c:numRef>
              <c:f>Sheet1!$D$2:$D$11</c:f>
              <c:numCache>
                <c:formatCode>General</c:formatCode>
                <c:ptCount val="10"/>
                <c:pt idx="0">
                  <c:v>52.288400000000003</c:v>
                </c:pt>
                <c:pt idx="1">
                  <c:v>29.443300000000001</c:v>
                </c:pt>
                <c:pt idx="2">
                  <c:v>96.4328</c:v>
                </c:pt>
                <c:pt idx="3">
                  <c:v>54.148600000000002</c:v>
                </c:pt>
                <c:pt idx="4">
                  <c:v>71.403099999999995</c:v>
                </c:pt>
                <c:pt idx="5">
                  <c:v>38.486699999999999</c:v>
                </c:pt>
                <c:pt idx="6">
                  <c:v>40.002000000000002</c:v>
                </c:pt>
                <c:pt idx="7">
                  <c:v>43.6907</c:v>
                </c:pt>
                <c:pt idx="8">
                  <c:v>44.6783</c:v>
                </c:pt>
                <c:pt idx="9">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B-2EA0-4372-9A4A-8DED37AD3AE2}"/>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1"/>
            <c:bubble3D val="0"/>
            <c:spPr>
              <a:solidFill>
                <a:srgbClr val="AEABAB"/>
              </a:solidFill>
              <a:ln>
                <a:noFill/>
              </a:ln>
              <a:effectLst/>
            </c:spPr>
            <c:extLst>
              <c:ext xmlns:c16="http://schemas.microsoft.com/office/drawing/2014/chart" uri="{C3380CC4-5D6E-409C-BE32-E72D297353CC}">
                <c16:uniqueId val="{0000001D-2EA0-4372-9A4A-8DED37AD3AE2}"/>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Nicolas</c:v>
                  </c:pt>
                  <c:pt idx="2">
                    <c:v>Total</c:v>
                  </c:pt>
                  <c:pt idx="3">
                    <c:v>Nicolas</c:v>
                  </c:pt>
                  <c:pt idx="4">
                    <c:v>Total</c:v>
                  </c:pt>
                  <c:pt idx="5">
                    <c:v>Nicolas</c:v>
                  </c:pt>
                  <c:pt idx="6">
                    <c:v>Total</c:v>
                  </c:pt>
                  <c:pt idx="7">
                    <c:v>Nicolas</c:v>
                  </c:pt>
                  <c:pt idx="8">
                    <c:v>Total</c:v>
                  </c:pt>
                  <c:pt idx="9">
                    <c:v>Nicolas</c:v>
                  </c:pt>
                </c:lvl>
                <c:lvl>
                  <c:pt idx="0">
                    <c:v>Bruts</c:v>
                  </c:pt>
                  <c:pt idx="2">
                    <c:v>Blanc De Blancs</c:v>
                  </c:pt>
                  <c:pt idx="4">
                    <c:v>Rosés</c:v>
                  </c:pt>
                  <c:pt idx="6">
                    <c:v>Crus</c:v>
                  </c:pt>
                  <c:pt idx="8">
                    <c:v>Extra Brut</c:v>
                  </c:pt>
                </c:lvl>
              </c:multiLvlStrCache>
            </c:multiLvlStrRef>
          </c:cat>
          <c:val>
            <c:numRef>
              <c:f>Sheet1!$C$2:$C$11</c:f>
              <c:numCache>
                <c:formatCode>General</c:formatCode>
                <c:ptCount val="10"/>
                <c:pt idx="0">
                  <c:v>9.4</c:v>
                </c:pt>
                <c:pt idx="1">
                  <c:v>1.1000000000000001</c:v>
                </c:pt>
                <c:pt idx="2">
                  <c:v>1.7</c:v>
                </c:pt>
                <c:pt idx="3">
                  <c:v>0.1</c:v>
                </c:pt>
                <c:pt idx="4">
                  <c:v>0.9</c:v>
                </c:pt>
                <c:pt idx="5">
                  <c:v>0.1</c:v>
                </c:pt>
                <c:pt idx="6">
                  <c:v>0.6</c:v>
                </c:pt>
                <c:pt idx="7">
                  <c:v>0</c:v>
                </c:pt>
                <c:pt idx="8">
                  <c:v>0.5</c:v>
                </c:pt>
                <c:pt idx="9">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51.9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2EA0-4372-9A4A-8DED37AD3AE2}"/>
                </c:ext>
              </c:extLst>
            </c:dLbl>
            <c:dLbl>
              <c:idx val="1"/>
              <c:tx>
                <c:rich>
                  <a:bodyPr/>
                  <a:lstStyle/>
                  <a:p>
                    <a:r>
                      <a:t>29.5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2EA0-4372-9A4A-8DED37AD3AE2}"/>
                </c:ext>
              </c:extLst>
            </c:dLbl>
            <c:dLbl>
              <c:idx val="2"/>
              <c:tx>
                <c:rich>
                  <a:bodyPr/>
                  <a:lstStyle/>
                  <a:p>
                    <a:r>
                      <a:t>95.0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2EA0-4372-9A4A-8DED37AD3AE2}"/>
                </c:ext>
              </c:extLst>
            </c:dLbl>
            <c:dLbl>
              <c:idx val="3"/>
              <c:tx>
                <c:rich>
                  <a:bodyPr/>
                  <a:lstStyle/>
                  <a:p>
                    <a:r>
                      <a:t>55.4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2EA0-4372-9A4A-8DED37AD3AE2}"/>
                </c:ext>
              </c:extLst>
            </c:dLbl>
            <c:dLbl>
              <c:idx val="4"/>
              <c:tx>
                <c:rich>
                  <a:bodyPr/>
                  <a:lstStyle/>
                  <a:p>
                    <a:r>
                      <a:t>71.4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2EA0-4372-9A4A-8DED37AD3AE2}"/>
                </c:ext>
              </c:extLst>
            </c:dLbl>
            <c:dLbl>
              <c:idx val="5"/>
              <c:tx>
                <c:rich>
                  <a:bodyPr/>
                  <a:lstStyle/>
                  <a:p>
                    <a:r>
                      <a:t>38.7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2EA0-4372-9A4A-8DED37AD3AE2}"/>
                </c:ext>
              </c:extLst>
            </c:dLbl>
            <c:dLbl>
              <c:idx val="6"/>
              <c:tx>
                <c:rich>
                  <a:bodyPr/>
                  <a:lstStyle/>
                  <a:p>
                    <a:r>
                      <a:t>39.9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2EA0-4372-9A4A-8DED37AD3AE2}"/>
                </c:ext>
              </c:extLst>
            </c:dLbl>
            <c:dLbl>
              <c:idx val="7"/>
              <c:tx>
                <c:rich>
                  <a:bodyPr/>
                  <a:lstStyle/>
                  <a:p>
                    <a:r>
                      <a:t>43.7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2EA0-4372-9A4A-8DED37AD3AE2}"/>
                </c:ext>
              </c:extLst>
            </c:dLbl>
            <c:dLbl>
              <c:idx val="8"/>
              <c:tx>
                <c:rich>
                  <a:bodyPr/>
                  <a:lstStyle/>
                  <a:p>
                    <a:r>
                      <a:t>44.0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2EA0-4372-9A4A-8DED37AD3AE2}"/>
                </c:ext>
              </c:extLst>
            </c:dLbl>
            <c:dLbl>
              <c:idx val="9"/>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2EA0-4372-9A4A-8DED37AD3AE2}"/>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Nicolas</c:v>
                  </c:pt>
                  <c:pt idx="2">
                    <c:v>Total</c:v>
                  </c:pt>
                  <c:pt idx="3">
                    <c:v>Nicolas</c:v>
                  </c:pt>
                  <c:pt idx="4">
                    <c:v>Total</c:v>
                  </c:pt>
                  <c:pt idx="5">
                    <c:v>Nicolas</c:v>
                  </c:pt>
                  <c:pt idx="6">
                    <c:v>Total</c:v>
                  </c:pt>
                  <c:pt idx="7">
                    <c:v>Nicolas</c:v>
                  </c:pt>
                  <c:pt idx="8">
                    <c:v>Total</c:v>
                  </c:pt>
                  <c:pt idx="9">
                    <c:v>Nicolas</c:v>
                  </c:pt>
                </c:lvl>
                <c:lvl>
                  <c:pt idx="0">
                    <c:v>Bruts</c:v>
                  </c:pt>
                  <c:pt idx="2">
                    <c:v>Blanc De Blancs</c:v>
                  </c:pt>
                  <c:pt idx="4">
                    <c:v>Rosés</c:v>
                  </c:pt>
                  <c:pt idx="6">
                    <c:v>Crus</c:v>
                  </c:pt>
                  <c:pt idx="8">
                    <c:v>Extra Brut</c:v>
                  </c:pt>
                </c:lvl>
              </c:multiLvlStrCache>
            </c:multiLvlStrRef>
          </c:cat>
          <c:val>
            <c:numRef>
              <c:f>Sheet1!$D$2:$D$11</c:f>
              <c:numCache>
                <c:formatCode>General</c:formatCode>
                <c:ptCount val="10"/>
                <c:pt idx="0">
                  <c:v>51.913600000000002</c:v>
                </c:pt>
                <c:pt idx="1">
                  <c:v>29.5412</c:v>
                </c:pt>
                <c:pt idx="2">
                  <c:v>95.071700000000007</c:v>
                </c:pt>
                <c:pt idx="3">
                  <c:v>55.407800000000002</c:v>
                </c:pt>
                <c:pt idx="4">
                  <c:v>71.443700000000007</c:v>
                </c:pt>
                <c:pt idx="5">
                  <c:v>38.719799999999999</c:v>
                </c:pt>
                <c:pt idx="6">
                  <c:v>39.950000000000003</c:v>
                </c:pt>
                <c:pt idx="7">
                  <c:v>43.762900000000002</c:v>
                </c:pt>
                <c:pt idx="8">
                  <c:v>44.064500000000002</c:v>
                </c:pt>
                <c:pt idx="9">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B-92E4-4666-8DA2-0ACDB3A11795}"/>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1"/>
            <c:bubble3D val="0"/>
            <c:spPr>
              <a:solidFill>
                <a:srgbClr val="AEABAB"/>
              </a:solidFill>
              <a:ln>
                <a:noFill/>
              </a:ln>
              <a:effectLst/>
            </c:spPr>
            <c:extLst>
              <c:ext xmlns:c16="http://schemas.microsoft.com/office/drawing/2014/chart" uri="{C3380CC4-5D6E-409C-BE32-E72D297353CC}">
                <c16:uniqueId val="{0000001D-92E4-4666-8DA2-0ACDB3A11795}"/>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Nicolas</c:v>
                  </c:pt>
                  <c:pt idx="2">
                    <c:v>Total</c:v>
                  </c:pt>
                  <c:pt idx="3">
                    <c:v>Nicolas</c:v>
                  </c:pt>
                  <c:pt idx="4">
                    <c:v>Total</c:v>
                  </c:pt>
                  <c:pt idx="5">
                    <c:v>Nicolas</c:v>
                  </c:pt>
                  <c:pt idx="6">
                    <c:v>Total</c:v>
                  </c:pt>
                  <c:pt idx="7">
                    <c:v>Nicolas</c:v>
                  </c:pt>
                  <c:pt idx="8">
                    <c:v>Total</c:v>
                  </c:pt>
                  <c:pt idx="9">
                    <c:v>Nicolas</c:v>
                  </c:pt>
                </c:lvl>
                <c:lvl>
                  <c:pt idx="0">
                    <c:v>Bruts</c:v>
                  </c:pt>
                  <c:pt idx="2">
                    <c:v>Blanc De Blancs</c:v>
                  </c:pt>
                  <c:pt idx="4">
                    <c:v>Rosés</c:v>
                  </c:pt>
                  <c:pt idx="6">
                    <c:v>Crus</c:v>
                  </c:pt>
                  <c:pt idx="8">
                    <c:v>Extra Brut</c:v>
                  </c:pt>
                </c:lvl>
              </c:multiLvlStrCache>
            </c:multiLvlStrRef>
          </c:cat>
          <c:val>
            <c:numRef>
              <c:f>Sheet1!$C$2:$C$11</c:f>
              <c:numCache>
                <c:formatCode>General</c:formatCode>
                <c:ptCount val="10"/>
                <c:pt idx="0">
                  <c:v>7.6</c:v>
                </c:pt>
                <c:pt idx="1">
                  <c:v>0.8</c:v>
                </c:pt>
                <c:pt idx="2">
                  <c:v>1.4</c:v>
                </c:pt>
                <c:pt idx="3">
                  <c:v>0.1</c:v>
                </c:pt>
                <c:pt idx="4">
                  <c:v>0.7</c:v>
                </c:pt>
                <c:pt idx="5">
                  <c:v>0.1</c:v>
                </c:pt>
                <c:pt idx="6">
                  <c:v>0.6</c:v>
                </c:pt>
                <c:pt idx="7">
                  <c:v>0</c:v>
                </c:pt>
                <c:pt idx="8">
                  <c:v>0.4</c:v>
                </c:pt>
                <c:pt idx="9">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52.0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92E4-4666-8DA2-0ACDB3A11795}"/>
                </c:ext>
              </c:extLst>
            </c:dLbl>
            <c:dLbl>
              <c:idx val="1"/>
              <c:tx>
                <c:rich>
                  <a:bodyPr/>
                  <a:lstStyle/>
                  <a:p>
                    <a:r>
                      <a:t>29.7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92E4-4666-8DA2-0ACDB3A11795}"/>
                </c:ext>
              </c:extLst>
            </c:dLbl>
            <c:dLbl>
              <c:idx val="2"/>
              <c:tx>
                <c:rich>
                  <a:bodyPr/>
                  <a:lstStyle/>
                  <a:p>
                    <a:r>
                      <a:t>96.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92E4-4666-8DA2-0ACDB3A11795}"/>
                </c:ext>
              </c:extLst>
            </c:dLbl>
            <c:dLbl>
              <c:idx val="3"/>
              <c:tx>
                <c:rich>
                  <a:bodyPr/>
                  <a:lstStyle/>
                  <a:p>
                    <a:r>
                      <a:t>54.8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92E4-4666-8DA2-0ACDB3A11795}"/>
                </c:ext>
              </c:extLst>
            </c:dLbl>
            <c:dLbl>
              <c:idx val="4"/>
              <c:tx>
                <c:rich>
                  <a:bodyPr/>
                  <a:lstStyle/>
                  <a:p>
                    <a:r>
                      <a:t>70.8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92E4-4666-8DA2-0ACDB3A11795}"/>
                </c:ext>
              </c:extLst>
            </c:dLbl>
            <c:dLbl>
              <c:idx val="5"/>
              <c:tx>
                <c:rich>
                  <a:bodyPr/>
                  <a:lstStyle/>
                  <a:p>
                    <a:r>
                      <a:t>38.1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92E4-4666-8DA2-0ACDB3A11795}"/>
                </c:ext>
              </c:extLst>
            </c:dLbl>
            <c:dLbl>
              <c:idx val="6"/>
              <c:tx>
                <c:rich>
                  <a:bodyPr/>
                  <a:lstStyle/>
                  <a:p>
                    <a:r>
                      <a:t>40.0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92E4-4666-8DA2-0ACDB3A11795}"/>
                </c:ext>
              </c:extLst>
            </c:dLbl>
            <c:dLbl>
              <c:idx val="7"/>
              <c:tx>
                <c:rich>
                  <a:bodyPr/>
                  <a:lstStyle/>
                  <a:p>
                    <a:r>
                      <a:t>42.7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92E4-4666-8DA2-0ACDB3A11795}"/>
                </c:ext>
              </c:extLst>
            </c:dLbl>
            <c:dLbl>
              <c:idx val="8"/>
              <c:tx>
                <c:rich>
                  <a:bodyPr/>
                  <a:lstStyle/>
                  <a:p>
                    <a:r>
                      <a:t>44.0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92E4-4666-8DA2-0ACDB3A11795}"/>
                </c:ext>
              </c:extLst>
            </c:dLbl>
            <c:dLbl>
              <c:idx val="9"/>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92E4-4666-8DA2-0ACDB3A11795}"/>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Nicolas</c:v>
                  </c:pt>
                  <c:pt idx="2">
                    <c:v>Total</c:v>
                  </c:pt>
                  <c:pt idx="3">
                    <c:v>Nicolas</c:v>
                  </c:pt>
                  <c:pt idx="4">
                    <c:v>Total</c:v>
                  </c:pt>
                  <c:pt idx="5">
                    <c:v>Nicolas</c:v>
                  </c:pt>
                  <c:pt idx="6">
                    <c:v>Total</c:v>
                  </c:pt>
                  <c:pt idx="7">
                    <c:v>Nicolas</c:v>
                  </c:pt>
                  <c:pt idx="8">
                    <c:v>Total</c:v>
                  </c:pt>
                  <c:pt idx="9">
                    <c:v>Nicolas</c:v>
                  </c:pt>
                </c:lvl>
                <c:lvl>
                  <c:pt idx="0">
                    <c:v>Bruts</c:v>
                  </c:pt>
                  <c:pt idx="2">
                    <c:v>Blanc De Blancs</c:v>
                  </c:pt>
                  <c:pt idx="4">
                    <c:v>Rosés</c:v>
                  </c:pt>
                  <c:pt idx="6">
                    <c:v>Crus</c:v>
                  </c:pt>
                  <c:pt idx="8">
                    <c:v>Extra Brut</c:v>
                  </c:pt>
                </c:lvl>
              </c:multiLvlStrCache>
            </c:multiLvlStrRef>
          </c:cat>
          <c:val>
            <c:numRef>
              <c:f>Sheet1!$D$2:$D$11</c:f>
              <c:numCache>
                <c:formatCode>General</c:formatCode>
                <c:ptCount val="10"/>
                <c:pt idx="0">
                  <c:v>52.087000000000003</c:v>
                </c:pt>
                <c:pt idx="1">
                  <c:v>29.7624</c:v>
                </c:pt>
                <c:pt idx="2">
                  <c:v>96.240099999999998</c:v>
                </c:pt>
                <c:pt idx="3">
                  <c:v>54.806699999999999</c:v>
                </c:pt>
                <c:pt idx="4">
                  <c:v>70.820599999999999</c:v>
                </c:pt>
                <c:pt idx="5">
                  <c:v>38.188899999999997</c:v>
                </c:pt>
                <c:pt idx="6">
                  <c:v>40.056399999999996</c:v>
                </c:pt>
                <c:pt idx="7">
                  <c:v>42.754899999999999</c:v>
                </c:pt>
                <c:pt idx="8">
                  <c:v>44.022100000000002</c:v>
                </c:pt>
                <c:pt idx="9">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B-BA3B-4C4F-B1DD-DB14D44BAA10}"/>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1"/>
            <c:bubble3D val="0"/>
            <c:spPr>
              <a:solidFill>
                <a:srgbClr val="AEABAB"/>
              </a:solidFill>
              <a:ln>
                <a:noFill/>
              </a:ln>
              <a:effectLst/>
            </c:spPr>
            <c:extLst>
              <c:ext xmlns:c16="http://schemas.microsoft.com/office/drawing/2014/chart" uri="{C3380CC4-5D6E-409C-BE32-E72D297353CC}">
                <c16:uniqueId val="{0000001D-BA3B-4C4F-B1DD-DB14D44BAA10}"/>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Nicolas</c:v>
                  </c:pt>
                  <c:pt idx="2">
                    <c:v>Total</c:v>
                  </c:pt>
                  <c:pt idx="3">
                    <c:v>Nicolas</c:v>
                  </c:pt>
                  <c:pt idx="4">
                    <c:v>Total</c:v>
                  </c:pt>
                  <c:pt idx="5">
                    <c:v>Nicolas</c:v>
                  </c:pt>
                  <c:pt idx="6">
                    <c:v>Total</c:v>
                  </c:pt>
                  <c:pt idx="7">
                    <c:v>Nicolas</c:v>
                  </c:pt>
                  <c:pt idx="8">
                    <c:v>Total</c:v>
                  </c:pt>
                  <c:pt idx="9">
                    <c:v>Nicolas</c:v>
                  </c:pt>
                </c:lvl>
                <c:lvl>
                  <c:pt idx="0">
                    <c:v>Bruts</c:v>
                  </c:pt>
                  <c:pt idx="2">
                    <c:v>Blanc De Blancs</c:v>
                  </c:pt>
                  <c:pt idx="4">
                    <c:v>Rosés</c:v>
                  </c:pt>
                  <c:pt idx="6">
                    <c:v>Crus</c:v>
                  </c:pt>
                  <c:pt idx="8">
                    <c:v>Extra Brut</c:v>
                  </c:pt>
                </c:lvl>
              </c:multiLvlStrCache>
            </c:multiLvlStrRef>
          </c:cat>
          <c:val>
            <c:numRef>
              <c:f>Sheet1!$C$2:$C$11</c:f>
              <c:numCache>
                <c:formatCode>General</c:formatCode>
                <c:ptCount val="10"/>
                <c:pt idx="0">
                  <c:v>6.9</c:v>
                </c:pt>
                <c:pt idx="1">
                  <c:v>0.8</c:v>
                </c:pt>
                <c:pt idx="2">
                  <c:v>1.3</c:v>
                </c:pt>
                <c:pt idx="3">
                  <c:v>0.1</c:v>
                </c:pt>
                <c:pt idx="4">
                  <c:v>0.6</c:v>
                </c:pt>
                <c:pt idx="5">
                  <c:v>0.1</c:v>
                </c:pt>
                <c:pt idx="6">
                  <c:v>0.5</c:v>
                </c:pt>
                <c:pt idx="7">
                  <c:v>0</c:v>
                </c:pt>
                <c:pt idx="8">
                  <c:v>0.3</c:v>
                </c:pt>
                <c:pt idx="9">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51.5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BA3B-4C4F-B1DD-DB14D44BAA10}"/>
                </c:ext>
              </c:extLst>
            </c:dLbl>
            <c:dLbl>
              <c:idx val="1"/>
              <c:tx>
                <c:rich>
                  <a:bodyPr/>
                  <a:lstStyle/>
                  <a:p>
                    <a:r>
                      <a:t>29.5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BA3B-4C4F-B1DD-DB14D44BAA10}"/>
                </c:ext>
              </c:extLst>
            </c:dLbl>
            <c:dLbl>
              <c:idx val="2"/>
              <c:tx>
                <c:rich>
                  <a:bodyPr/>
                  <a:lstStyle/>
                  <a:p>
                    <a:r>
                      <a:t>91.7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BA3B-4C4F-B1DD-DB14D44BAA10}"/>
                </c:ext>
              </c:extLst>
            </c:dLbl>
            <c:dLbl>
              <c:idx val="3"/>
              <c:tx>
                <c:rich>
                  <a:bodyPr/>
                  <a:lstStyle/>
                  <a:p>
                    <a:r>
                      <a:t>54.8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BA3B-4C4F-B1DD-DB14D44BAA10}"/>
                </c:ext>
              </c:extLst>
            </c:dLbl>
            <c:dLbl>
              <c:idx val="4"/>
              <c:tx>
                <c:rich>
                  <a:bodyPr/>
                  <a:lstStyle/>
                  <a:p>
                    <a:r>
                      <a:t>69.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BA3B-4C4F-B1DD-DB14D44BAA10}"/>
                </c:ext>
              </c:extLst>
            </c:dLbl>
            <c:dLbl>
              <c:idx val="5"/>
              <c:tx>
                <c:rich>
                  <a:bodyPr/>
                  <a:lstStyle/>
                  <a:p>
                    <a:r>
                      <a:t>37.5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BA3B-4C4F-B1DD-DB14D44BAA10}"/>
                </c:ext>
              </c:extLst>
            </c:dLbl>
            <c:dLbl>
              <c:idx val="6"/>
              <c:tx>
                <c:rich>
                  <a:bodyPr/>
                  <a:lstStyle/>
                  <a:p>
                    <a:r>
                      <a:t>40.0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BA3B-4C4F-B1DD-DB14D44BAA10}"/>
                </c:ext>
              </c:extLst>
            </c:dLbl>
            <c:dLbl>
              <c:idx val="7"/>
              <c:tx>
                <c:rich>
                  <a:bodyPr/>
                  <a:lstStyle/>
                  <a:p>
                    <a:r>
                      <a:t>42.4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BA3B-4C4F-B1DD-DB14D44BAA10}"/>
                </c:ext>
              </c:extLst>
            </c:dLbl>
            <c:dLbl>
              <c:idx val="8"/>
              <c:tx>
                <c:rich>
                  <a:bodyPr/>
                  <a:lstStyle/>
                  <a:p>
                    <a:r>
                      <a:t>44.4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BA3B-4C4F-B1DD-DB14D44BAA10}"/>
                </c:ext>
              </c:extLst>
            </c:dLbl>
            <c:dLbl>
              <c:idx val="9"/>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BA3B-4C4F-B1DD-DB14D44BAA10}"/>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Nicolas</c:v>
                  </c:pt>
                  <c:pt idx="2">
                    <c:v>Total</c:v>
                  </c:pt>
                  <c:pt idx="3">
                    <c:v>Nicolas</c:v>
                  </c:pt>
                  <c:pt idx="4">
                    <c:v>Total</c:v>
                  </c:pt>
                  <c:pt idx="5">
                    <c:v>Nicolas</c:v>
                  </c:pt>
                  <c:pt idx="6">
                    <c:v>Total</c:v>
                  </c:pt>
                  <c:pt idx="7">
                    <c:v>Nicolas</c:v>
                  </c:pt>
                  <c:pt idx="8">
                    <c:v>Total</c:v>
                  </c:pt>
                  <c:pt idx="9">
                    <c:v>Nicolas</c:v>
                  </c:pt>
                </c:lvl>
                <c:lvl>
                  <c:pt idx="0">
                    <c:v>Bruts</c:v>
                  </c:pt>
                  <c:pt idx="2">
                    <c:v>Blanc De Blancs</c:v>
                  </c:pt>
                  <c:pt idx="4">
                    <c:v>Rosés</c:v>
                  </c:pt>
                  <c:pt idx="6">
                    <c:v>Crus</c:v>
                  </c:pt>
                  <c:pt idx="8">
                    <c:v>Extra Brut</c:v>
                  </c:pt>
                </c:lvl>
              </c:multiLvlStrCache>
            </c:multiLvlStrRef>
          </c:cat>
          <c:val>
            <c:numRef>
              <c:f>Sheet1!$D$2:$D$11</c:f>
              <c:numCache>
                <c:formatCode>General</c:formatCode>
                <c:ptCount val="10"/>
                <c:pt idx="0">
                  <c:v>51.553199999999997</c:v>
                </c:pt>
                <c:pt idx="1">
                  <c:v>29.5824</c:v>
                </c:pt>
                <c:pt idx="2">
                  <c:v>91.7941</c:v>
                </c:pt>
                <c:pt idx="3">
                  <c:v>54.840200000000003</c:v>
                </c:pt>
                <c:pt idx="4">
                  <c:v>69.801000000000002</c:v>
                </c:pt>
                <c:pt idx="5">
                  <c:v>37.558</c:v>
                </c:pt>
                <c:pt idx="6">
                  <c:v>40.034799999999997</c:v>
                </c:pt>
                <c:pt idx="7">
                  <c:v>42.422400000000003</c:v>
                </c:pt>
                <c:pt idx="8">
                  <c:v>44.418100000000003</c:v>
                </c:pt>
                <c:pt idx="9">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179508B-7147-4104-8412-A7C5E965443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DA7ABC5-7BB0-45D9-A453-720F98EF156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02D68E3-ACA7-4172-BF7C-80176E76F2B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0129D39-0EDF-40B2-A915-83C1519415D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BB78CF3-A69D-4628-BE89-1C520D604AF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4FF55DF-8A4C-416E-AC9B-73C327DEE68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405E871E-CCCF-4A99-A701-56B39592B9A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109FA25A-0FE4-4C19-A76A-C1F7DE67103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64.93470000000002</c:v>
                </c:pt>
                <c:pt idx="1">
                  <c:v>172.66370000000001</c:v>
                </c:pt>
                <c:pt idx="2">
                  <c:v>94.635300000000001</c:v>
                </c:pt>
                <c:pt idx="3">
                  <c:v>37.6342</c:v>
                </c:pt>
                <c:pt idx="4">
                  <c:v>243.43379999999999</c:v>
                </c:pt>
                <c:pt idx="5">
                  <c:v>64.109499999999997</c:v>
                </c:pt>
                <c:pt idx="6">
                  <c:v>270.57780000000002</c:v>
                </c:pt>
                <c:pt idx="7">
                  <c:v>271.76560000000001</c:v>
                </c:pt>
              </c:numCache>
            </c:numRef>
          </c:xVal>
          <c:yVal>
            <c:numRef>
              <c:f>Sheet1!$B$2:$B$9</c:f>
              <c:numCache>
                <c:formatCode>General</c:formatCode>
                <c:ptCount val="8"/>
                <c:pt idx="0">
                  <c:v>1.9019999999999999</c:v>
                </c:pt>
                <c:pt idx="1">
                  <c:v>1.1839999999999999</c:v>
                </c:pt>
                <c:pt idx="2">
                  <c:v>0.66300000000000003</c:v>
                </c:pt>
                <c:pt idx="3">
                  <c:v>0.27600000000000002</c:v>
                </c:pt>
                <c:pt idx="4">
                  <c:v>1.5860000000000001</c:v>
                </c:pt>
                <c:pt idx="5">
                  <c:v>0.45400000000000001</c:v>
                </c:pt>
                <c:pt idx="6">
                  <c:v>1.663</c:v>
                </c:pt>
                <c:pt idx="7">
                  <c:v>1.597</c:v>
                </c:pt>
              </c:numCache>
            </c:numRef>
          </c:yVal>
          <c:bubbleSize>
            <c:numRef>
              <c:f>Sheet1!$C$2:$C$9</c:f>
              <c:numCache>
                <c:formatCode>General</c:formatCode>
                <c:ptCount val="8"/>
                <c:pt idx="0">
                  <c:v>1127827</c:v>
                </c:pt>
                <c:pt idx="1">
                  <c:v>629014</c:v>
                </c:pt>
                <c:pt idx="2">
                  <c:v>247282</c:v>
                </c:pt>
                <c:pt idx="3">
                  <c:v>189300</c:v>
                </c:pt>
                <c:pt idx="4">
                  <c:v>79116</c:v>
                </c:pt>
                <c:pt idx="5">
                  <c:v>72572</c:v>
                </c:pt>
                <c:pt idx="6">
                  <c:v>36528</c:v>
                </c:pt>
                <c:pt idx="7">
                  <c:v>34786</c:v>
                </c:pt>
              </c:numCache>
            </c:numRef>
          </c:bubbleSize>
          <c:bubble3D val="0"/>
          <c:extLst>
            <c:ext xmlns:c15="http://schemas.microsoft.com/office/drawing/2012/chart" uri="{02D57815-91ED-43cb-92C2-25804820EDAC}">
              <c15:datalabelsRange>
                <c15:f>Sheet1!$E$2:$E$10</c15:f>
                <c15:dlblRangeCache>
                  <c:ptCount val="9"/>
                  <c:pt idx="0">
                    <c:v>Dom Perignon</c:v>
                  </c:pt>
                  <c:pt idx="1">
                    <c:v>Roederer</c:v>
                  </c:pt>
                  <c:pt idx="2">
                    <c:v>Ruinart</c:v>
                  </c:pt>
                  <c:pt idx="3">
                    <c:v>Malard</c:v>
                  </c:pt>
                  <c:pt idx="4">
                    <c:v>Bollinger</c:v>
                  </c:pt>
                  <c:pt idx="5">
                    <c:v>Laurent Perrier</c:v>
                  </c:pt>
                  <c:pt idx="6">
                    <c:v>Piper Heidsieck</c:v>
                  </c:pt>
                  <c:pt idx="7">
                    <c:v>Perrier Jouet</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26"/>
          <c:min val="30"/>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57C8A2D0-3122-4985-B6FF-DBA30517CB8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1186183A-E06C-4926-9FD6-58E6122D63D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03CB8264-FF9A-4575-8A58-7707A1EE063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19CF9199-6691-4614-8876-8038156D545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F59DA215-DCD2-4C01-9F02-7ABDF51FA59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20AB306F-7306-4B3B-A87B-9924C3AA28C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FDF04EA6-3E50-4A1D-BCA3-FFFB2DE8201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9B75F72A-54DD-4C74-96C9-009D6879227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91.656199999999998</c:v>
                </c:pt>
                <c:pt idx="1">
                  <c:v>52.862900000000003</c:v>
                </c:pt>
                <c:pt idx="2">
                  <c:v>37.590600000000002</c:v>
                </c:pt>
                <c:pt idx="3">
                  <c:v>26.826699999999999</c:v>
                </c:pt>
                <c:pt idx="4">
                  <c:v>81.242900000000006</c:v>
                </c:pt>
                <c:pt idx="5">
                  <c:v>37.790300000000002</c:v>
                </c:pt>
                <c:pt idx="6">
                  <c:v>41.338299999999997</c:v>
                </c:pt>
                <c:pt idx="7">
                  <c:v>36.3018</c:v>
                </c:pt>
              </c:numCache>
            </c:numRef>
          </c:xVal>
          <c:yVal>
            <c:numRef>
              <c:f>Sheet1!$B$2:$B$9</c:f>
              <c:numCache>
                <c:formatCode>General</c:formatCode>
                <c:ptCount val="8"/>
                <c:pt idx="0">
                  <c:v>1.639</c:v>
                </c:pt>
                <c:pt idx="1">
                  <c:v>1.0529999999999999</c:v>
                </c:pt>
                <c:pt idx="2">
                  <c:v>0.66</c:v>
                </c:pt>
                <c:pt idx="3">
                  <c:v>0.504</c:v>
                </c:pt>
                <c:pt idx="4">
                  <c:v>1.421</c:v>
                </c:pt>
                <c:pt idx="5">
                  <c:v>0.66200000000000003</c:v>
                </c:pt>
                <c:pt idx="6">
                  <c:v>0.86399999999999999</c:v>
                </c:pt>
                <c:pt idx="7">
                  <c:v>0.63500000000000001</c:v>
                </c:pt>
              </c:numCache>
            </c:numRef>
          </c:yVal>
          <c:bubbleSize>
            <c:numRef>
              <c:f>Sheet1!$C$2:$C$9</c:f>
              <c:numCache>
                <c:formatCode>General</c:formatCode>
                <c:ptCount val="8"/>
                <c:pt idx="0">
                  <c:v>1262381</c:v>
                </c:pt>
                <c:pt idx="1">
                  <c:v>597932</c:v>
                </c:pt>
                <c:pt idx="2">
                  <c:v>431239</c:v>
                </c:pt>
                <c:pt idx="3">
                  <c:v>415089</c:v>
                </c:pt>
                <c:pt idx="4">
                  <c:v>398659</c:v>
                </c:pt>
                <c:pt idx="5">
                  <c:v>237021</c:v>
                </c:pt>
                <c:pt idx="6">
                  <c:v>204583</c:v>
                </c:pt>
                <c:pt idx="7">
                  <c:v>181255</c:v>
                </c:pt>
              </c:numCache>
            </c:numRef>
          </c:bubbleSize>
          <c:bubble3D val="0"/>
          <c:extLst>
            <c:ext xmlns:c15="http://schemas.microsoft.com/office/drawing/2012/chart" uri="{02D57815-91ED-43cb-92C2-25804820EDAC}">
              <c15:datalabelsRange>
                <c15:f>Sheet1!$E$2:$E$10</c15:f>
                <c15:dlblRangeCache>
                  <c:ptCount val="9"/>
                  <c:pt idx="0">
                    <c:v>Ruinart</c:v>
                  </c:pt>
                  <c:pt idx="1">
                    <c:v>Deutz</c:v>
                  </c:pt>
                  <c:pt idx="2">
                    <c:v>Demoiselle</c:v>
                  </c:pt>
                  <c:pt idx="3">
                    <c:v>Nicolas</c:v>
                  </c:pt>
                  <c:pt idx="4">
                    <c:v>Laurent Perrier</c:v>
                  </c:pt>
                  <c:pt idx="5">
                    <c:v>Nicolas Feuillatte</c:v>
                  </c:pt>
                  <c:pt idx="6">
                    <c:v>Besserat De Bellefon</c:v>
                  </c:pt>
                  <c:pt idx="7">
                    <c:v>Malard</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10"/>
          <c:min val="21"/>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B7464D1-FA43-4182-A563-4FEFDF78610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140120A-212E-45D0-BBA6-80651608D54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069F3ED-D4A9-47D9-99B5-DA376F96528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0C26C6F-A811-466E-813B-D6276635C96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0222522-8497-4A15-9B4F-A4BD545E36A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72BF481-29DA-4F99-AFFE-C1CFA2E1C12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B1B4B36-16A4-438C-8D5B-610AFFC8003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545CADC6-3A5D-4EE5-962E-F6E9FDB0D19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69.232299999999995</c:v>
                </c:pt>
                <c:pt idx="1">
                  <c:v>23.5748</c:v>
                </c:pt>
                <c:pt idx="2">
                  <c:v>49.180500000000002</c:v>
                </c:pt>
                <c:pt idx="3">
                  <c:v>51.747599999999998</c:v>
                </c:pt>
                <c:pt idx="4">
                  <c:v>31.525200000000002</c:v>
                </c:pt>
                <c:pt idx="5">
                  <c:v>32.7211</c:v>
                </c:pt>
                <c:pt idx="6">
                  <c:v>79.0989</c:v>
                </c:pt>
                <c:pt idx="7">
                  <c:v>29.301100000000002</c:v>
                </c:pt>
              </c:numCache>
            </c:numRef>
          </c:xVal>
          <c:yVal>
            <c:numRef>
              <c:f>Sheet1!$B$2:$B$9</c:f>
              <c:numCache>
                <c:formatCode>General</c:formatCode>
                <c:ptCount val="8"/>
                <c:pt idx="0">
                  <c:v>1.901</c:v>
                </c:pt>
                <c:pt idx="1">
                  <c:v>0.65600000000000003</c:v>
                </c:pt>
                <c:pt idx="2">
                  <c:v>1.3460000000000001</c:v>
                </c:pt>
                <c:pt idx="3">
                  <c:v>1.292</c:v>
                </c:pt>
                <c:pt idx="4">
                  <c:v>0.871</c:v>
                </c:pt>
                <c:pt idx="5">
                  <c:v>0.88700000000000001</c:v>
                </c:pt>
                <c:pt idx="6">
                  <c:v>2.2170000000000001</c:v>
                </c:pt>
                <c:pt idx="7">
                  <c:v>0.80900000000000005</c:v>
                </c:pt>
              </c:numCache>
            </c:numRef>
          </c:yVal>
          <c:bubbleSize>
            <c:numRef>
              <c:f>Sheet1!$C$2:$C$9</c:f>
              <c:numCache>
                <c:formatCode>General</c:formatCode>
                <c:ptCount val="8"/>
                <c:pt idx="0">
                  <c:v>10761127</c:v>
                </c:pt>
                <c:pt idx="1">
                  <c:v>3788985</c:v>
                </c:pt>
                <c:pt idx="2">
                  <c:v>3461768</c:v>
                </c:pt>
                <c:pt idx="3">
                  <c:v>2407818</c:v>
                </c:pt>
                <c:pt idx="4">
                  <c:v>2351274</c:v>
                </c:pt>
                <c:pt idx="5">
                  <c:v>1672046</c:v>
                </c:pt>
                <c:pt idx="6">
                  <c:v>1436753</c:v>
                </c:pt>
                <c:pt idx="7">
                  <c:v>1391478</c:v>
                </c:pt>
              </c:numCache>
            </c:numRef>
          </c:bubbleSize>
          <c:bubble3D val="0"/>
          <c:extLst>
            <c:ext xmlns:c15="http://schemas.microsoft.com/office/drawing/2012/chart" uri="{02D57815-91ED-43cb-92C2-25804820EDAC}">
              <c15:datalabelsRange>
                <c15:f>Sheet1!$E$2:$E$10</c15:f>
                <c15:dlblRangeCache>
                  <c:ptCount val="9"/>
                  <c:pt idx="0">
                    <c:v>Ruinart</c:v>
                  </c:pt>
                  <c:pt idx="1">
                    <c:v>Nicolas</c:v>
                  </c:pt>
                  <c:pt idx="2">
                    <c:v>Deutz</c:v>
                  </c:pt>
                  <c:pt idx="3">
                    <c:v>Laurent Perrier</c:v>
                  </c:pt>
                  <c:pt idx="4">
                    <c:v>Malard</c:v>
                  </c:pt>
                  <c:pt idx="5">
                    <c:v>Nicolas Feuillatte</c:v>
                  </c:pt>
                  <c:pt idx="6">
                    <c:v>Roederer</c:v>
                  </c:pt>
                  <c:pt idx="7">
                    <c:v>Heidsieck &amp; Co Monopol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95"/>
          <c:min val="19"/>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FF2787AA-B354-403D-BE18-06BB1F644DA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D871-46D6-BBFE-7C00E0D51738}"/>
                </c:ext>
              </c:extLst>
            </c:dLbl>
            <c:dLbl>
              <c:idx val="2"/>
              <c:tx>
                <c:rich>
                  <a:bodyPr/>
                  <a:lstStyle/>
                  <a:p>
                    <a:fld id="{3A21653E-71D3-4423-89CC-1560DABB3AE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D871-46D6-BBFE-7C00E0D51738}"/>
                </c:ext>
              </c:extLst>
            </c:dLbl>
            <c:dLbl>
              <c:idx val="3"/>
              <c:tx>
                <c:rich>
                  <a:bodyPr/>
                  <a:lstStyle/>
                  <a:p>
                    <a:fld id="{7BDA8069-A149-48F1-9146-4DBEA1AFDAA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D871-46D6-BBFE-7C00E0D51738}"/>
                </c:ext>
              </c:extLst>
            </c:dLbl>
            <c:dLbl>
              <c:idx val="4"/>
              <c:tx>
                <c:rich>
                  <a:bodyPr/>
                  <a:lstStyle/>
                  <a:p>
                    <a:fld id="{AE4A2385-8365-40C7-BEE6-465A9D248B2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D871-46D6-BBFE-7C00E0D51738}"/>
                </c:ext>
              </c:extLst>
            </c:dLbl>
            <c:dLbl>
              <c:idx val="5"/>
              <c:tx>
                <c:rich>
                  <a:bodyPr/>
                  <a:lstStyle/>
                  <a:p>
                    <a:fld id="{C7983549-10CD-443E-89B0-AB8673A6E56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71-46D6-BBFE-7C00E0D51738}"/>
                </c:ext>
              </c:extLst>
            </c:dLbl>
            <c:dLbl>
              <c:idx val="6"/>
              <c:tx>
                <c:rich>
                  <a:bodyPr/>
                  <a:lstStyle/>
                  <a:p>
                    <a:fld id="{5412A8A7-B620-4CB8-91C7-B100DE35C92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71-46D6-BBFE-7C00E0D51738}"/>
                </c:ext>
              </c:extLst>
            </c:dLbl>
            <c:dLbl>
              <c:idx val="7"/>
              <c:tx>
                <c:rich>
                  <a:bodyPr/>
                  <a:lstStyle/>
                  <a:p>
                    <a:fld id="{933F8760-46AC-4695-9449-E046B9355CB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71-46D6-BBFE-7C00E0D51738}"/>
                </c:ext>
              </c:extLst>
            </c:dLbl>
            <c:dLbl>
              <c:idx val="8"/>
              <c:tx>
                <c:rich>
                  <a:bodyPr/>
                  <a:lstStyle/>
                  <a:p>
                    <a:fld id="{3E9EF9CF-05A3-4055-9644-53AD0BBCB83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2.7646</c:v>
                </c:pt>
              </c:numCache>
            </c:numRef>
          </c:xVal>
          <c:yVal>
            <c:numRef>
              <c:f>Sheet1!$B$2:$B$2</c:f>
              <c:numCache>
                <c:formatCode>General</c:formatCode>
                <c:ptCount val="1"/>
                <c:pt idx="0">
                  <c:v>0.99399999999999999</c:v>
                </c:pt>
              </c:numCache>
            </c:numRef>
          </c:yVal>
          <c:bubbleSize>
            <c:numRef>
              <c:f>Sheet1!$C$2:$C$2</c:f>
              <c:numCache>
                <c:formatCode>General</c:formatCode>
                <c:ptCount val="1"/>
                <c:pt idx="0">
                  <c:v>507318</c:v>
                </c:pt>
              </c:numCache>
            </c:numRef>
          </c:bubbleSize>
          <c:bubble3D val="0"/>
          <c:extLst>
            <c:ext xmlns:c15="http://schemas.microsoft.com/office/drawing/2012/chart" uri="{02D57815-91ED-43cb-92C2-25804820EDAC}">
              <c15:datalabelsRange>
                <c15:f>Sheet1!$E$2:$E$10</c15:f>
                <c15:dlblRangeCache>
                  <c:ptCount val="9"/>
                  <c:pt idx="0">
                    <c:v>Patriarche</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5"/>
          <c:min val="10"/>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CA-4C16-90F6-A0D9A3D8DA8E}"/>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CA-4C16-90F6-A0D9A3D8DA8E}"/>
                </c:ext>
              </c:extLst>
            </c:dLbl>
            <c:dLbl>
              <c:idx val="1"/>
              <c:tx>
                <c:rich>
                  <a:bodyPr/>
                  <a:lstStyle/>
                  <a:p>
                    <a:fld id="{28F13B72-5ADB-427D-9DC6-C5A20F8A64C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CA-4C16-90F6-A0D9A3D8DA8E}"/>
                </c:ext>
              </c:extLst>
            </c:dLbl>
            <c:dLbl>
              <c:idx val="2"/>
              <c:tx>
                <c:rich>
                  <a:bodyPr/>
                  <a:lstStyle/>
                  <a:p>
                    <a:fld id="{88DE6DAF-7B22-4DAE-8B06-DA5AC4BF572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CA-4C16-90F6-A0D9A3D8DA8E}"/>
                </c:ext>
              </c:extLst>
            </c:dLbl>
            <c:dLbl>
              <c:idx val="3"/>
              <c:tx>
                <c:rich>
                  <a:bodyPr/>
                  <a:lstStyle/>
                  <a:p>
                    <a:fld id="{12C74184-2CB5-482D-AEE6-A6375BDF6B5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D8CA-4C16-90F6-A0D9A3D8DA8E}"/>
                </c:ext>
              </c:extLst>
            </c:dLbl>
            <c:dLbl>
              <c:idx val="4"/>
              <c:tx>
                <c:rich>
                  <a:bodyPr/>
                  <a:lstStyle/>
                  <a:p>
                    <a:fld id="{DFC8E37B-9CD1-42EB-BFE8-A0B7A92F341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D8CA-4C16-90F6-A0D9A3D8DA8E}"/>
                </c:ext>
              </c:extLst>
            </c:dLbl>
            <c:dLbl>
              <c:idx val="5"/>
              <c:tx>
                <c:rich>
                  <a:bodyPr/>
                  <a:lstStyle/>
                  <a:p>
                    <a:fld id="{F97AA936-0553-4EC6-A01A-E1BBCDF1DC5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CA-4C16-90F6-A0D9A3D8DA8E}"/>
                </c:ext>
              </c:extLst>
            </c:dLbl>
            <c:dLbl>
              <c:idx val="6"/>
              <c:tx>
                <c:rich>
                  <a:bodyPr/>
                  <a:lstStyle/>
                  <a:p>
                    <a:fld id="{6C690910-2E5D-45E6-AEE9-1B9D672E563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CA-4C16-90F6-A0D9A3D8DA8E}"/>
                </c:ext>
              </c:extLst>
            </c:dLbl>
            <c:dLbl>
              <c:idx val="7"/>
              <c:tx>
                <c:rich>
                  <a:bodyPr/>
                  <a:lstStyle/>
                  <a:p>
                    <a:fld id="{7306F22B-B352-48C8-816F-C03B0952016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CA-4C16-90F6-A0D9A3D8DA8E}"/>
                </c:ext>
              </c:extLst>
            </c:dLbl>
            <c:dLbl>
              <c:idx val="8"/>
              <c:tx>
                <c:rich>
                  <a:bodyPr/>
                  <a:lstStyle/>
                  <a:p>
                    <a:fld id="{C89B344C-B3D5-4852-A156-75513DEF745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CA-4C16-90F6-A0D9A3D8DA8E}"/>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1.451499999999999</c:v>
                </c:pt>
                <c:pt idx="1">
                  <c:v>9.1104000000000003</c:v>
                </c:pt>
                <c:pt idx="2">
                  <c:v>11.444699999999999</c:v>
                </c:pt>
              </c:numCache>
            </c:numRef>
          </c:xVal>
          <c:yVal>
            <c:numRef>
              <c:f>Sheet1!$B$2:$B$4</c:f>
              <c:numCache>
                <c:formatCode>General</c:formatCode>
                <c:ptCount val="3"/>
                <c:pt idx="0">
                  <c:v>1.278</c:v>
                </c:pt>
                <c:pt idx="1">
                  <c:v>1.0169999999999999</c:v>
                </c:pt>
                <c:pt idx="2">
                  <c:v>1.077</c:v>
                </c:pt>
              </c:numCache>
            </c:numRef>
          </c:yVal>
          <c:bubbleSize>
            <c:numRef>
              <c:f>Sheet1!$C$2:$C$4</c:f>
              <c:numCache>
                <c:formatCode>General</c:formatCode>
                <c:ptCount val="3"/>
                <c:pt idx="0">
                  <c:v>607538</c:v>
                </c:pt>
                <c:pt idx="1">
                  <c:v>323774</c:v>
                </c:pt>
                <c:pt idx="2">
                  <c:v>90905</c:v>
                </c:pt>
              </c:numCache>
            </c:numRef>
          </c:bubbleSize>
          <c:bubble3D val="0"/>
          <c:extLst>
            <c:ext xmlns:c15="http://schemas.microsoft.com/office/drawing/2012/chart" uri="{02D57815-91ED-43cb-92C2-25804820EDAC}">
              <c15:datalabelsRange>
                <c15:f>Sheet1!$E$2:$E$10</c15:f>
                <c15:dlblRangeCache>
                  <c:ptCount val="9"/>
                  <c:pt idx="0">
                    <c:v>Bottega</c:v>
                  </c:pt>
                  <c:pt idx="1">
                    <c:v>Savian</c:v>
                  </c:pt>
                  <c:pt idx="2">
                    <c:v>Contarini</c:v>
                  </c:pt>
                </c15:dlblRangeCache>
              </c15:datalabelsRange>
            </c:ext>
            <c:ext xmlns:c16="http://schemas.microsoft.com/office/drawing/2014/chart" uri="{C3380CC4-5D6E-409C-BE32-E72D297353CC}">
              <c16:uniqueId val="{00000009-D8CA-4C16-90F6-A0D9A3D8DA8E}"/>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4"/>
          <c:min val="7"/>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6E53124-4BA6-4E96-843B-3BCC9396D4D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2460F35-8F3E-46A7-91E3-DBC4D1100AF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DD743C9-080A-4FD0-8259-F41686EB2E8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8442F8C5-B93D-4F35-BD70-13B3856FACA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0B662546-9037-4256-92D3-BCEF32FC561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CC9BABD2-BFC3-4533-ACCC-82FB13E90BD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C1DEACA6-0DEA-4A16-BF71-C530E80F9CF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979B1EA0-D49D-479E-81FD-EF697D4EDCB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1.800599999999999</c:v>
                </c:pt>
                <c:pt idx="1">
                  <c:v>11.4072</c:v>
                </c:pt>
                <c:pt idx="2">
                  <c:v>13.4663</c:v>
                </c:pt>
              </c:numCache>
            </c:numRef>
          </c:xVal>
          <c:yVal>
            <c:numRef>
              <c:f>Sheet1!$B$2:$B$4</c:f>
              <c:numCache>
                <c:formatCode>General</c:formatCode>
                <c:ptCount val="3"/>
                <c:pt idx="0">
                  <c:v>0.96899999999999997</c:v>
                </c:pt>
                <c:pt idx="1">
                  <c:v>0.98299999999999998</c:v>
                </c:pt>
                <c:pt idx="2">
                  <c:v>1.1599999999999999</c:v>
                </c:pt>
              </c:numCache>
            </c:numRef>
          </c:yVal>
          <c:bubbleSize>
            <c:numRef>
              <c:f>Sheet1!$C$2:$C$4</c:f>
              <c:numCache>
                <c:formatCode>General</c:formatCode>
                <c:ptCount val="3"/>
                <c:pt idx="0">
                  <c:v>305234</c:v>
                </c:pt>
                <c:pt idx="1">
                  <c:v>282431</c:v>
                </c:pt>
                <c:pt idx="2">
                  <c:v>158041</c:v>
                </c:pt>
              </c:numCache>
            </c:numRef>
          </c:bubbleSize>
          <c:bubble3D val="0"/>
          <c:extLst>
            <c:ext xmlns:c15="http://schemas.microsoft.com/office/drawing/2012/chart" uri="{02D57815-91ED-43cb-92C2-25804820EDAC}">
              <c15:datalabelsRange>
                <c15:f>Sheet1!$E$2:$E$10</c15:f>
                <c15:dlblRangeCache>
                  <c:ptCount val="9"/>
                  <c:pt idx="0">
                    <c:v>Bouvet-Ladubay</c:v>
                  </c:pt>
                  <c:pt idx="1">
                    <c:v>Chateau Moncontour</c:v>
                  </c:pt>
                  <c:pt idx="2">
                    <c:v>De Chancen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6"/>
          <c:min val="9"/>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008F7161-129E-4DD9-85CE-CC9931DFDE3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48EF-49EC-8B4D-EC25A4464CE3}"/>
                </c:ext>
              </c:extLst>
            </c:dLbl>
            <c:dLbl>
              <c:idx val="2"/>
              <c:tx>
                <c:rich>
                  <a:bodyPr/>
                  <a:lstStyle/>
                  <a:p>
                    <a:fld id="{DE7D3A2A-9065-411E-94E5-4D3C6F1C87F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48EF-49EC-8B4D-EC25A4464CE3}"/>
                </c:ext>
              </c:extLst>
            </c:dLbl>
            <c:dLbl>
              <c:idx val="3"/>
              <c:tx>
                <c:rich>
                  <a:bodyPr/>
                  <a:lstStyle/>
                  <a:p>
                    <a:fld id="{EC462DA0-E520-486F-84D6-83EA4F7CAAF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48EF-49EC-8B4D-EC25A4464CE3}"/>
                </c:ext>
              </c:extLst>
            </c:dLbl>
            <c:dLbl>
              <c:idx val="4"/>
              <c:tx>
                <c:rich>
                  <a:bodyPr/>
                  <a:lstStyle/>
                  <a:p>
                    <a:fld id="{C79CD906-D60A-4A2F-BA66-4288B2D5BB0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48EF-49EC-8B4D-EC25A4464CE3}"/>
                </c:ext>
              </c:extLst>
            </c:dLbl>
            <c:dLbl>
              <c:idx val="5"/>
              <c:tx>
                <c:rich>
                  <a:bodyPr/>
                  <a:lstStyle/>
                  <a:p>
                    <a:fld id="{6AB9867B-5D7B-4085-9D64-420F47740CE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48EF-49EC-8B4D-EC25A4464CE3}"/>
                </c:ext>
              </c:extLst>
            </c:dLbl>
            <c:dLbl>
              <c:idx val="6"/>
              <c:tx>
                <c:rich>
                  <a:bodyPr/>
                  <a:lstStyle/>
                  <a:p>
                    <a:fld id="{8C87361D-BA67-4B1F-AFFE-E56498AF8CF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48EF-49EC-8B4D-EC25A4464CE3}"/>
                </c:ext>
              </c:extLst>
            </c:dLbl>
            <c:dLbl>
              <c:idx val="7"/>
              <c:tx>
                <c:rich>
                  <a:bodyPr/>
                  <a:lstStyle/>
                  <a:p>
                    <a:fld id="{32CF56F2-736E-484D-BED8-CD92A87DCAB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48EF-49EC-8B4D-EC25A4464CE3}"/>
                </c:ext>
              </c:extLst>
            </c:dLbl>
            <c:dLbl>
              <c:idx val="8"/>
              <c:tx>
                <c:rich>
                  <a:bodyPr/>
                  <a:lstStyle/>
                  <a:p>
                    <a:fld id="{5BC261FF-A567-4A18-A7FC-9EFB8048874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7.4328</c:v>
                </c:pt>
              </c:numCache>
            </c:numRef>
          </c:xVal>
          <c:yVal>
            <c:numRef>
              <c:f>Sheet1!$B$2:$B$2</c:f>
              <c:numCache>
                <c:formatCode>General</c:formatCode>
                <c:ptCount val="1"/>
                <c:pt idx="0">
                  <c:v>1.163</c:v>
                </c:pt>
              </c:numCache>
            </c:numRef>
          </c:yVal>
          <c:bubbleSize>
            <c:numRef>
              <c:f>Sheet1!$C$2:$C$2</c:f>
              <c:numCache>
                <c:formatCode>General</c:formatCode>
                <c:ptCount val="1"/>
                <c:pt idx="0">
                  <c:v>388332</c:v>
                </c:pt>
              </c:numCache>
            </c:numRef>
          </c:bubbleSize>
          <c:bubble3D val="0"/>
          <c:extLst>
            <c:ext xmlns:c15="http://schemas.microsoft.com/office/drawing/2012/chart" uri="{02D57815-91ED-43cb-92C2-25804820EDAC}">
              <c15:datalabelsRange>
                <c15:f>Sheet1!$E$2:$E$10</c15:f>
                <c15:dlblRangeCache>
                  <c:ptCount val="9"/>
                  <c:pt idx="0">
                    <c:v>Mure</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
          <c:min val="14"/>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74A53D6E-EC77-40BE-AA3D-89E0EC4326B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654D7BD0-0838-472B-A4D0-B2D6B08C7FA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D871-46D6-BBFE-7C00E0D51738}"/>
                </c:ext>
              </c:extLst>
            </c:dLbl>
            <c:dLbl>
              <c:idx val="3"/>
              <c:tx>
                <c:rich>
                  <a:bodyPr/>
                  <a:lstStyle/>
                  <a:p>
                    <a:fld id="{DB32ACD9-09FB-4BB3-8FE6-6D1466F5E04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D871-46D6-BBFE-7C00E0D51738}"/>
                </c:ext>
              </c:extLst>
            </c:dLbl>
            <c:dLbl>
              <c:idx val="4"/>
              <c:tx>
                <c:rich>
                  <a:bodyPr/>
                  <a:lstStyle/>
                  <a:p>
                    <a:fld id="{36EAB407-B1B6-4890-BA64-ACC294B19B8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D871-46D6-BBFE-7C00E0D51738}"/>
                </c:ext>
              </c:extLst>
            </c:dLbl>
            <c:dLbl>
              <c:idx val="5"/>
              <c:tx>
                <c:rich>
                  <a:bodyPr/>
                  <a:lstStyle/>
                  <a:p>
                    <a:fld id="{A1C2D247-D5F9-462B-A2AD-C4725C69E62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71-46D6-BBFE-7C00E0D51738}"/>
                </c:ext>
              </c:extLst>
            </c:dLbl>
            <c:dLbl>
              <c:idx val="6"/>
              <c:tx>
                <c:rich>
                  <a:bodyPr/>
                  <a:lstStyle/>
                  <a:p>
                    <a:fld id="{60587C2F-4383-40E6-B13A-E86D91D7B88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71-46D6-BBFE-7C00E0D51738}"/>
                </c:ext>
              </c:extLst>
            </c:dLbl>
            <c:dLbl>
              <c:idx val="7"/>
              <c:tx>
                <c:rich>
                  <a:bodyPr/>
                  <a:lstStyle/>
                  <a:p>
                    <a:fld id="{4D469311-EB8A-44A2-9EF7-F055A4D2E1F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71-46D6-BBFE-7C00E0D51738}"/>
                </c:ext>
              </c:extLst>
            </c:dLbl>
            <c:dLbl>
              <c:idx val="8"/>
              <c:tx>
                <c:rich>
                  <a:bodyPr/>
                  <a:lstStyle/>
                  <a:p>
                    <a:fld id="{5EC05939-2B47-40B3-8DA8-0FC6EA7004E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10.8071</c:v>
                </c:pt>
                <c:pt idx="1">
                  <c:v>9.6836000000000002</c:v>
                </c:pt>
              </c:numCache>
            </c:numRef>
          </c:xVal>
          <c:yVal>
            <c:numRef>
              <c:f>Sheet1!$B$2:$B$3</c:f>
              <c:numCache>
                <c:formatCode>General</c:formatCode>
                <c:ptCount val="2"/>
                <c:pt idx="0">
                  <c:v>1.014</c:v>
                </c:pt>
                <c:pt idx="1">
                  <c:v>0.84799999999999998</c:v>
                </c:pt>
              </c:numCache>
            </c:numRef>
          </c:yVal>
          <c:bubbleSize>
            <c:numRef>
              <c:f>Sheet1!$C$2:$C$3</c:f>
              <c:numCache>
                <c:formatCode>General</c:formatCode>
                <c:ptCount val="2"/>
                <c:pt idx="0">
                  <c:v>59904</c:v>
                </c:pt>
                <c:pt idx="1">
                  <c:v>9364</c:v>
                </c:pt>
              </c:numCache>
            </c:numRef>
          </c:bubbleSize>
          <c:bubble3D val="0"/>
          <c:extLst>
            <c:ext xmlns:c15="http://schemas.microsoft.com/office/drawing/2012/chart" uri="{02D57815-91ED-43cb-92C2-25804820EDAC}">
              <c15:datalabelsRange>
                <c15:f>Sheet1!$E$2:$E$10</c15:f>
                <c15:dlblRangeCache>
                  <c:ptCount val="9"/>
                  <c:pt idx="0">
                    <c:v>Cru La Maqueline</c:v>
                  </c:pt>
                  <c:pt idx="1">
                    <c:v>Celene</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3"/>
          <c:min val="8"/>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27C857D-4B2D-4C15-B6D1-028C8110B08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D60265B-7CD2-486B-AE3A-D8AE2542436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1C3627E-738A-4C85-A86B-481185790D1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B45241C2-1029-4F30-89B2-344B46C1CDF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896F0570-8A01-48CC-BB36-6E0C06F1774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ABE47790-6BE1-43A0-8F0F-D72E57122CC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75712D28-E797-4520-8C39-C9FA39A7C77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8E16AB9B-C7E2-4544-B7E6-BC22E36467E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30.7121</c:v>
                </c:pt>
                <c:pt idx="1">
                  <c:v>94.948400000000007</c:v>
                </c:pt>
                <c:pt idx="2">
                  <c:v>55.431899999999999</c:v>
                </c:pt>
              </c:numCache>
            </c:numRef>
          </c:xVal>
          <c:yVal>
            <c:numRef>
              <c:f>Sheet1!$B$2:$B$4</c:f>
              <c:numCache>
                <c:formatCode>General</c:formatCode>
                <c:ptCount val="3"/>
                <c:pt idx="0">
                  <c:v>0.79300000000000004</c:v>
                </c:pt>
                <c:pt idx="1">
                  <c:v>2.4390000000000001</c:v>
                </c:pt>
                <c:pt idx="2">
                  <c:v>1.4</c:v>
                </c:pt>
              </c:numCache>
            </c:numRef>
          </c:yVal>
          <c:bubbleSize>
            <c:numRef>
              <c:f>Sheet1!$C$2:$C$4</c:f>
              <c:numCache>
                <c:formatCode>General</c:formatCode>
                <c:ptCount val="3"/>
                <c:pt idx="0">
                  <c:v>5549099</c:v>
                </c:pt>
                <c:pt idx="1">
                  <c:v>2308385</c:v>
                </c:pt>
                <c:pt idx="2">
                  <c:v>113081</c:v>
                </c:pt>
              </c:numCache>
            </c:numRef>
          </c:bubbleSize>
          <c:bubble3D val="0"/>
          <c:extLst>
            <c:ext xmlns:c15="http://schemas.microsoft.com/office/drawing/2012/chart" uri="{02D57815-91ED-43cb-92C2-25804820EDAC}">
              <c15:datalabelsRange>
                <c15:f>Sheet1!$E$2:$E$10</c15:f>
                <c15:dlblRangeCache>
                  <c:ptCount val="9"/>
                  <c:pt idx="0">
                    <c:v>Canard Duchêne</c:v>
                  </c:pt>
                  <c:pt idx="1">
                    <c:v>Ruinart</c:v>
                  </c:pt>
                  <c:pt idx="2">
                    <c:v>Besserat De Bellefo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14"/>
          <c:min val="25"/>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524D7EA9-D56D-4173-BF2C-AE57D9B2C39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AC6D6E56-7E1D-4234-8FF8-A03746FE7EB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BE9DABFA-0C42-4211-8BAB-3114DFEB1C8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1954C90D-3B68-497F-9084-17698F814F5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4A7DB654-DFE3-4378-85EC-D0DDCCB682A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532E2C43-6E97-4465-9F9D-8DCDA8158CF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72D0B341-81B9-498F-AEB2-8122982D0F3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82C3AB2D-7AE4-471B-839B-DFF0CC37461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4.740400000000001</c:v>
                </c:pt>
                <c:pt idx="1">
                  <c:v>30.786100000000001</c:v>
                </c:pt>
                <c:pt idx="2">
                  <c:v>18.6905</c:v>
                </c:pt>
                <c:pt idx="3">
                  <c:v>24.3565</c:v>
                </c:pt>
                <c:pt idx="4">
                  <c:v>25.5548</c:v>
                </c:pt>
                <c:pt idx="5">
                  <c:v>40.8125</c:v>
                </c:pt>
                <c:pt idx="6">
                  <c:v>28.447700000000001</c:v>
                </c:pt>
                <c:pt idx="7">
                  <c:v>28.562000000000001</c:v>
                </c:pt>
              </c:numCache>
            </c:numRef>
          </c:xVal>
          <c:yVal>
            <c:numRef>
              <c:f>Sheet1!$B$2:$B$9</c:f>
              <c:numCache>
                <c:formatCode>General</c:formatCode>
                <c:ptCount val="8"/>
                <c:pt idx="0">
                  <c:v>1.0900000000000001</c:v>
                </c:pt>
                <c:pt idx="1">
                  <c:v>1.5569999999999999</c:v>
                </c:pt>
                <c:pt idx="2">
                  <c:v>0.318</c:v>
                </c:pt>
                <c:pt idx="3">
                  <c:v>1.163</c:v>
                </c:pt>
                <c:pt idx="4">
                  <c:v>1.2589999999999999</c:v>
                </c:pt>
                <c:pt idx="5">
                  <c:v>2.036</c:v>
                </c:pt>
                <c:pt idx="6">
                  <c:v>1.4910000000000001</c:v>
                </c:pt>
                <c:pt idx="7">
                  <c:v>1.4219999999999999</c:v>
                </c:pt>
              </c:numCache>
            </c:numRef>
          </c:yVal>
          <c:bubbleSize>
            <c:numRef>
              <c:f>Sheet1!$C$2:$C$9</c:f>
              <c:numCache>
                <c:formatCode>General</c:formatCode>
                <c:ptCount val="8"/>
                <c:pt idx="0">
                  <c:v>63676794</c:v>
                </c:pt>
                <c:pt idx="1">
                  <c:v>37787787</c:v>
                </c:pt>
                <c:pt idx="2">
                  <c:v>26748672</c:v>
                </c:pt>
                <c:pt idx="3">
                  <c:v>23515927</c:v>
                </c:pt>
                <c:pt idx="4">
                  <c:v>22638139</c:v>
                </c:pt>
                <c:pt idx="5">
                  <c:v>20372762</c:v>
                </c:pt>
                <c:pt idx="6">
                  <c:v>14686683</c:v>
                </c:pt>
                <c:pt idx="7">
                  <c:v>13593084</c:v>
                </c:pt>
              </c:numCache>
            </c:numRef>
          </c:bubbleSize>
          <c:bubble3D val="0"/>
          <c:extLst>
            <c:ext xmlns:c15="http://schemas.microsoft.com/office/drawing/2012/chart" uri="{02D57815-91ED-43cb-92C2-25804820EDAC}">
              <c15:datalabelsRange>
                <c15:f>Sheet1!$E$2:$E$10</c15:f>
                <c15:dlblRangeCache>
                  <c:ptCount val="9"/>
                  <c:pt idx="0">
                    <c:v>Nicolas Feuillatte</c:v>
                  </c:pt>
                  <c:pt idx="1">
                    <c:v>Mumm</c:v>
                  </c:pt>
                  <c:pt idx="2">
                    <c:v>Charles Lafitte</c:v>
                  </c:pt>
                  <c:pt idx="3">
                    <c:v>Alfred De Rothschild</c:v>
                  </c:pt>
                  <c:pt idx="4">
                    <c:v>Canard Duchêne</c:v>
                  </c:pt>
                  <c:pt idx="5">
                    <c:v>Moët &amp; Chandon</c:v>
                  </c:pt>
                  <c:pt idx="6">
                    <c:v>Tsarine</c:v>
                  </c:pt>
                  <c:pt idx="7">
                    <c:v>Demoiselle</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9"/>
          <c:min val="15"/>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0B9CBB2A-675D-4ADB-A8E1-F8F022419B1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D871-46D6-BBFE-7C00E0D51738}"/>
                </c:ext>
              </c:extLst>
            </c:dLbl>
            <c:dLbl>
              <c:idx val="2"/>
              <c:tx>
                <c:rich>
                  <a:bodyPr/>
                  <a:lstStyle/>
                  <a:p>
                    <a:fld id="{4F7F17BF-2F3D-4DA1-9476-5AC8EBF1240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D871-46D6-BBFE-7C00E0D51738}"/>
                </c:ext>
              </c:extLst>
            </c:dLbl>
            <c:dLbl>
              <c:idx val="3"/>
              <c:tx>
                <c:rich>
                  <a:bodyPr/>
                  <a:lstStyle/>
                  <a:p>
                    <a:fld id="{29FB3B09-6ECB-42F1-8094-39E2D83B8C6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D871-46D6-BBFE-7C00E0D51738}"/>
                </c:ext>
              </c:extLst>
            </c:dLbl>
            <c:dLbl>
              <c:idx val="4"/>
              <c:tx>
                <c:rich>
                  <a:bodyPr/>
                  <a:lstStyle/>
                  <a:p>
                    <a:fld id="{06D1C89B-8E76-4061-8A5A-6346F131363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D871-46D6-BBFE-7C00E0D51738}"/>
                </c:ext>
              </c:extLst>
            </c:dLbl>
            <c:dLbl>
              <c:idx val="5"/>
              <c:tx>
                <c:rich>
                  <a:bodyPr/>
                  <a:lstStyle/>
                  <a:p>
                    <a:fld id="{01FDB38C-8B5F-467B-85D3-1AABBECC5E9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71-46D6-BBFE-7C00E0D51738}"/>
                </c:ext>
              </c:extLst>
            </c:dLbl>
            <c:dLbl>
              <c:idx val="6"/>
              <c:tx>
                <c:rich>
                  <a:bodyPr/>
                  <a:lstStyle/>
                  <a:p>
                    <a:fld id="{D000C186-D66A-4ABF-B67B-B96486168B5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71-46D6-BBFE-7C00E0D51738}"/>
                </c:ext>
              </c:extLst>
            </c:dLbl>
            <c:dLbl>
              <c:idx val="7"/>
              <c:tx>
                <c:rich>
                  <a:bodyPr/>
                  <a:lstStyle/>
                  <a:p>
                    <a:fld id="{83F7C344-8D2B-4290-9BFD-85CF48DDC9F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71-46D6-BBFE-7C00E0D51738}"/>
                </c:ext>
              </c:extLst>
            </c:dLbl>
            <c:dLbl>
              <c:idx val="8"/>
              <c:tx>
                <c:rich>
                  <a:bodyPr/>
                  <a:lstStyle/>
                  <a:p>
                    <a:fld id="{9B0714DB-A87E-4AF1-B23D-CB15C6A7902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30.0794</c:v>
                </c:pt>
              </c:numCache>
            </c:numRef>
          </c:xVal>
          <c:yVal>
            <c:numRef>
              <c:f>Sheet1!$B$2:$B$2</c:f>
              <c:numCache>
                <c:formatCode>General</c:formatCode>
                <c:ptCount val="1"/>
                <c:pt idx="0">
                  <c:v>1</c:v>
                </c:pt>
              </c:numCache>
            </c:numRef>
          </c:yVal>
          <c:bubbleSize>
            <c:numRef>
              <c:f>Sheet1!$C$2:$C$2</c:f>
              <c:numCache>
                <c:formatCode>General</c:formatCode>
                <c:ptCount val="1"/>
                <c:pt idx="0">
                  <c:v>2170979</c:v>
                </c:pt>
              </c:numCache>
            </c:numRef>
          </c:bubbleSize>
          <c:bubble3D val="0"/>
          <c:extLst>
            <c:ext xmlns:c15="http://schemas.microsoft.com/office/drawing/2012/chart" uri="{02D57815-91ED-43cb-92C2-25804820EDAC}">
              <c15:datalabelsRange>
                <c15:f>Sheet1!$E$2:$E$10</c15:f>
                <c15:dlblRangeCache>
                  <c:ptCount val="9"/>
                  <c:pt idx="0">
                    <c:v>Canard Duchêne</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6"/>
          <c:min val="24"/>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CA-4C16-90F6-A0D9A3D8DA8E}"/>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CA-4C16-90F6-A0D9A3D8DA8E}"/>
                </c:ext>
              </c:extLst>
            </c:dLbl>
            <c:dLbl>
              <c:idx val="1"/>
              <c:tx>
                <c:rich>
                  <a:bodyPr/>
                  <a:lstStyle/>
                  <a:p>
                    <a:fld id="{35E6F8C5-3875-44BD-B95B-B942FBAB33B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CA-4C16-90F6-A0D9A3D8DA8E}"/>
                </c:ext>
              </c:extLst>
            </c:dLbl>
            <c:dLbl>
              <c:idx val="2"/>
              <c:tx>
                <c:rich>
                  <a:bodyPr/>
                  <a:lstStyle/>
                  <a:p>
                    <a:fld id="{065F27AC-1011-4E76-B656-826CB810A48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CA-4C16-90F6-A0D9A3D8DA8E}"/>
                </c:ext>
              </c:extLst>
            </c:dLbl>
            <c:dLbl>
              <c:idx val="3"/>
              <c:tx>
                <c:rich>
                  <a:bodyPr/>
                  <a:lstStyle/>
                  <a:p>
                    <a:fld id="{532834D3-F128-4EEC-8CFD-6CCD7E30DF9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D8CA-4C16-90F6-A0D9A3D8DA8E}"/>
                </c:ext>
              </c:extLst>
            </c:dLbl>
            <c:dLbl>
              <c:idx val="4"/>
              <c:tx>
                <c:rich>
                  <a:bodyPr/>
                  <a:lstStyle/>
                  <a:p>
                    <a:fld id="{CC0F2527-B0BC-484C-BDC7-5E6049EA476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D8CA-4C16-90F6-A0D9A3D8DA8E}"/>
                </c:ext>
              </c:extLst>
            </c:dLbl>
            <c:dLbl>
              <c:idx val="5"/>
              <c:tx>
                <c:rich>
                  <a:bodyPr/>
                  <a:lstStyle/>
                  <a:p>
                    <a:fld id="{5836101D-0773-4B1E-B15C-B6A366DF757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CA-4C16-90F6-A0D9A3D8DA8E}"/>
                </c:ext>
              </c:extLst>
            </c:dLbl>
            <c:dLbl>
              <c:idx val="6"/>
              <c:tx>
                <c:rich>
                  <a:bodyPr/>
                  <a:lstStyle/>
                  <a:p>
                    <a:fld id="{755FB509-AACA-4EE9-818A-7813FC9F94A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CA-4C16-90F6-A0D9A3D8DA8E}"/>
                </c:ext>
              </c:extLst>
            </c:dLbl>
            <c:dLbl>
              <c:idx val="7"/>
              <c:tx>
                <c:rich>
                  <a:bodyPr/>
                  <a:lstStyle/>
                  <a:p>
                    <a:fld id="{FDCC3302-6C12-46CF-8EE2-2D1F9F5FC81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CA-4C16-90F6-A0D9A3D8DA8E}"/>
                </c:ext>
              </c:extLst>
            </c:dLbl>
            <c:dLbl>
              <c:idx val="8"/>
              <c:tx>
                <c:rich>
                  <a:bodyPr/>
                  <a:lstStyle/>
                  <a:p>
                    <a:fld id="{9BD7FBE7-F6BF-49D8-8DC2-9F3AA7B8EC2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CA-4C16-90F6-A0D9A3D8DA8E}"/>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63.172699999999999</c:v>
                </c:pt>
                <c:pt idx="1">
                  <c:v>72</c:v>
                </c:pt>
                <c:pt idx="2">
                  <c:v>173.15629999999999</c:v>
                </c:pt>
              </c:numCache>
            </c:numRef>
          </c:xVal>
          <c:yVal>
            <c:numRef>
              <c:f>Sheet1!$B$2:$B$4</c:f>
              <c:numCache>
                <c:formatCode>General</c:formatCode>
                <c:ptCount val="3"/>
                <c:pt idx="0">
                  <c:v>0.91500000000000004</c:v>
                </c:pt>
                <c:pt idx="1">
                  <c:v>0.874</c:v>
                </c:pt>
                <c:pt idx="2">
                  <c:v>1.8620000000000001</c:v>
                </c:pt>
              </c:numCache>
            </c:numRef>
          </c:yVal>
          <c:bubbleSize>
            <c:numRef>
              <c:f>Sheet1!$C$2:$C$4</c:f>
              <c:numCache>
                <c:formatCode>General</c:formatCode>
                <c:ptCount val="3"/>
                <c:pt idx="0">
                  <c:v>40241</c:v>
                </c:pt>
                <c:pt idx="1">
                  <c:v>29160</c:v>
                </c:pt>
                <c:pt idx="2">
                  <c:v>16623</c:v>
                </c:pt>
              </c:numCache>
            </c:numRef>
          </c:bubbleSize>
          <c:bubble3D val="0"/>
          <c:extLst>
            <c:ext xmlns:c15="http://schemas.microsoft.com/office/drawing/2012/chart" uri="{02D57815-91ED-43cb-92C2-25804820EDAC}">
              <c15:datalabelsRange>
                <c15:f>Sheet1!$E$2:$E$10</c15:f>
                <c15:dlblRangeCache>
                  <c:ptCount val="9"/>
                  <c:pt idx="0">
                    <c:v>Moët &amp; Chandon</c:v>
                  </c:pt>
                  <c:pt idx="1">
                    <c:v>Laurent Perrier</c:v>
                  </c:pt>
                  <c:pt idx="2">
                    <c:v>Deutz</c:v>
                  </c:pt>
                </c15:dlblRangeCache>
              </c15:datalabelsRange>
            </c:ext>
            <c:ext xmlns:c16="http://schemas.microsoft.com/office/drawing/2014/chart" uri="{C3380CC4-5D6E-409C-BE32-E72D297353CC}">
              <c16:uniqueId val="{00000009-D8CA-4C16-90F6-A0D9A3D8DA8E}"/>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08"/>
          <c:min val="51"/>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76A863E-68E7-44AB-9FF4-ADCA293A770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31E2E32-8501-4D68-B8B4-027359E3FE0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7B95D85-5300-4251-8327-07DE3E58622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B5F3838-1D90-4031-8CF8-5AA383835C1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8DDC8D3-84EF-40F2-A7D1-159780DA206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DCB24E4-41DD-4D1D-8B26-1B24A15CE1C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550E26A-B5CA-41DF-B8E0-F0D98A1BB87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D4C8DDD5-C3D8-4DE0-95BE-37907AD1617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6.5717</c:v>
                </c:pt>
                <c:pt idx="1">
                  <c:v>30.006599999999999</c:v>
                </c:pt>
                <c:pt idx="2">
                  <c:v>28.646999999999998</c:v>
                </c:pt>
                <c:pt idx="3">
                  <c:v>31.494800000000001</c:v>
                </c:pt>
                <c:pt idx="4">
                  <c:v>36.527700000000003</c:v>
                </c:pt>
                <c:pt idx="5">
                  <c:v>50.205800000000004</c:v>
                </c:pt>
                <c:pt idx="6">
                  <c:v>26.394300000000001</c:v>
                </c:pt>
                <c:pt idx="7">
                  <c:v>22.1768</c:v>
                </c:pt>
              </c:numCache>
            </c:numRef>
          </c:xVal>
          <c:yVal>
            <c:numRef>
              <c:f>Sheet1!$B$2:$B$9</c:f>
              <c:numCache>
                <c:formatCode>General</c:formatCode>
                <c:ptCount val="8"/>
                <c:pt idx="0">
                  <c:v>0.99</c:v>
                </c:pt>
                <c:pt idx="1">
                  <c:v>0.97499999999999998</c:v>
                </c:pt>
                <c:pt idx="2">
                  <c:v>0.95099999999999996</c:v>
                </c:pt>
                <c:pt idx="3">
                  <c:v>1.032</c:v>
                </c:pt>
                <c:pt idx="4">
                  <c:v>1.214</c:v>
                </c:pt>
                <c:pt idx="5">
                  <c:v>1.653</c:v>
                </c:pt>
                <c:pt idx="6">
                  <c:v>0.878</c:v>
                </c:pt>
                <c:pt idx="7">
                  <c:v>0.70399999999999996</c:v>
                </c:pt>
              </c:numCache>
            </c:numRef>
          </c:yVal>
          <c:bubbleSize>
            <c:numRef>
              <c:f>Sheet1!$C$2:$C$9</c:f>
              <c:numCache>
                <c:formatCode>General</c:formatCode>
                <c:ptCount val="8"/>
                <c:pt idx="0">
                  <c:v>11598081</c:v>
                </c:pt>
                <c:pt idx="1">
                  <c:v>3450576</c:v>
                </c:pt>
                <c:pt idx="2">
                  <c:v>3306117</c:v>
                </c:pt>
                <c:pt idx="3">
                  <c:v>3231524</c:v>
                </c:pt>
                <c:pt idx="4">
                  <c:v>2420106</c:v>
                </c:pt>
                <c:pt idx="5">
                  <c:v>2051560</c:v>
                </c:pt>
                <c:pt idx="6">
                  <c:v>1878563</c:v>
                </c:pt>
                <c:pt idx="7">
                  <c:v>1105137</c:v>
                </c:pt>
              </c:numCache>
            </c:numRef>
          </c:bubbleSize>
          <c:bubble3D val="0"/>
          <c:extLst>
            <c:ext xmlns:c15="http://schemas.microsoft.com/office/drawing/2012/chart" uri="{02D57815-91ED-43cb-92C2-25804820EDAC}">
              <c15:datalabelsRange>
                <c15:f>Sheet1!$E$2:$E$10</c15:f>
                <c15:dlblRangeCache>
                  <c:ptCount val="9"/>
                  <c:pt idx="0">
                    <c:v>Nicolas Feuillatte</c:v>
                  </c:pt>
                  <c:pt idx="1">
                    <c:v>Demoiselle</c:v>
                  </c:pt>
                  <c:pt idx="2">
                    <c:v>Canard Duchêne</c:v>
                  </c:pt>
                  <c:pt idx="3">
                    <c:v>Tsarine</c:v>
                  </c:pt>
                  <c:pt idx="4">
                    <c:v>Mumm</c:v>
                  </c:pt>
                  <c:pt idx="5">
                    <c:v>Moët &amp; Chandon</c:v>
                  </c:pt>
                  <c:pt idx="6">
                    <c:v>Alfred De Rothschild</c:v>
                  </c:pt>
                  <c:pt idx="7">
                    <c:v>De Castellan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0"/>
          <c:min val="18"/>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CH"/>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677628-4D18-4EB1-9F49-E026D302D65F}" type="datetimeFigureOut">
              <a:rPr lang="en-CH" smtClean="0"/>
              <a:t>02/09/2025</a:t>
            </a:fld>
            <a:endParaRPr lang="en-CH"/>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CH"/>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H"/>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CH"/>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BDF813D-969A-4697-83EA-7C0DCB6CA98B}" type="slidenum">
              <a:rPr lang="en-CH" smtClean="0"/>
              <a:t>‹#›</a:t>
            </a:fld>
            <a:endParaRPr lang="en-CH"/>
          </a:p>
        </p:txBody>
      </p:sp>
    </p:spTree>
    <p:extLst>
      <p:ext uri="{BB962C8B-B14F-4D97-AF65-F5344CB8AC3E}">
        <p14:creationId xmlns:p14="http://schemas.microsoft.com/office/powerpoint/2010/main" val="31501372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29.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638.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728.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729.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730.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731.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732.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733.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734.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735.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736.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73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639.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738.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739.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740.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2" Type="http://schemas.openxmlformats.org/officeDocument/2006/relationships/slide" Target="../slides/slide741.xml"/><Relationship Id="rId1" Type="http://schemas.openxmlformats.org/officeDocument/2006/relationships/notesMaster" Target="../notesMasters/notesMaster1.xml"/></Relationships>
</file>

<file path=ppt/notesSlides/_rels/notesSlide114.xml.rels><?xml version="1.0" encoding="UTF-8" standalone="yes"?>
<Relationships xmlns="http://schemas.openxmlformats.org/package/2006/relationships"><Relationship Id="rId2" Type="http://schemas.openxmlformats.org/officeDocument/2006/relationships/slide" Target="../slides/slide742.xml"/><Relationship Id="rId1" Type="http://schemas.openxmlformats.org/officeDocument/2006/relationships/notesMaster" Target="../notesMasters/notesMaster1.xml"/></Relationships>
</file>

<file path=ppt/notesSlides/_rels/notesSlide115.xml.rels><?xml version="1.0" encoding="UTF-8" standalone="yes"?>
<Relationships xmlns="http://schemas.openxmlformats.org/package/2006/relationships"><Relationship Id="rId2" Type="http://schemas.openxmlformats.org/officeDocument/2006/relationships/slide" Target="../slides/slide743.xml"/><Relationship Id="rId1" Type="http://schemas.openxmlformats.org/officeDocument/2006/relationships/notesMaster" Target="../notesMasters/notesMaster1.xml"/></Relationships>
</file>

<file path=ppt/notesSlides/_rels/notesSlide116.xml.rels><?xml version="1.0" encoding="UTF-8" standalone="yes"?>
<Relationships xmlns="http://schemas.openxmlformats.org/package/2006/relationships"><Relationship Id="rId2" Type="http://schemas.openxmlformats.org/officeDocument/2006/relationships/slide" Target="../slides/slide744.xml"/><Relationship Id="rId1" Type="http://schemas.openxmlformats.org/officeDocument/2006/relationships/notesMaster" Target="../notesMasters/notesMaster1.xml"/></Relationships>
</file>

<file path=ppt/notesSlides/_rels/notesSlide117.xml.rels><?xml version="1.0" encoding="UTF-8" standalone="yes"?>
<Relationships xmlns="http://schemas.openxmlformats.org/package/2006/relationships"><Relationship Id="rId2" Type="http://schemas.openxmlformats.org/officeDocument/2006/relationships/slide" Target="../slides/slide745.xml"/><Relationship Id="rId1" Type="http://schemas.openxmlformats.org/officeDocument/2006/relationships/notesMaster" Target="../notesMasters/notesMaster1.xml"/></Relationships>
</file>

<file path=ppt/notesSlides/_rels/notesSlide118.xml.rels><?xml version="1.0" encoding="UTF-8" standalone="yes"?>
<Relationships xmlns="http://schemas.openxmlformats.org/package/2006/relationships"><Relationship Id="rId2" Type="http://schemas.openxmlformats.org/officeDocument/2006/relationships/slide" Target="../slides/slide746.xml"/><Relationship Id="rId1" Type="http://schemas.openxmlformats.org/officeDocument/2006/relationships/notesMaster" Target="../notesMasters/notesMaster1.xml"/></Relationships>
</file>

<file path=ppt/notesSlides/_rels/notesSlide119.xml.rels><?xml version="1.0" encoding="UTF-8" standalone="yes"?>
<Relationships xmlns="http://schemas.openxmlformats.org/package/2006/relationships"><Relationship Id="rId2" Type="http://schemas.openxmlformats.org/officeDocument/2006/relationships/slide" Target="../slides/slide74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640.xml"/><Relationship Id="rId1" Type="http://schemas.openxmlformats.org/officeDocument/2006/relationships/notesMaster" Target="../notesMasters/notesMaster1.xml"/></Relationships>
</file>

<file path=ppt/notesSlides/_rels/notesSlide120.xml.rels><?xml version="1.0" encoding="UTF-8" standalone="yes"?>
<Relationships xmlns="http://schemas.openxmlformats.org/package/2006/relationships"><Relationship Id="rId2" Type="http://schemas.openxmlformats.org/officeDocument/2006/relationships/slide" Target="../slides/slide748.xml"/><Relationship Id="rId1" Type="http://schemas.openxmlformats.org/officeDocument/2006/relationships/notesMaster" Target="../notesMasters/notesMaster1.xml"/></Relationships>
</file>

<file path=ppt/notesSlides/_rels/notesSlide121.xml.rels><?xml version="1.0" encoding="UTF-8" standalone="yes"?>
<Relationships xmlns="http://schemas.openxmlformats.org/package/2006/relationships"><Relationship Id="rId2" Type="http://schemas.openxmlformats.org/officeDocument/2006/relationships/slide" Target="../slides/slide749.xml"/><Relationship Id="rId1" Type="http://schemas.openxmlformats.org/officeDocument/2006/relationships/notesMaster" Target="../notesMasters/notesMaster1.xml"/></Relationships>
</file>

<file path=ppt/notesSlides/_rels/notesSlide122.xml.rels><?xml version="1.0" encoding="UTF-8" standalone="yes"?>
<Relationships xmlns="http://schemas.openxmlformats.org/package/2006/relationships"><Relationship Id="rId2" Type="http://schemas.openxmlformats.org/officeDocument/2006/relationships/slide" Target="../slides/slide750.xml"/><Relationship Id="rId1" Type="http://schemas.openxmlformats.org/officeDocument/2006/relationships/notesMaster" Target="../notesMasters/notesMaster1.xml"/></Relationships>
</file>

<file path=ppt/notesSlides/_rels/notesSlide123.xml.rels><?xml version="1.0" encoding="UTF-8" standalone="yes"?>
<Relationships xmlns="http://schemas.openxmlformats.org/package/2006/relationships"><Relationship Id="rId2" Type="http://schemas.openxmlformats.org/officeDocument/2006/relationships/slide" Target="../slides/slide751.xml"/><Relationship Id="rId1" Type="http://schemas.openxmlformats.org/officeDocument/2006/relationships/notesMaster" Target="../notesMasters/notesMaster1.xml"/></Relationships>
</file>

<file path=ppt/notesSlides/_rels/notesSlide124.xml.rels><?xml version="1.0" encoding="UTF-8" standalone="yes"?>
<Relationships xmlns="http://schemas.openxmlformats.org/package/2006/relationships"><Relationship Id="rId2" Type="http://schemas.openxmlformats.org/officeDocument/2006/relationships/slide" Target="../slides/slide752.xml"/><Relationship Id="rId1" Type="http://schemas.openxmlformats.org/officeDocument/2006/relationships/notesMaster" Target="../notesMasters/notesMaster1.xml"/></Relationships>
</file>

<file path=ppt/notesSlides/_rels/notesSlide125.xml.rels><?xml version="1.0" encoding="UTF-8" standalone="yes"?>
<Relationships xmlns="http://schemas.openxmlformats.org/package/2006/relationships"><Relationship Id="rId2" Type="http://schemas.openxmlformats.org/officeDocument/2006/relationships/slide" Target="../slides/slide753.xml"/><Relationship Id="rId1" Type="http://schemas.openxmlformats.org/officeDocument/2006/relationships/notesMaster" Target="../notesMasters/notesMaster1.xml"/></Relationships>
</file>

<file path=ppt/notesSlides/_rels/notesSlide126.xml.rels><?xml version="1.0" encoding="UTF-8" standalone="yes"?>
<Relationships xmlns="http://schemas.openxmlformats.org/package/2006/relationships"><Relationship Id="rId2" Type="http://schemas.openxmlformats.org/officeDocument/2006/relationships/slide" Target="../slides/slide754.xml"/><Relationship Id="rId1" Type="http://schemas.openxmlformats.org/officeDocument/2006/relationships/notesMaster" Target="../notesMasters/notesMaster1.xml"/></Relationships>
</file>

<file path=ppt/notesSlides/_rels/notesSlide127.xml.rels><?xml version="1.0" encoding="UTF-8" standalone="yes"?>
<Relationships xmlns="http://schemas.openxmlformats.org/package/2006/relationships"><Relationship Id="rId2" Type="http://schemas.openxmlformats.org/officeDocument/2006/relationships/slide" Target="../slides/slide755.xml"/><Relationship Id="rId1" Type="http://schemas.openxmlformats.org/officeDocument/2006/relationships/notesMaster" Target="../notesMasters/notesMaster1.xml"/></Relationships>
</file>

<file path=ppt/notesSlides/_rels/notesSlide128.xml.rels><?xml version="1.0" encoding="UTF-8" standalone="yes"?>
<Relationships xmlns="http://schemas.openxmlformats.org/package/2006/relationships"><Relationship Id="rId2" Type="http://schemas.openxmlformats.org/officeDocument/2006/relationships/slide" Target="../slides/slide756.xml"/><Relationship Id="rId1" Type="http://schemas.openxmlformats.org/officeDocument/2006/relationships/notesMaster" Target="../notesMasters/notesMaster1.xml"/></Relationships>
</file>

<file path=ppt/notesSlides/_rels/notesSlide129.xml.rels><?xml version="1.0" encoding="UTF-8" standalone="yes"?>
<Relationships xmlns="http://schemas.openxmlformats.org/package/2006/relationships"><Relationship Id="rId2" Type="http://schemas.openxmlformats.org/officeDocument/2006/relationships/slide" Target="../slides/slide75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641.xml"/><Relationship Id="rId1" Type="http://schemas.openxmlformats.org/officeDocument/2006/relationships/notesMaster" Target="../notesMasters/notesMaster1.xml"/></Relationships>
</file>

<file path=ppt/notesSlides/_rels/notesSlide130.xml.rels><?xml version="1.0" encoding="UTF-8" standalone="yes"?>
<Relationships xmlns="http://schemas.openxmlformats.org/package/2006/relationships"><Relationship Id="rId2" Type="http://schemas.openxmlformats.org/officeDocument/2006/relationships/slide" Target="../slides/slide758.xml"/><Relationship Id="rId1" Type="http://schemas.openxmlformats.org/officeDocument/2006/relationships/notesMaster" Target="../notesMasters/notesMaster1.xml"/></Relationships>
</file>

<file path=ppt/notesSlides/_rels/notesSlide131.xml.rels><?xml version="1.0" encoding="UTF-8" standalone="yes"?>
<Relationships xmlns="http://schemas.openxmlformats.org/package/2006/relationships"><Relationship Id="rId2" Type="http://schemas.openxmlformats.org/officeDocument/2006/relationships/slide" Target="../slides/slide759.xml"/><Relationship Id="rId1" Type="http://schemas.openxmlformats.org/officeDocument/2006/relationships/notesMaster" Target="../notesMasters/notesMaster1.xml"/></Relationships>
</file>

<file path=ppt/notesSlides/_rels/notesSlide132.xml.rels><?xml version="1.0" encoding="UTF-8" standalone="yes"?>
<Relationships xmlns="http://schemas.openxmlformats.org/package/2006/relationships"><Relationship Id="rId2" Type="http://schemas.openxmlformats.org/officeDocument/2006/relationships/slide" Target="../slides/slide760.xml"/><Relationship Id="rId1" Type="http://schemas.openxmlformats.org/officeDocument/2006/relationships/notesMaster" Target="../notesMasters/notesMaster1.xml"/></Relationships>
</file>

<file path=ppt/notesSlides/_rels/notesSlide133.xml.rels><?xml version="1.0" encoding="UTF-8" standalone="yes"?>
<Relationships xmlns="http://schemas.openxmlformats.org/package/2006/relationships"><Relationship Id="rId2" Type="http://schemas.openxmlformats.org/officeDocument/2006/relationships/slide" Target="../slides/slide761.xml"/><Relationship Id="rId1" Type="http://schemas.openxmlformats.org/officeDocument/2006/relationships/notesMaster" Target="../notesMasters/notesMaster1.xml"/></Relationships>
</file>

<file path=ppt/notesSlides/_rels/notesSlide134.xml.rels><?xml version="1.0" encoding="UTF-8" standalone="yes"?>
<Relationships xmlns="http://schemas.openxmlformats.org/package/2006/relationships"><Relationship Id="rId2" Type="http://schemas.openxmlformats.org/officeDocument/2006/relationships/slide" Target="../slides/slide76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64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64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64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64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64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64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30.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648.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649.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650.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651.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652.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653.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654.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655.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656.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65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31.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658.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659.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660.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661.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662.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663.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664.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665.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666.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66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32.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668.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669.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670.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671.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672.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673.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674.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675.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676.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67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33.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678.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679.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680.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681.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682.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683.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684.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85.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86.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8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34.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88.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89.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90.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91.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92.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93.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94.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95.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96.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69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635.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698.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699.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00.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01.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02.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03.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704.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705.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706.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70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636.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708.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709.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710.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711.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712.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713.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714.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715.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716.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71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637.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718.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719.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720.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721.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722.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723.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724.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725.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726.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72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1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1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1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1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1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1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1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1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1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1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1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1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1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1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1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1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1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9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9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9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9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9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7.xml"/><Relationship Id="rId7" Type="http://schemas.openxmlformats.org/officeDocument/2006/relationships/image" Target="../media/image2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6.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2856760379"/>
      </p:ext>
    </p:extLst>
  </p:cSld>
  <p:clrMapOvr>
    <a:masterClrMapping/>
  </p:clrMapOvr>
  <p:hf hdr="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2/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732366795"/>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2/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365734930"/>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9/2/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25141410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9/2/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8203422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9/2/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81493017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9/2/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55345151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9/2/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42235256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9/2/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6349677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2F7F175-3676-4F2E-8335-0DA3DCA9F548}" type="datetime1">
              <a:rPr lang="en-US" smtClean="0"/>
              <a:t>9/2/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378740807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2/09/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84225451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9/2/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403635940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2/09/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152502493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2/09/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3463309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2/09/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254226150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90960021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9/2/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1739415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9BF31F0E-667C-40DC-9AB9-748B8A18706F}" type="datetime1">
              <a:rPr lang="en-US" smtClean="0"/>
              <a:t>9/2/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238919771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2/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199071772"/>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2/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56772638"/>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2/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46401513"/>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93B7D14C-106C-4A28-A54C-ABFAFE88CFF0}" type="datetime1">
              <a:rPr lang="en-US" smtClean="0"/>
              <a:t>9/2/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362898376"/>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93B7D14C-106C-4A28-A54C-ABFAFE88CFF0}" type="datetime1">
              <a:rPr lang="en-US" smtClean="0"/>
              <a:t>9/2/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48339735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2/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14225336"/>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72BADB5F-A74F-484B-8756-F35CE7D72E3A}" type="datetime1">
              <a:rPr lang="en-US" smtClean="0"/>
              <a:t>9/2/2025</a:t>
            </a:fld>
            <a:endParaRPr lang="en-US"/>
          </a:p>
        </p:txBody>
      </p:sp>
    </p:spTree>
    <p:extLst>
      <p:ext uri="{BB962C8B-B14F-4D97-AF65-F5344CB8AC3E}">
        <p14:creationId xmlns:p14="http://schemas.microsoft.com/office/powerpoint/2010/main" val="691273762"/>
      </p:ext>
    </p:extLst>
  </p:cSld>
  <p:clrMap bg1="lt1" tx1="dk1" bg2="lt2" tx2="dk2" accent1="accent1" accent2="accent2" accent3="accent3" accent4="accent4" accent5="accent5" accent6="accent6" hlink="hlink" folHlink="folHlink"/>
  <p:sldLayoutIdLst>
    <p:sldLayoutId id="2147483855" r:id="rId1"/>
    <p:sldLayoutId id="2147483859" r:id="rId2"/>
    <p:sldLayoutId id="2147483860" r:id="rId3"/>
    <p:sldLayoutId id="2147483861" r:id="rId4"/>
    <p:sldLayoutId id="2147483862" r:id="rId5"/>
    <p:sldLayoutId id="2147483863" r:id="rId6"/>
    <p:sldLayoutId id="2147483864" r:id="rId7"/>
    <p:sldLayoutId id="2147483865" r:id="rId8"/>
    <p:sldLayoutId id="2147483866" r:id="rId9"/>
    <p:sldLayoutId id="2147483867" r:id="rId10"/>
    <p:sldLayoutId id="2147483868" r:id="rId11"/>
    <p:sldLayoutId id="2147483869" r:id="rId12"/>
    <p:sldLayoutId id="2147483870" r:id="rId13"/>
    <p:sldLayoutId id="2147483871" r:id="rId14"/>
    <p:sldLayoutId id="2147483872" r:id="rId15"/>
    <p:sldLayoutId id="2147483873" r:id="rId16"/>
    <p:sldLayoutId id="2147483874" r:id="rId17"/>
    <p:sldLayoutId id="2147483875" r:id="rId18"/>
    <p:sldLayoutId id="2147483876" r:id="rId19"/>
    <p:sldLayoutId id="2147483877" r:id="rId20"/>
    <p:sldLayoutId id="2147483878" r:id="rId21"/>
    <p:sldLayoutId id="2147483879" r:id="rId22"/>
    <p:sldLayoutId id="2147483914" r:id="rId23"/>
    <p:sldLayoutId id="21474839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xml"/><Relationship Id="rId5" Type="http://schemas.openxmlformats.org/officeDocument/2006/relationships/chart" Target="../charts/chart1.xml"/><Relationship Id="rId4" Type="http://schemas.openxmlformats.org/officeDocument/2006/relationships/image" Target="../media/image28.emf"/></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xml"/><Relationship Id="rId5" Type="http://schemas.openxmlformats.org/officeDocument/2006/relationships/chart" Target="../charts/chart10.xml"/><Relationship Id="rId4" Type="http://schemas.openxmlformats.org/officeDocument/2006/relationships/image" Target="../media/image28.emf"/></Relationships>
</file>

<file path=ppt/slides/_rels/slide10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7.xml"/><Relationship Id="rId5" Type="http://schemas.openxmlformats.org/officeDocument/2006/relationships/chart" Target="../charts/chart279.xml"/><Relationship Id="rId4" Type="http://schemas.openxmlformats.org/officeDocument/2006/relationships/image" Target="../media/image28.emf"/></Relationships>
</file>

<file path=ppt/slides/_rels/slide10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8.xml"/><Relationship Id="rId5" Type="http://schemas.openxmlformats.org/officeDocument/2006/relationships/chart" Target="../charts/chart280.xml"/><Relationship Id="rId4" Type="http://schemas.openxmlformats.org/officeDocument/2006/relationships/image" Target="../media/image28.emf"/></Relationships>
</file>

<file path=ppt/slides/_rels/slide10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9.xml"/><Relationship Id="rId5" Type="http://schemas.openxmlformats.org/officeDocument/2006/relationships/chart" Target="../charts/chart281.xml"/><Relationship Id="rId4" Type="http://schemas.openxmlformats.org/officeDocument/2006/relationships/image" Target="../media/image28.emf"/></Relationships>
</file>

<file path=ppt/slides/_rels/slide10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0.xml"/><Relationship Id="rId5" Type="http://schemas.openxmlformats.org/officeDocument/2006/relationships/chart" Target="../charts/chart282.xml"/><Relationship Id="rId4" Type="http://schemas.openxmlformats.org/officeDocument/2006/relationships/image" Target="../media/image28.emf"/></Relationships>
</file>

<file path=ppt/slides/_rels/slide10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1.xml"/><Relationship Id="rId5" Type="http://schemas.openxmlformats.org/officeDocument/2006/relationships/chart" Target="../charts/chart283.xml"/><Relationship Id="rId4" Type="http://schemas.openxmlformats.org/officeDocument/2006/relationships/image" Target="../media/image28.emf"/></Relationships>
</file>

<file path=ppt/slides/_rels/slide10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2.xml"/><Relationship Id="rId5" Type="http://schemas.openxmlformats.org/officeDocument/2006/relationships/chart" Target="../charts/chart284.xml"/><Relationship Id="rId4" Type="http://schemas.openxmlformats.org/officeDocument/2006/relationships/image" Target="../media/image28.emf"/></Relationships>
</file>

<file path=ppt/slides/_rels/slide10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3.xml"/><Relationship Id="rId5" Type="http://schemas.openxmlformats.org/officeDocument/2006/relationships/chart" Target="../charts/chart285.xml"/><Relationship Id="rId4" Type="http://schemas.openxmlformats.org/officeDocument/2006/relationships/image" Target="../media/image28.emf"/></Relationships>
</file>

<file path=ppt/slides/_rels/slide10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4.xml"/><Relationship Id="rId5" Type="http://schemas.openxmlformats.org/officeDocument/2006/relationships/chart" Target="../charts/chart286.xml"/><Relationship Id="rId4" Type="http://schemas.openxmlformats.org/officeDocument/2006/relationships/image" Target="../media/image28.emf"/></Relationships>
</file>

<file path=ppt/slides/_rels/slide10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5.xml"/><Relationship Id="rId5" Type="http://schemas.openxmlformats.org/officeDocument/2006/relationships/chart" Target="../charts/chart287.xml"/><Relationship Id="rId4" Type="http://schemas.openxmlformats.org/officeDocument/2006/relationships/image" Target="../media/image28.emf"/></Relationships>
</file>

<file path=ppt/slides/_rels/slide10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6.xml"/><Relationship Id="rId5" Type="http://schemas.openxmlformats.org/officeDocument/2006/relationships/chart" Target="../charts/chart288.xml"/><Relationship Id="rId4" Type="http://schemas.openxmlformats.org/officeDocument/2006/relationships/image" Target="../media/image28.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8.xml"/><Relationship Id="rId5" Type="http://schemas.openxmlformats.org/officeDocument/2006/relationships/chart" Target="../charts/chart11.xml"/><Relationship Id="rId4" Type="http://schemas.openxmlformats.org/officeDocument/2006/relationships/image" Target="../media/image28.emf"/></Relationships>
</file>

<file path=ppt/slides/_rels/slide1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7.xml"/><Relationship Id="rId5" Type="http://schemas.openxmlformats.org/officeDocument/2006/relationships/chart" Target="../charts/chart289.xml"/><Relationship Id="rId4" Type="http://schemas.openxmlformats.org/officeDocument/2006/relationships/image" Target="../media/image28.emf"/></Relationships>
</file>

<file path=ppt/slides/_rels/slide11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8.xml"/><Relationship Id="rId5" Type="http://schemas.openxmlformats.org/officeDocument/2006/relationships/chart" Target="../charts/chart290.xml"/><Relationship Id="rId4" Type="http://schemas.openxmlformats.org/officeDocument/2006/relationships/image" Target="../media/image28.emf"/></Relationships>
</file>

<file path=ppt/slides/_rels/slide11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9.xml"/><Relationship Id="rId5" Type="http://schemas.openxmlformats.org/officeDocument/2006/relationships/chart" Target="../charts/chart291.xml"/><Relationship Id="rId4" Type="http://schemas.openxmlformats.org/officeDocument/2006/relationships/image" Target="../media/image28.emf"/></Relationships>
</file>

<file path=ppt/slides/_rels/slide11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0.xml"/><Relationship Id="rId5" Type="http://schemas.openxmlformats.org/officeDocument/2006/relationships/chart" Target="../charts/chart292.xml"/><Relationship Id="rId4" Type="http://schemas.openxmlformats.org/officeDocument/2006/relationships/image" Target="../media/image28.emf"/></Relationships>
</file>

<file path=ppt/slides/_rels/slide11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1.xml"/><Relationship Id="rId5" Type="http://schemas.openxmlformats.org/officeDocument/2006/relationships/chart" Target="../charts/chart293.xml"/><Relationship Id="rId4" Type="http://schemas.openxmlformats.org/officeDocument/2006/relationships/image" Target="../media/image28.emf"/></Relationships>
</file>

<file path=ppt/slides/_rels/slide11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2.xml"/><Relationship Id="rId5" Type="http://schemas.openxmlformats.org/officeDocument/2006/relationships/chart" Target="../charts/chart294.xml"/><Relationship Id="rId4" Type="http://schemas.openxmlformats.org/officeDocument/2006/relationships/image" Target="../media/image28.emf"/></Relationships>
</file>

<file path=ppt/slides/_rels/slide11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3.xml"/><Relationship Id="rId5" Type="http://schemas.openxmlformats.org/officeDocument/2006/relationships/chart" Target="../charts/chart295.xml"/><Relationship Id="rId4" Type="http://schemas.openxmlformats.org/officeDocument/2006/relationships/image" Target="../media/image28.emf"/></Relationships>
</file>

<file path=ppt/slides/_rels/slide11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4.xml"/><Relationship Id="rId5" Type="http://schemas.openxmlformats.org/officeDocument/2006/relationships/chart" Target="../charts/chart296.xml"/><Relationship Id="rId4" Type="http://schemas.openxmlformats.org/officeDocument/2006/relationships/image" Target="../media/image28.emf"/></Relationships>
</file>

<file path=ppt/slides/_rels/slide11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5.xml"/><Relationship Id="rId5" Type="http://schemas.openxmlformats.org/officeDocument/2006/relationships/chart" Target="../charts/chart297.xml"/><Relationship Id="rId4" Type="http://schemas.openxmlformats.org/officeDocument/2006/relationships/image" Target="../media/image28.emf"/></Relationships>
</file>

<file path=ppt/slides/_rels/slide11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6.xml"/><Relationship Id="rId5" Type="http://schemas.openxmlformats.org/officeDocument/2006/relationships/chart" Target="../charts/chart298.xml"/><Relationship Id="rId4" Type="http://schemas.openxmlformats.org/officeDocument/2006/relationships/image" Target="../media/image28.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9.xml"/><Relationship Id="rId5" Type="http://schemas.openxmlformats.org/officeDocument/2006/relationships/chart" Target="../charts/chart12.xml"/><Relationship Id="rId4" Type="http://schemas.openxmlformats.org/officeDocument/2006/relationships/image" Target="../media/image28.emf"/></Relationships>
</file>

<file path=ppt/slides/_rels/slide12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7.xml"/><Relationship Id="rId5" Type="http://schemas.openxmlformats.org/officeDocument/2006/relationships/chart" Target="../charts/chart299.xml"/><Relationship Id="rId4" Type="http://schemas.openxmlformats.org/officeDocument/2006/relationships/image" Target="../media/image28.emf"/></Relationships>
</file>

<file path=ppt/slides/_rels/slide12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8.xml"/><Relationship Id="rId5" Type="http://schemas.openxmlformats.org/officeDocument/2006/relationships/chart" Target="../charts/chart300.xml"/><Relationship Id="rId4" Type="http://schemas.openxmlformats.org/officeDocument/2006/relationships/image" Target="../media/image28.emf"/></Relationships>
</file>

<file path=ppt/slides/_rels/slide12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9.xml"/><Relationship Id="rId5" Type="http://schemas.openxmlformats.org/officeDocument/2006/relationships/chart" Target="../charts/chart301.xml"/><Relationship Id="rId4" Type="http://schemas.openxmlformats.org/officeDocument/2006/relationships/image" Target="../media/image28.emf"/></Relationships>
</file>

<file path=ppt/slides/_rels/slide12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0.xml"/><Relationship Id="rId5" Type="http://schemas.openxmlformats.org/officeDocument/2006/relationships/chart" Target="../charts/chart302.xml"/><Relationship Id="rId4" Type="http://schemas.openxmlformats.org/officeDocument/2006/relationships/image" Target="../media/image28.emf"/></Relationships>
</file>

<file path=ppt/slides/_rels/slide12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1.xml"/><Relationship Id="rId5" Type="http://schemas.openxmlformats.org/officeDocument/2006/relationships/chart" Target="../charts/chart303.xml"/><Relationship Id="rId4" Type="http://schemas.openxmlformats.org/officeDocument/2006/relationships/image" Target="../media/image28.emf"/></Relationships>
</file>

<file path=ppt/slides/_rels/slide12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2.xml"/><Relationship Id="rId5" Type="http://schemas.openxmlformats.org/officeDocument/2006/relationships/chart" Target="../charts/chart304.xml"/><Relationship Id="rId4" Type="http://schemas.openxmlformats.org/officeDocument/2006/relationships/image" Target="../media/image28.emf"/></Relationships>
</file>

<file path=ppt/slides/_rels/slide1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3.xml"/><Relationship Id="rId5" Type="http://schemas.openxmlformats.org/officeDocument/2006/relationships/chart" Target="../charts/chart305.xml"/><Relationship Id="rId4" Type="http://schemas.openxmlformats.org/officeDocument/2006/relationships/image" Target="../media/image28.emf"/></Relationships>
</file>

<file path=ppt/slides/_rels/slide12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4.xml"/><Relationship Id="rId5" Type="http://schemas.openxmlformats.org/officeDocument/2006/relationships/chart" Target="../charts/chart306.xml"/><Relationship Id="rId4" Type="http://schemas.openxmlformats.org/officeDocument/2006/relationships/image" Target="../media/image28.emf"/></Relationships>
</file>

<file path=ppt/slides/_rels/slide12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5.xml"/><Relationship Id="rId5" Type="http://schemas.openxmlformats.org/officeDocument/2006/relationships/chart" Target="../charts/chart307.xml"/><Relationship Id="rId4" Type="http://schemas.openxmlformats.org/officeDocument/2006/relationships/image" Target="../media/image28.emf"/></Relationships>
</file>

<file path=ppt/slides/_rels/slide12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6.xml"/><Relationship Id="rId5" Type="http://schemas.openxmlformats.org/officeDocument/2006/relationships/chart" Target="../charts/chart308.xml"/><Relationship Id="rId4" Type="http://schemas.openxmlformats.org/officeDocument/2006/relationships/image" Target="../media/image28.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0.xml"/><Relationship Id="rId5" Type="http://schemas.openxmlformats.org/officeDocument/2006/relationships/chart" Target="../charts/chart13.xml"/><Relationship Id="rId4" Type="http://schemas.openxmlformats.org/officeDocument/2006/relationships/image" Target="../media/image28.emf"/></Relationships>
</file>

<file path=ppt/slides/_rels/slide13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7.xml"/><Relationship Id="rId5" Type="http://schemas.openxmlformats.org/officeDocument/2006/relationships/chart" Target="../charts/chart309.xml"/><Relationship Id="rId4" Type="http://schemas.openxmlformats.org/officeDocument/2006/relationships/image" Target="../media/image28.emf"/></Relationships>
</file>

<file path=ppt/slides/_rels/slide13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8.xml"/><Relationship Id="rId5" Type="http://schemas.openxmlformats.org/officeDocument/2006/relationships/chart" Target="../charts/chart310.xml"/><Relationship Id="rId4" Type="http://schemas.openxmlformats.org/officeDocument/2006/relationships/image" Target="../media/image28.emf"/></Relationships>
</file>

<file path=ppt/slides/_rels/slide13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9.xml"/><Relationship Id="rId5" Type="http://schemas.openxmlformats.org/officeDocument/2006/relationships/chart" Target="../charts/chart311.xml"/><Relationship Id="rId4" Type="http://schemas.openxmlformats.org/officeDocument/2006/relationships/image" Target="../media/image28.emf"/></Relationships>
</file>

<file path=ppt/slides/_rels/slide13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0.xml"/><Relationship Id="rId5" Type="http://schemas.openxmlformats.org/officeDocument/2006/relationships/chart" Target="../charts/chart312.xml"/><Relationship Id="rId4" Type="http://schemas.openxmlformats.org/officeDocument/2006/relationships/image" Target="../media/image28.emf"/></Relationships>
</file>

<file path=ppt/slides/_rels/slide13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1.xml"/><Relationship Id="rId5" Type="http://schemas.openxmlformats.org/officeDocument/2006/relationships/chart" Target="../charts/chart313.xml"/><Relationship Id="rId4" Type="http://schemas.openxmlformats.org/officeDocument/2006/relationships/image" Target="../media/image28.emf"/></Relationships>
</file>

<file path=ppt/slides/_rels/slide13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2.xml"/><Relationship Id="rId5" Type="http://schemas.openxmlformats.org/officeDocument/2006/relationships/chart" Target="../charts/chart314.xml"/><Relationship Id="rId4" Type="http://schemas.openxmlformats.org/officeDocument/2006/relationships/image" Target="../media/image28.emf"/></Relationships>
</file>

<file path=ppt/slides/_rels/slide13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3.xml"/><Relationship Id="rId5" Type="http://schemas.openxmlformats.org/officeDocument/2006/relationships/chart" Target="../charts/chart315.xml"/><Relationship Id="rId4" Type="http://schemas.openxmlformats.org/officeDocument/2006/relationships/image" Target="../media/image28.emf"/></Relationships>
</file>

<file path=ppt/slides/_rels/slide13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4.xml"/><Relationship Id="rId5" Type="http://schemas.openxmlformats.org/officeDocument/2006/relationships/chart" Target="../charts/chart316.xml"/><Relationship Id="rId4" Type="http://schemas.openxmlformats.org/officeDocument/2006/relationships/image" Target="../media/image28.emf"/></Relationships>
</file>

<file path=ppt/slides/_rels/slide13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5.xml"/><Relationship Id="rId5" Type="http://schemas.openxmlformats.org/officeDocument/2006/relationships/chart" Target="../charts/chart317.xml"/><Relationship Id="rId4" Type="http://schemas.openxmlformats.org/officeDocument/2006/relationships/image" Target="../media/image28.emf"/></Relationships>
</file>

<file path=ppt/slides/_rels/slide13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6.xml"/><Relationship Id="rId5" Type="http://schemas.openxmlformats.org/officeDocument/2006/relationships/chart" Target="../charts/chart318.xml"/><Relationship Id="rId4" Type="http://schemas.openxmlformats.org/officeDocument/2006/relationships/image" Target="../media/image28.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1.xml"/><Relationship Id="rId5" Type="http://schemas.openxmlformats.org/officeDocument/2006/relationships/chart" Target="../charts/chart14.xml"/><Relationship Id="rId4" Type="http://schemas.openxmlformats.org/officeDocument/2006/relationships/image" Target="../media/image28.emf"/></Relationships>
</file>

<file path=ppt/slides/_rels/slide14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7.xml"/><Relationship Id="rId5" Type="http://schemas.openxmlformats.org/officeDocument/2006/relationships/chart" Target="../charts/chart319.xml"/><Relationship Id="rId4" Type="http://schemas.openxmlformats.org/officeDocument/2006/relationships/image" Target="../media/image28.emf"/></Relationships>
</file>

<file path=ppt/slides/_rels/slide14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8.xml"/><Relationship Id="rId5" Type="http://schemas.openxmlformats.org/officeDocument/2006/relationships/chart" Target="../charts/chart320.xml"/><Relationship Id="rId4" Type="http://schemas.openxmlformats.org/officeDocument/2006/relationships/image" Target="../media/image28.emf"/></Relationships>
</file>

<file path=ppt/slides/_rels/slide14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9.xml"/><Relationship Id="rId5" Type="http://schemas.openxmlformats.org/officeDocument/2006/relationships/chart" Target="../charts/chart321.xml"/><Relationship Id="rId4" Type="http://schemas.openxmlformats.org/officeDocument/2006/relationships/image" Target="../media/image28.emf"/></Relationships>
</file>

<file path=ppt/slides/_rels/slide14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0.xml"/><Relationship Id="rId5" Type="http://schemas.openxmlformats.org/officeDocument/2006/relationships/chart" Target="../charts/chart322.xml"/><Relationship Id="rId4" Type="http://schemas.openxmlformats.org/officeDocument/2006/relationships/image" Target="../media/image28.emf"/></Relationships>
</file>

<file path=ppt/slides/_rels/slide14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1.xml"/><Relationship Id="rId5" Type="http://schemas.openxmlformats.org/officeDocument/2006/relationships/chart" Target="../charts/chart323.xml"/><Relationship Id="rId4" Type="http://schemas.openxmlformats.org/officeDocument/2006/relationships/image" Target="../media/image28.emf"/></Relationships>
</file>

<file path=ppt/slides/_rels/slide14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2.xml"/><Relationship Id="rId5" Type="http://schemas.openxmlformats.org/officeDocument/2006/relationships/chart" Target="../charts/chart324.xml"/><Relationship Id="rId4" Type="http://schemas.openxmlformats.org/officeDocument/2006/relationships/image" Target="../media/image28.emf"/></Relationships>
</file>

<file path=ppt/slides/_rels/slide14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3.xml"/><Relationship Id="rId5" Type="http://schemas.openxmlformats.org/officeDocument/2006/relationships/chart" Target="../charts/chart325.xml"/><Relationship Id="rId4" Type="http://schemas.openxmlformats.org/officeDocument/2006/relationships/image" Target="../media/image28.emf"/></Relationships>
</file>

<file path=ppt/slides/_rels/slide14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4.xml"/><Relationship Id="rId5" Type="http://schemas.openxmlformats.org/officeDocument/2006/relationships/chart" Target="../charts/chart326.xml"/><Relationship Id="rId4" Type="http://schemas.openxmlformats.org/officeDocument/2006/relationships/image" Target="../media/image28.emf"/></Relationships>
</file>

<file path=ppt/slides/_rels/slide14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5.xml"/><Relationship Id="rId5" Type="http://schemas.openxmlformats.org/officeDocument/2006/relationships/chart" Target="../charts/chart327.xml"/><Relationship Id="rId4" Type="http://schemas.openxmlformats.org/officeDocument/2006/relationships/image" Target="../media/image28.emf"/></Relationships>
</file>

<file path=ppt/slides/_rels/slide14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6.xml"/><Relationship Id="rId5" Type="http://schemas.openxmlformats.org/officeDocument/2006/relationships/chart" Target="../charts/chart328.xml"/><Relationship Id="rId4" Type="http://schemas.openxmlformats.org/officeDocument/2006/relationships/image" Target="../media/image28.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2.xml"/><Relationship Id="rId5" Type="http://schemas.openxmlformats.org/officeDocument/2006/relationships/chart" Target="../charts/chart15.xml"/><Relationship Id="rId4" Type="http://schemas.openxmlformats.org/officeDocument/2006/relationships/image" Target="../media/image28.emf"/></Relationships>
</file>

<file path=ppt/slides/_rels/slide15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7.xml"/><Relationship Id="rId5" Type="http://schemas.openxmlformats.org/officeDocument/2006/relationships/chart" Target="../charts/chart329.xml"/><Relationship Id="rId4" Type="http://schemas.openxmlformats.org/officeDocument/2006/relationships/image" Target="../media/image28.emf"/></Relationships>
</file>

<file path=ppt/slides/_rels/slide15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8.xml"/><Relationship Id="rId5" Type="http://schemas.openxmlformats.org/officeDocument/2006/relationships/chart" Target="../charts/chart330.xml"/><Relationship Id="rId4" Type="http://schemas.openxmlformats.org/officeDocument/2006/relationships/image" Target="../media/image28.emf"/></Relationships>
</file>

<file path=ppt/slides/_rels/slide15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9.xml"/><Relationship Id="rId5" Type="http://schemas.openxmlformats.org/officeDocument/2006/relationships/chart" Target="../charts/chart331.xml"/><Relationship Id="rId4" Type="http://schemas.openxmlformats.org/officeDocument/2006/relationships/image" Target="../media/image28.emf"/></Relationships>
</file>

<file path=ppt/slides/_rels/slide15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80.xml"/><Relationship Id="rId5" Type="http://schemas.openxmlformats.org/officeDocument/2006/relationships/chart" Target="../charts/chart332.xml"/><Relationship Id="rId4" Type="http://schemas.openxmlformats.org/officeDocument/2006/relationships/image" Target="../media/image28.emf"/></Relationships>
</file>

<file path=ppt/slides/_rels/slide15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81.xml"/><Relationship Id="rId5" Type="http://schemas.openxmlformats.org/officeDocument/2006/relationships/chart" Target="../charts/chart333.xml"/><Relationship Id="rId4" Type="http://schemas.openxmlformats.org/officeDocument/2006/relationships/image" Target="../media/image28.emf"/></Relationships>
</file>

<file path=ppt/slides/_rels/slide15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82.xml"/><Relationship Id="rId5" Type="http://schemas.openxmlformats.org/officeDocument/2006/relationships/chart" Target="../charts/chart334.xml"/><Relationship Id="rId4" Type="http://schemas.openxmlformats.org/officeDocument/2006/relationships/image" Target="../media/image28.emf"/></Relationships>
</file>

<file path=ppt/slides/_rels/slide15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83.xml"/><Relationship Id="rId5" Type="http://schemas.openxmlformats.org/officeDocument/2006/relationships/chart" Target="../charts/chart335.xml"/><Relationship Id="rId4" Type="http://schemas.openxmlformats.org/officeDocument/2006/relationships/image" Target="../media/image28.emf"/></Relationships>
</file>

<file path=ppt/slides/_rels/slide15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84.xml"/><Relationship Id="rId5" Type="http://schemas.openxmlformats.org/officeDocument/2006/relationships/chart" Target="../charts/chart336.xml"/><Relationship Id="rId4" Type="http://schemas.openxmlformats.org/officeDocument/2006/relationships/image" Target="../media/image28.emf"/></Relationships>
</file>

<file path=ppt/slides/_rels/slide15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85.xml"/><Relationship Id="rId5" Type="http://schemas.openxmlformats.org/officeDocument/2006/relationships/chart" Target="../charts/chart337.xml"/><Relationship Id="rId4" Type="http://schemas.openxmlformats.org/officeDocument/2006/relationships/image" Target="../media/image28.emf"/></Relationships>
</file>

<file path=ppt/slides/_rels/slide15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86.xml"/><Relationship Id="rId5" Type="http://schemas.openxmlformats.org/officeDocument/2006/relationships/chart" Target="../charts/chart338.xml"/><Relationship Id="rId4" Type="http://schemas.openxmlformats.org/officeDocument/2006/relationships/image" Target="../media/image28.e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3.xml"/><Relationship Id="rId5" Type="http://schemas.openxmlformats.org/officeDocument/2006/relationships/chart" Target="../charts/chart16.xml"/><Relationship Id="rId4" Type="http://schemas.openxmlformats.org/officeDocument/2006/relationships/image" Target="../media/image28.emf"/></Relationships>
</file>

<file path=ppt/slides/_rels/slide16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87.xml"/><Relationship Id="rId5" Type="http://schemas.openxmlformats.org/officeDocument/2006/relationships/chart" Target="../charts/chart339.xml"/><Relationship Id="rId4" Type="http://schemas.openxmlformats.org/officeDocument/2006/relationships/image" Target="../media/image28.emf"/></Relationships>
</file>

<file path=ppt/slides/_rels/slide16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88.xml"/><Relationship Id="rId5" Type="http://schemas.openxmlformats.org/officeDocument/2006/relationships/chart" Target="../charts/chart340.xml"/><Relationship Id="rId4" Type="http://schemas.openxmlformats.org/officeDocument/2006/relationships/image" Target="../media/image28.emf"/></Relationships>
</file>

<file path=ppt/slides/_rels/slide16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89.xml"/><Relationship Id="rId5" Type="http://schemas.openxmlformats.org/officeDocument/2006/relationships/chart" Target="../charts/chart341.xml"/><Relationship Id="rId4" Type="http://schemas.openxmlformats.org/officeDocument/2006/relationships/image" Target="../media/image28.emf"/></Relationships>
</file>

<file path=ppt/slides/_rels/slide16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90.xml"/><Relationship Id="rId5" Type="http://schemas.openxmlformats.org/officeDocument/2006/relationships/chart" Target="../charts/chart342.xml"/><Relationship Id="rId4" Type="http://schemas.openxmlformats.org/officeDocument/2006/relationships/image" Target="../media/image28.emf"/></Relationships>
</file>

<file path=ppt/slides/_rels/slide16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91.xml"/><Relationship Id="rId5" Type="http://schemas.openxmlformats.org/officeDocument/2006/relationships/chart" Target="../charts/chart343.xml"/><Relationship Id="rId4" Type="http://schemas.openxmlformats.org/officeDocument/2006/relationships/image" Target="../media/image28.emf"/></Relationships>
</file>

<file path=ppt/slides/_rels/slide16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92.xml"/><Relationship Id="rId5" Type="http://schemas.openxmlformats.org/officeDocument/2006/relationships/chart" Target="../charts/chart344.xml"/><Relationship Id="rId4" Type="http://schemas.openxmlformats.org/officeDocument/2006/relationships/image" Target="../media/image28.emf"/></Relationships>
</file>

<file path=ppt/slides/_rels/slide16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93.xml"/><Relationship Id="rId5" Type="http://schemas.openxmlformats.org/officeDocument/2006/relationships/chart" Target="../charts/chart345.xml"/><Relationship Id="rId4" Type="http://schemas.openxmlformats.org/officeDocument/2006/relationships/image" Target="../media/image28.emf"/></Relationships>
</file>

<file path=ppt/slides/_rels/slide16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94.xml"/><Relationship Id="rId5" Type="http://schemas.openxmlformats.org/officeDocument/2006/relationships/chart" Target="../charts/chart346.xml"/><Relationship Id="rId4" Type="http://schemas.openxmlformats.org/officeDocument/2006/relationships/image" Target="../media/image28.emf"/></Relationships>
</file>

<file path=ppt/slides/_rels/slide16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95.xml"/><Relationship Id="rId5" Type="http://schemas.openxmlformats.org/officeDocument/2006/relationships/chart" Target="../charts/chart347.xml"/><Relationship Id="rId4" Type="http://schemas.openxmlformats.org/officeDocument/2006/relationships/image" Target="../media/image28.emf"/></Relationships>
</file>

<file path=ppt/slides/_rels/slide16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96.xml"/><Relationship Id="rId5" Type="http://schemas.openxmlformats.org/officeDocument/2006/relationships/chart" Target="../charts/chart348.xml"/><Relationship Id="rId4" Type="http://schemas.openxmlformats.org/officeDocument/2006/relationships/image" Target="../media/image28.e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4.xml"/><Relationship Id="rId5" Type="http://schemas.openxmlformats.org/officeDocument/2006/relationships/chart" Target="../charts/chart17.xml"/><Relationship Id="rId4" Type="http://schemas.openxmlformats.org/officeDocument/2006/relationships/image" Target="../media/image28.emf"/></Relationships>
</file>

<file path=ppt/slides/_rels/slide17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97.xml"/><Relationship Id="rId5" Type="http://schemas.openxmlformats.org/officeDocument/2006/relationships/chart" Target="../charts/chart349.xml"/><Relationship Id="rId4" Type="http://schemas.openxmlformats.org/officeDocument/2006/relationships/image" Target="../media/image28.emf"/></Relationships>
</file>

<file path=ppt/slides/_rels/slide17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98.xml"/><Relationship Id="rId5" Type="http://schemas.openxmlformats.org/officeDocument/2006/relationships/chart" Target="../charts/chart350.xml"/><Relationship Id="rId4" Type="http://schemas.openxmlformats.org/officeDocument/2006/relationships/image" Target="../media/image28.emf"/></Relationships>
</file>

<file path=ppt/slides/_rels/slide17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99.xml"/><Relationship Id="rId5" Type="http://schemas.openxmlformats.org/officeDocument/2006/relationships/chart" Target="../charts/chart351.xml"/><Relationship Id="rId4" Type="http://schemas.openxmlformats.org/officeDocument/2006/relationships/image" Target="../media/image28.emf"/></Relationships>
</file>

<file path=ppt/slides/_rels/slide17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00.xml"/><Relationship Id="rId5" Type="http://schemas.openxmlformats.org/officeDocument/2006/relationships/chart" Target="../charts/chart352.xml"/><Relationship Id="rId4" Type="http://schemas.openxmlformats.org/officeDocument/2006/relationships/image" Target="../media/image28.emf"/></Relationships>
</file>

<file path=ppt/slides/_rels/slide17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01.xml"/><Relationship Id="rId5" Type="http://schemas.openxmlformats.org/officeDocument/2006/relationships/chart" Target="../charts/chart353.xml"/><Relationship Id="rId4" Type="http://schemas.openxmlformats.org/officeDocument/2006/relationships/image" Target="../media/image28.emf"/></Relationships>
</file>

<file path=ppt/slides/_rels/slide17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02.xml"/><Relationship Id="rId5" Type="http://schemas.openxmlformats.org/officeDocument/2006/relationships/chart" Target="../charts/chart354.xml"/><Relationship Id="rId4" Type="http://schemas.openxmlformats.org/officeDocument/2006/relationships/image" Target="../media/image28.emf"/></Relationships>
</file>

<file path=ppt/slides/_rels/slide17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03.xml"/><Relationship Id="rId5" Type="http://schemas.openxmlformats.org/officeDocument/2006/relationships/chart" Target="../charts/chart355.xml"/><Relationship Id="rId4" Type="http://schemas.openxmlformats.org/officeDocument/2006/relationships/image" Target="../media/image28.emf"/></Relationships>
</file>

<file path=ppt/slides/_rels/slide17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04.xml"/><Relationship Id="rId5" Type="http://schemas.openxmlformats.org/officeDocument/2006/relationships/chart" Target="../charts/chart356.xml"/><Relationship Id="rId4" Type="http://schemas.openxmlformats.org/officeDocument/2006/relationships/image" Target="../media/image28.emf"/></Relationships>
</file>

<file path=ppt/slides/_rels/slide17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05.xml"/><Relationship Id="rId5" Type="http://schemas.openxmlformats.org/officeDocument/2006/relationships/chart" Target="../charts/chart357.xml"/><Relationship Id="rId4" Type="http://schemas.openxmlformats.org/officeDocument/2006/relationships/image" Target="../media/image28.emf"/></Relationships>
</file>

<file path=ppt/slides/_rels/slide17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06.xml"/><Relationship Id="rId5" Type="http://schemas.openxmlformats.org/officeDocument/2006/relationships/chart" Target="../charts/chart358.xml"/><Relationship Id="rId4" Type="http://schemas.openxmlformats.org/officeDocument/2006/relationships/image" Target="../media/image28.emf"/></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5.xml"/><Relationship Id="rId5" Type="http://schemas.openxmlformats.org/officeDocument/2006/relationships/chart" Target="../charts/chart18.xml"/><Relationship Id="rId4" Type="http://schemas.openxmlformats.org/officeDocument/2006/relationships/image" Target="../media/image28.emf"/></Relationships>
</file>

<file path=ppt/slides/_rels/slide18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07.xml"/><Relationship Id="rId5" Type="http://schemas.openxmlformats.org/officeDocument/2006/relationships/chart" Target="../charts/chart359.xml"/><Relationship Id="rId4" Type="http://schemas.openxmlformats.org/officeDocument/2006/relationships/image" Target="../media/image28.emf"/></Relationships>
</file>

<file path=ppt/slides/_rels/slide18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08.xml"/><Relationship Id="rId5" Type="http://schemas.openxmlformats.org/officeDocument/2006/relationships/chart" Target="../charts/chart360.xml"/><Relationship Id="rId4" Type="http://schemas.openxmlformats.org/officeDocument/2006/relationships/image" Target="../media/image28.emf"/></Relationships>
</file>

<file path=ppt/slides/_rels/slide18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09.xml"/><Relationship Id="rId5" Type="http://schemas.openxmlformats.org/officeDocument/2006/relationships/chart" Target="../charts/chart361.xml"/><Relationship Id="rId4" Type="http://schemas.openxmlformats.org/officeDocument/2006/relationships/image" Target="../media/image28.emf"/></Relationships>
</file>

<file path=ppt/slides/_rels/slide18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10.xml"/><Relationship Id="rId5" Type="http://schemas.openxmlformats.org/officeDocument/2006/relationships/chart" Target="../charts/chart362.xml"/><Relationship Id="rId4" Type="http://schemas.openxmlformats.org/officeDocument/2006/relationships/image" Target="../media/image28.emf"/></Relationships>
</file>

<file path=ppt/slides/_rels/slide18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11.xml"/><Relationship Id="rId5" Type="http://schemas.openxmlformats.org/officeDocument/2006/relationships/chart" Target="../charts/chart363.xml"/><Relationship Id="rId4" Type="http://schemas.openxmlformats.org/officeDocument/2006/relationships/image" Target="../media/image28.emf"/></Relationships>
</file>

<file path=ppt/slides/_rels/slide18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12.xml"/><Relationship Id="rId5" Type="http://schemas.openxmlformats.org/officeDocument/2006/relationships/chart" Target="../charts/chart364.xml"/><Relationship Id="rId4" Type="http://schemas.openxmlformats.org/officeDocument/2006/relationships/image" Target="../media/image28.emf"/></Relationships>
</file>

<file path=ppt/slides/_rels/slide18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13.xml"/><Relationship Id="rId5" Type="http://schemas.openxmlformats.org/officeDocument/2006/relationships/chart" Target="../charts/chart365.xml"/><Relationship Id="rId4" Type="http://schemas.openxmlformats.org/officeDocument/2006/relationships/image" Target="../media/image28.emf"/></Relationships>
</file>

<file path=ppt/slides/_rels/slide18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14.xml"/><Relationship Id="rId5" Type="http://schemas.openxmlformats.org/officeDocument/2006/relationships/chart" Target="../charts/chart366.xml"/><Relationship Id="rId4" Type="http://schemas.openxmlformats.org/officeDocument/2006/relationships/image" Target="../media/image28.emf"/></Relationships>
</file>

<file path=ppt/slides/_rels/slide18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15.xml"/><Relationship Id="rId5" Type="http://schemas.openxmlformats.org/officeDocument/2006/relationships/chart" Target="../charts/chart367.xml"/><Relationship Id="rId4" Type="http://schemas.openxmlformats.org/officeDocument/2006/relationships/image" Target="../media/image28.emf"/></Relationships>
</file>

<file path=ppt/slides/_rels/slide18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16.xml"/><Relationship Id="rId5" Type="http://schemas.openxmlformats.org/officeDocument/2006/relationships/chart" Target="../charts/chart368.xml"/><Relationship Id="rId4" Type="http://schemas.openxmlformats.org/officeDocument/2006/relationships/image" Target="../media/image28.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1.xml"/><Relationship Id="rId2" Type="http://schemas.openxmlformats.org/officeDocument/2006/relationships/slideLayout" Target="../slideLayouts/slideLayout7.xml"/><Relationship Id="rId1" Type="http://schemas.openxmlformats.org/officeDocument/2006/relationships/tags" Target="../tags/tag46.xml"/><Relationship Id="rId6" Type="http://schemas.openxmlformats.org/officeDocument/2006/relationships/chart" Target="../charts/chart20.xml"/><Relationship Id="rId5" Type="http://schemas.openxmlformats.org/officeDocument/2006/relationships/chart" Target="../charts/chart19.xml"/><Relationship Id="rId4" Type="http://schemas.openxmlformats.org/officeDocument/2006/relationships/image" Target="../media/image28.emf"/></Relationships>
</file>

<file path=ppt/slides/_rels/slide19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17.xml"/><Relationship Id="rId5" Type="http://schemas.openxmlformats.org/officeDocument/2006/relationships/chart" Target="../charts/chart369.xml"/><Relationship Id="rId4" Type="http://schemas.openxmlformats.org/officeDocument/2006/relationships/image" Target="../media/image28.emf"/></Relationships>
</file>

<file path=ppt/slides/_rels/slide19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18.xml"/><Relationship Id="rId5" Type="http://schemas.openxmlformats.org/officeDocument/2006/relationships/chart" Target="../charts/chart370.xml"/><Relationship Id="rId4" Type="http://schemas.openxmlformats.org/officeDocument/2006/relationships/image" Target="../media/image28.emf"/></Relationships>
</file>

<file path=ppt/slides/_rels/slide19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19.xml"/><Relationship Id="rId5" Type="http://schemas.openxmlformats.org/officeDocument/2006/relationships/chart" Target="../charts/chart371.xml"/><Relationship Id="rId4" Type="http://schemas.openxmlformats.org/officeDocument/2006/relationships/image" Target="../media/image28.emf"/></Relationships>
</file>

<file path=ppt/slides/_rels/slide19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20.xml"/><Relationship Id="rId5" Type="http://schemas.openxmlformats.org/officeDocument/2006/relationships/chart" Target="../charts/chart372.xml"/><Relationship Id="rId4" Type="http://schemas.openxmlformats.org/officeDocument/2006/relationships/image" Target="../media/image28.emf"/></Relationships>
</file>

<file path=ppt/slides/_rels/slide19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21.xml"/><Relationship Id="rId5" Type="http://schemas.openxmlformats.org/officeDocument/2006/relationships/chart" Target="../charts/chart373.xml"/><Relationship Id="rId4" Type="http://schemas.openxmlformats.org/officeDocument/2006/relationships/image" Target="../media/image28.emf"/></Relationships>
</file>

<file path=ppt/slides/_rels/slide19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22.xml"/><Relationship Id="rId5" Type="http://schemas.openxmlformats.org/officeDocument/2006/relationships/chart" Target="../charts/chart374.xml"/><Relationship Id="rId4" Type="http://schemas.openxmlformats.org/officeDocument/2006/relationships/image" Target="../media/image28.emf"/></Relationships>
</file>

<file path=ppt/slides/_rels/slide19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23.xml"/><Relationship Id="rId5" Type="http://schemas.openxmlformats.org/officeDocument/2006/relationships/chart" Target="../charts/chart375.xml"/><Relationship Id="rId4" Type="http://schemas.openxmlformats.org/officeDocument/2006/relationships/image" Target="../media/image28.emf"/></Relationships>
</file>

<file path=ppt/slides/_rels/slide19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24.xml"/><Relationship Id="rId5" Type="http://schemas.openxmlformats.org/officeDocument/2006/relationships/chart" Target="../charts/chart376.xml"/><Relationship Id="rId4" Type="http://schemas.openxmlformats.org/officeDocument/2006/relationships/image" Target="../media/image28.emf"/></Relationships>
</file>

<file path=ppt/slides/_rels/slide19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25.xml"/><Relationship Id="rId5" Type="http://schemas.openxmlformats.org/officeDocument/2006/relationships/chart" Target="../charts/chart377.xml"/><Relationship Id="rId4" Type="http://schemas.openxmlformats.org/officeDocument/2006/relationships/image" Target="../media/image28.emf"/></Relationships>
</file>

<file path=ppt/slides/_rels/slide19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26.xml"/><Relationship Id="rId5" Type="http://schemas.openxmlformats.org/officeDocument/2006/relationships/chart" Target="../charts/chart378.xml"/><Relationship Id="rId4" Type="http://schemas.openxmlformats.org/officeDocument/2006/relationships/image" Target="../media/image28.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xml"/><Relationship Id="rId5" Type="http://schemas.openxmlformats.org/officeDocument/2006/relationships/chart" Target="../charts/chart2.xml"/><Relationship Id="rId4" Type="http://schemas.openxmlformats.org/officeDocument/2006/relationships/image" Target="../media/image28.emf"/></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4.xml"/><Relationship Id="rId2" Type="http://schemas.openxmlformats.org/officeDocument/2006/relationships/slideLayout" Target="../slideLayouts/slideLayout7.xml"/><Relationship Id="rId1" Type="http://schemas.openxmlformats.org/officeDocument/2006/relationships/tags" Target="../tags/tag47.xml"/><Relationship Id="rId6" Type="http://schemas.openxmlformats.org/officeDocument/2006/relationships/chart" Target="../charts/chart23.xml"/><Relationship Id="rId5" Type="http://schemas.openxmlformats.org/officeDocument/2006/relationships/chart" Target="../charts/chart22.xml"/><Relationship Id="rId4" Type="http://schemas.openxmlformats.org/officeDocument/2006/relationships/image" Target="../media/image28.emf"/></Relationships>
</file>

<file path=ppt/slides/_rels/slide20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27.xml"/><Relationship Id="rId5" Type="http://schemas.openxmlformats.org/officeDocument/2006/relationships/chart" Target="../charts/chart379.xml"/><Relationship Id="rId4" Type="http://schemas.openxmlformats.org/officeDocument/2006/relationships/image" Target="../media/image28.emf"/></Relationships>
</file>

<file path=ppt/slides/_rels/slide20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28.xml"/><Relationship Id="rId5" Type="http://schemas.openxmlformats.org/officeDocument/2006/relationships/chart" Target="../charts/chart380.xml"/><Relationship Id="rId4" Type="http://schemas.openxmlformats.org/officeDocument/2006/relationships/image" Target="../media/image28.emf"/></Relationships>
</file>

<file path=ppt/slides/_rels/slide20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29.xml"/><Relationship Id="rId5" Type="http://schemas.openxmlformats.org/officeDocument/2006/relationships/chart" Target="../charts/chart381.xml"/><Relationship Id="rId4" Type="http://schemas.openxmlformats.org/officeDocument/2006/relationships/image" Target="../media/image28.emf"/></Relationships>
</file>

<file path=ppt/slides/_rels/slide20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30.xml"/><Relationship Id="rId5" Type="http://schemas.openxmlformats.org/officeDocument/2006/relationships/chart" Target="../charts/chart382.xml"/><Relationship Id="rId4" Type="http://schemas.openxmlformats.org/officeDocument/2006/relationships/image" Target="../media/image28.emf"/></Relationships>
</file>

<file path=ppt/slides/_rels/slide20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31.xml"/><Relationship Id="rId5" Type="http://schemas.openxmlformats.org/officeDocument/2006/relationships/chart" Target="../charts/chart383.xml"/><Relationship Id="rId4" Type="http://schemas.openxmlformats.org/officeDocument/2006/relationships/image" Target="../media/image28.emf"/></Relationships>
</file>

<file path=ppt/slides/_rels/slide20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32.xml"/><Relationship Id="rId5" Type="http://schemas.openxmlformats.org/officeDocument/2006/relationships/chart" Target="../charts/chart384.xml"/><Relationship Id="rId4" Type="http://schemas.openxmlformats.org/officeDocument/2006/relationships/image" Target="../media/image28.emf"/></Relationships>
</file>

<file path=ppt/slides/_rels/slide20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33.xml"/><Relationship Id="rId5" Type="http://schemas.openxmlformats.org/officeDocument/2006/relationships/chart" Target="../charts/chart385.xml"/><Relationship Id="rId4" Type="http://schemas.openxmlformats.org/officeDocument/2006/relationships/image" Target="../media/image28.emf"/></Relationships>
</file>

<file path=ppt/slides/_rels/slide20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34.xml"/><Relationship Id="rId5" Type="http://schemas.openxmlformats.org/officeDocument/2006/relationships/chart" Target="../charts/chart386.xml"/><Relationship Id="rId4" Type="http://schemas.openxmlformats.org/officeDocument/2006/relationships/image" Target="../media/image28.emf"/></Relationships>
</file>

<file path=ppt/slides/_rels/slide20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35.xml"/><Relationship Id="rId5" Type="http://schemas.openxmlformats.org/officeDocument/2006/relationships/chart" Target="../charts/chart387.xml"/><Relationship Id="rId4" Type="http://schemas.openxmlformats.org/officeDocument/2006/relationships/image" Target="../media/image28.emf"/></Relationships>
</file>

<file path=ppt/slides/_rels/slide20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36.xml"/><Relationship Id="rId5" Type="http://schemas.openxmlformats.org/officeDocument/2006/relationships/chart" Target="../charts/chart388.xml"/><Relationship Id="rId4" Type="http://schemas.openxmlformats.org/officeDocument/2006/relationships/image" Target="../media/image28.emf"/></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7.xml"/><Relationship Id="rId2" Type="http://schemas.openxmlformats.org/officeDocument/2006/relationships/slideLayout" Target="../slideLayouts/slideLayout7.xml"/><Relationship Id="rId1" Type="http://schemas.openxmlformats.org/officeDocument/2006/relationships/tags" Target="../tags/tag48.xml"/><Relationship Id="rId6" Type="http://schemas.openxmlformats.org/officeDocument/2006/relationships/chart" Target="../charts/chart26.xml"/><Relationship Id="rId5" Type="http://schemas.openxmlformats.org/officeDocument/2006/relationships/chart" Target="../charts/chart25.xml"/><Relationship Id="rId4" Type="http://schemas.openxmlformats.org/officeDocument/2006/relationships/image" Target="../media/image28.emf"/></Relationships>
</file>

<file path=ppt/slides/_rels/slide2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37.xml"/><Relationship Id="rId5" Type="http://schemas.openxmlformats.org/officeDocument/2006/relationships/chart" Target="../charts/chart389.xml"/><Relationship Id="rId4" Type="http://schemas.openxmlformats.org/officeDocument/2006/relationships/image" Target="../media/image28.emf"/></Relationships>
</file>

<file path=ppt/slides/_rels/slide21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38.xml"/><Relationship Id="rId5" Type="http://schemas.openxmlformats.org/officeDocument/2006/relationships/chart" Target="../charts/chart390.xml"/><Relationship Id="rId4" Type="http://schemas.openxmlformats.org/officeDocument/2006/relationships/image" Target="../media/image28.emf"/></Relationships>
</file>

<file path=ppt/slides/_rels/slide21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39.xml"/><Relationship Id="rId5" Type="http://schemas.openxmlformats.org/officeDocument/2006/relationships/chart" Target="../charts/chart391.xml"/><Relationship Id="rId4" Type="http://schemas.openxmlformats.org/officeDocument/2006/relationships/image" Target="../media/image28.emf"/></Relationships>
</file>

<file path=ppt/slides/_rels/slide21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40.xml"/><Relationship Id="rId5" Type="http://schemas.openxmlformats.org/officeDocument/2006/relationships/chart" Target="../charts/chart392.xml"/><Relationship Id="rId4" Type="http://schemas.openxmlformats.org/officeDocument/2006/relationships/image" Target="../media/image28.emf"/></Relationships>
</file>

<file path=ppt/slides/_rels/slide21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41.xml"/><Relationship Id="rId5" Type="http://schemas.openxmlformats.org/officeDocument/2006/relationships/chart" Target="../charts/chart393.xml"/><Relationship Id="rId4" Type="http://schemas.openxmlformats.org/officeDocument/2006/relationships/image" Target="../media/image28.emf"/></Relationships>
</file>

<file path=ppt/slides/_rels/slide21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42.xml"/><Relationship Id="rId5" Type="http://schemas.openxmlformats.org/officeDocument/2006/relationships/chart" Target="../charts/chart394.xml"/><Relationship Id="rId4" Type="http://schemas.openxmlformats.org/officeDocument/2006/relationships/image" Target="../media/image28.emf"/></Relationships>
</file>

<file path=ppt/slides/_rels/slide21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43.xml"/><Relationship Id="rId5" Type="http://schemas.openxmlformats.org/officeDocument/2006/relationships/chart" Target="../charts/chart395.xml"/><Relationship Id="rId4" Type="http://schemas.openxmlformats.org/officeDocument/2006/relationships/image" Target="../media/image28.emf"/></Relationships>
</file>

<file path=ppt/slides/_rels/slide21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44.xml"/><Relationship Id="rId5" Type="http://schemas.openxmlformats.org/officeDocument/2006/relationships/chart" Target="../charts/chart396.xml"/><Relationship Id="rId4" Type="http://schemas.openxmlformats.org/officeDocument/2006/relationships/image" Target="../media/image28.emf"/></Relationships>
</file>

<file path=ppt/slides/_rels/slide21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45.xml"/><Relationship Id="rId5" Type="http://schemas.openxmlformats.org/officeDocument/2006/relationships/chart" Target="../charts/chart397.xml"/><Relationship Id="rId4" Type="http://schemas.openxmlformats.org/officeDocument/2006/relationships/image" Target="../media/image28.emf"/></Relationships>
</file>

<file path=ppt/slides/_rels/slide21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46.xml"/><Relationship Id="rId5" Type="http://schemas.openxmlformats.org/officeDocument/2006/relationships/chart" Target="../charts/chart398.xml"/><Relationship Id="rId4" Type="http://schemas.openxmlformats.org/officeDocument/2006/relationships/image" Target="../media/image28.emf"/></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30.xml"/><Relationship Id="rId2" Type="http://schemas.openxmlformats.org/officeDocument/2006/relationships/slideLayout" Target="../slideLayouts/slideLayout7.xml"/><Relationship Id="rId1" Type="http://schemas.openxmlformats.org/officeDocument/2006/relationships/tags" Target="../tags/tag49.xml"/><Relationship Id="rId6" Type="http://schemas.openxmlformats.org/officeDocument/2006/relationships/chart" Target="../charts/chart29.xml"/><Relationship Id="rId5" Type="http://schemas.openxmlformats.org/officeDocument/2006/relationships/chart" Target="../charts/chart28.xml"/><Relationship Id="rId4" Type="http://schemas.openxmlformats.org/officeDocument/2006/relationships/image" Target="../media/image28.emf"/></Relationships>
</file>

<file path=ppt/slides/_rels/slide22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47.xml"/><Relationship Id="rId5" Type="http://schemas.openxmlformats.org/officeDocument/2006/relationships/chart" Target="../charts/chart399.xml"/><Relationship Id="rId4" Type="http://schemas.openxmlformats.org/officeDocument/2006/relationships/image" Target="../media/image28.emf"/></Relationships>
</file>

<file path=ppt/slides/_rels/slide22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48.xml"/><Relationship Id="rId5" Type="http://schemas.openxmlformats.org/officeDocument/2006/relationships/chart" Target="../charts/chart400.xml"/><Relationship Id="rId4" Type="http://schemas.openxmlformats.org/officeDocument/2006/relationships/image" Target="../media/image28.emf"/></Relationships>
</file>

<file path=ppt/slides/_rels/slide22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49.xml"/><Relationship Id="rId5" Type="http://schemas.openxmlformats.org/officeDocument/2006/relationships/chart" Target="../charts/chart401.xml"/><Relationship Id="rId4" Type="http://schemas.openxmlformats.org/officeDocument/2006/relationships/image" Target="../media/image28.emf"/></Relationships>
</file>

<file path=ppt/slides/_rels/slide22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50.xml"/><Relationship Id="rId5" Type="http://schemas.openxmlformats.org/officeDocument/2006/relationships/chart" Target="../charts/chart402.xml"/><Relationship Id="rId4" Type="http://schemas.openxmlformats.org/officeDocument/2006/relationships/image" Target="../media/image28.emf"/></Relationships>
</file>

<file path=ppt/slides/_rels/slide22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51.xml"/><Relationship Id="rId5" Type="http://schemas.openxmlformats.org/officeDocument/2006/relationships/chart" Target="../charts/chart403.xml"/><Relationship Id="rId4" Type="http://schemas.openxmlformats.org/officeDocument/2006/relationships/image" Target="../media/image28.emf"/></Relationships>
</file>

<file path=ppt/slides/_rels/slide22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52.xml"/><Relationship Id="rId5" Type="http://schemas.openxmlformats.org/officeDocument/2006/relationships/chart" Target="../charts/chart404.xml"/><Relationship Id="rId4" Type="http://schemas.openxmlformats.org/officeDocument/2006/relationships/image" Target="../media/image28.emf"/></Relationships>
</file>

<file path=ppt/slides/_rels/slide2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53.xml"/><Relationship Id="rId5" Type="http://schemas.openxmlformats.org/officeDocument/2006/relationships/chart" Target="../charts/chart405.xml"/><Relationship Id="rId4" Type="http://schemas.openxmlformats.org/officeDocument/2006/relationships/image" Target="../media/image28.emf"/></Relationships>
</file>

<file path=ppt/slides/_rels/slide22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54.xml"/><Relationship Id="rId5" Type="http://schemas.openxmlformats.org/officeDocument/2006/relationships/chart" Target="../charts/chart406.xml"/><Relationship Id="rId4" Type="http://schemas.openxmlformats.org/officeDocument/2006/relationships/image" Target="../media/image28.emf"/></Relationships>
</file>

<file path=ppt/slides/_rels/slide22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55.xml"/><Relationship Id="rId5" Type="http://schemas.openxmlformats.org/officeDocument/2006/relationships/chart" Target="../charts/chart407.xml"/><Relationship Id="rId4" Type="http://schemas.openxmlformats.org/officeDocument/2006/relationships/image" Target="../media/image28.emf"/></Relationships>
</file>

<file path=ppt/slides/_rels/slide22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56.xml"/><Relationship Id="rId5" Type="http://schemas.openxmlformats.org/officeDocument/2006/relationships/chart" Target="../charts/chart408.xml"/><Relationship Id="rId4" Type="http://schemas.openxmlformats.org/officeDocument/2006/relationships/image" Target="../media/image28.emf"/></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33.xml"/><Relationship Id="rId2" Type="http://schemas.openxmlformats.org/officeDocument/2006/relationships/slideLayout" Target="../slideLayouts/slideLayout7.xml"/><Relationship Id="rId1" Type="http://schemas.openxmlformats.org/officeDocument/2006/relationships/tags" Target="../tags/tag50.xml"/><Relationship Id="rId6" Type="http://schemas.openxmlformats.org/officeDocument/2006/relationships/chart" Target="../charts/chart32.xml"/><Relationship Id="rId5" Type="http://schemas.openxmlformats.org/officeDocument/2006/relationships/chart" Target="../charts/chart31.xml"/><Relationship Id="rId4" Type="http://schemas.openxmlformats.org/officeDocument/2006/relationships/image" Target="../media/image28.emf"/></Relationships>
</file>

<file path=ppt/slides/_rels/slide23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57.xml"/><Relationship Id="rId5" Type="http://schemas.openxmlformats.org/officeDocument/2006/relationships/chart" Target="../charts/chart409.xml"/><Relationship Id="rId4" Type="http://schemas.openxmlformats.org/officeDocument/2006/relationships/image" Target="../media/image28.emf"/></Relationships>
</file>

<file path=ppt/slides/_rels/slide23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58.xml"/><Relationship Id="rId5" Type="http://schemas.openxmlformats.org/officeDocument/2006/relationships/chart" Target="../charts/chart410.xml"/><Relationship Id="rId4" Type="http://schemas.openxmlformats.org/officeDocument/2006/relationships/image" Target="../media/image28.emf"/></Relationships>
</file>

<file path=ppt/slides/_rels/slide23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59.xml"/><Relationship Id="rId5" Type="http://schemas.openxmlformats.org/officeDocument/2006/relationships/chart" Target="../charts/chart411.xml"/><Relationship Id="rId4" Type="http://schemas.openxmlformats.org/officeDocument/2006/relationships/image" Target="../media/image28.emf"/></Relationships>
</file>

<file path=ppt/slides/_rels/slide23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60.xml"/><Relationship Id="rId5" Type="http://schemas.openxmlformats.org/officeDocument/2006/relationships/chart" Target="../charts/chart412.xml"/><Relationship Id="rId4" Type="http://schemas.openxmlformats.org/officeDocument/2006/relationships/image" Target="../media/image28.emf"/></Relationships>
</file>

<file path=ppt/slides/_rels/slide23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61.xml"/><Relationship Id="rId5" Type="http://schemas.openxmlformats.org/officeDocument/2006/relationships/chart" Target="../charts/chart413.xml"/><Relationship Id="rId4" Type="http://schemas.openxmlformats.org/officeDocument/2006/relationships/image" Target="../media/image28.emf"/></Relationships>
</file>

<file path=ppt/slides/_rels/slide23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62.xml"/><Relationship Id="rId5" Type="http://schemas.openxmlformats.org/officeDocument/2006/relationships/chart" Target="../charts/chart414.xml"/><Relationship Id="rId4" Type="http://schemas.openxmlformats.org/officeDocument/2006/relationships/image" Target="../media/image28.emf"/></Relationships>
</file>

<file path=ppt/slides/_rels/slide23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63.xml"/><Relationship Id="rId5" Type="http://schemas.openxmlformats.org/officeDocument/2006/relationships/chart" Target="../charts/chart415.xml"/><Relationship Id="rId4" Type="http://schemas.openxmlformats.org/officeDocument/2006/relationships/image" Target="../media/image28.emf"/></Relationships>
</file>

<file path=ppt/slides/_rels/slide23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64.xml"/><Relationship Id="rId5" Type="http://schemas.openxmlformats.org/officeDocument/2006/relationships/chart" Target="../charts/chart416.xml"/><Relationship Id="rId4" Type="http://schemas.openxmlformats.org/officeDocument/2006/relationships/image" Target="../media/image28.emf"/></Relationships>
</file>

<file path=ppt/slides/_rels/slide23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65.xml"/><Relationship Id="rId5" Type="http://schemas.openxmlformats.org/officeDocument/2006/relationships/chart" Target="../charts/chart417.xml"/><Relationship Id="rId4" Type="http://schemas.openxmlformats.org/officeDocument/2006/relationships/image" Target="../media/image28.emf"/></Relationships>
</file>

<file path=ppt/slides/_rels/slide23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66.xml"/><Relationship Id="rId5" Type="http://schemas.openxmlformats.org/officeDocument/2006/relationships/chart" Target="../charts/chart418.xml"/><Relationship Id="rId4" Type="http://schemas.openxmlformats.org/officeDocument/2006/relationships/image" Target="../media/image28.emf"/></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36.xml"/><Relationship Id="rId2" Type="http://schemas.openxmlformats.org/officeDocument/2006/relationships/slideLayout" Target="../slideLayouts/slideLayout7.xml"/><Relationship Id="rId1" Type="http://schemas.openxmlformats.org/officeDocument/2006/relationships/tags" Target="../tags/tag51.xml"/><Relationship Id="rId6" Type="http://schemas.openxmlformats.org/officeDocument/2006/relationships/chart" Target="../charts/chart35.xml"/><Relationship Id="rId5" Type="http://schemas.openxmlformats.org/officeDocument/2006/relationships/chart" Target="../charts/chart34.xml"/><Relationship Id="rId4" Type="http://schemas.openxmlformats.org/officeDocument/2006/relationships/image" Target="../media/image28.emf"/></Relationships>
</file>

<file path=ppt/slides/_rels/slide24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67.xml"/><Relationship Id="rId5" Type="http://schemas.openxmlformats.org/officeDocument/2006/relationships/chart" Target="../charts/chart419.xml"/><Relationship Id="rId4" Type="http://schemas.openxmlformats.org/officeDocument/2006/relationships/image" Target="../media/image28.emf"/></Relationships>
</file>

<file path=ppt/slides/_rels/slide24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68.xml"/><Relationship Id="rId5" Type="http://schemas.openxmlformats.org/officeDocument/2006/relationships/chart" Target="../charts/chart420.xml"/><Relationship Id="rId4" Type="http://schemas.openxmlformats.org/officeDocument/2006/relationships/image" Target="../media/image28.emf"/></Relationships>
</file>

<file path=ppt/slides/_rels/slide24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69.xml"/><Relationship Id="rId5" Type="http://schemas.openxmlformats.org/officeDocument/2006/relationships/chart" Target="../charts/chart421.xml"/><Relationship Id="rId4" Type="http://schemas.openxmlformats.org/officeDocument/2006/relationships/image" Target="../media/image28.emf"/></Relationships>
</file>

<file path=ppt/slides/_rels/slide24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70.xml"/><Relationship Id="rId5" Type="http://schemas.openxmlformats.org/officeDocument/2006/relationships/chart" Target="../charts/chart422.xml"/><Relationship Id="rId4" Type="http://schemas.openxmlformats.org/officeDocument/2006/relationships/image" Target="../media/image28.emf"/></Relationships>
</file>

<file path=ppt/slides/_rels/slide24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71.xml"/><Relationship Id="rId5" Type="http://schemas.openxmlformats.org/officeDocument/2006/relationships/chart" Target="../charts/chart423.xml"/><Relationship Id="rId4" Type="http://schemas.openxmlformats.org/officeDocument/2006/relationships/image" Target="../media/image28.emf"/></Relationships>
</file>

<file path=ppt/slides/_rels/slide24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72.xml"/><Relationship Id="rId5" Type="http://schemas.openxmlformats.org/officeDocument/2006/relationships/chart" Target="../charts/chart424.xml"/><Relationship Id="rId4" Type="http://schemas.openxmlformats.org/officeDocument/2006/relationships/image" Target="../media/image28.emf"/></Relationships>
</file>

<file path=ppt/slides/_rels/slide24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73.xml"/><Relationship Id="rId5" Type="http://schemas.openxmlformats.org/officeDocument/2006/relationships/chart" Target="../charts/chart425.xml"/><Relationship Id="rId4" Type="http://schemas.openxmlformats.org/officeDocument/2006/relationships/image" Target="../media/image28.emf"/></Relationships>
</file>

<file path=ppt/slides/_rels/slide24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74.xml"/><Relationship Id="rId5" Type="http://schemas.openxmlformats.org/officeDocument/2006/relationships/chart" Target="../charts/chart426.xml"/><Relationship Id="rId4" Type="http://schemas.openxmlformats.org/officeDocument/2006/relationships/image" Target="../media/image28.emf"/></Relationships>
</file>

<file path=ppt/slides/_rels/slide24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75.xml"/><Relationship Id="rId5" Type="http://schemas.openxmlformats.org/officeDocument/2006/relationships/chart" Target="../charts/chart427.xml"/><Relationship Id="rId4" Type="http://schemas.openxmlformats.org/officeDocument/2006/relationships/image" Target="../media/image28.emf"/></Relationships>
</file>

<file path=ppt/slides/_rels/slide24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76.xml"/><Relationship Id="rId5" Type="http://schemas.openxmlformats.org/officeDocument/2006/relationships/chart" Target="../charts/chart428.xml"/><Relationship Id="rId4" Type="http://schemas.openxmlformats.org/officeDocument/2006/relationships/image" Target="../media/image28.emf"/></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39.xml"/><Relationship Id="rId2" Type="http://schemas.openxmlformats.org/officeDocument/2006/relationships/slideLayout" Target="../slideLayouts/slideLayout7.xml"/><Relationship Id="rId1" Type="http://schemas.openxmlformats.org/officeDocument/2006/relationships/tags" Target="../tags/tag52.xml"/><Relationship Id="rId6" Type="http://schemas.openxmlformats.org/officeDocument/2006/relationships/chart" Target="../charts/chart38.xml"/><Relationship Id="rId5" Type="http://schemas.openxmlformats.org/officeDocument/2006/relationships/chart" Target="../charts/chart37.xml"/><Relationship Id="rId4" Type="http://schemas.openxmlformats.org/officeDocument/2006/relationships/image" Target="../media/image28.emf"/></Relationships>
</file>

<file path=ppt/slides/_rels/slide25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77.xml"/><Relationship Id="rId5" Type="http://schemas.openxmlformats.org/officeDocument/2006/relationships/chart" Target="../charts/chart429.xml"/><Relationship Id="rId4" Type="http://schemas.openxmlformats.org/officeDocument/2006/relationships/image" Target="../media/image28.emf"/></Relationships>
</file>

<file path=ppt/slides/_rels/slide25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78.xml"/><Relationship Id="rId5" Type="http://schemas.openxmlformats.org/officeDocument/2006/relationships/chart" Target="../charts/chart430.xml"/><Relationship Id="rId4" Type="http://schemas.openxmlformats.org/officeDocument/2006/relationships/image" Target="../media/image28.emf"/></Relationships>
</file>

<file path=ppt/slides/_rels/slide25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79.xml"/><Relationship Id="rId5" Type="http://schemas.openxmlformats.org/officeDocument/2006/relationships/chart" Target="../charts/chart431.xml"/><Relationship Id="rId4" Type="http://schemas.openxmlformats.org/officeDocument/2006/relationships/image" Target="../media/image28.emf"/></Relationships>
</file>

<file path=ppt/slides/_rels/slide25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0.xml"/><Relationship Id="rId5" Type="http://schemas.openxmlformats.org/officeDocument/2006/relationships/chart" Target="../charts/chart432.xml"/><Relationship Id="rId4" Type="http://schemas.openxmlformats.org/officeDocument/2006/relationships/image" Target="../media/image28.emf"/></Relationships>
</file>

<file path=ppt/slides/_rels/slide25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1.xml"/><Relationship Id="rId5" Type="http://schemas.openxmlformats.org/officeDocument/2006/relationships/chart" Target="../charts/chart433.xml"/><Relationship Id="rId4" Type="http://schemas.openxmlformats.org/officeDocument/2006/relationships/image" Target="../media/image28.emf"/></Relationships>
</file>

<file path=ppt/slides/_rels/slide25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2.xml"/><Relationship Id="rId5" Type="http://schemas.openxmlformats.org/officeDocument/2006/relationships/chart" Target="../charts/chart434.xml"/><Relationship Id="rId4" Type="http://schemas.openxmlformats.org/officeDocument/2006/relationships/image" Target="../media/image28.emf"/></Relationships>
</file>

<file path=ppt/slides/_rels/slide25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3.xml"/><Relationship Id="rId5" Type="http://schemas.openxmlformats.org/officeDocument/2006/relationships/chart" Target="../charts/chart435.xml"/><Relationship Id="rId4" Type="http://schemas.openxmlformats.org/officeDocument/2006/relationships/image" Target="../media/image28.emf"/></Relationships>
</file>

<file path=ppt/slides/_rels/slide25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4.xml"/><Relationship Id="rId5" Type="http://schemas.openxmlformats.org/officeDocument/2006/relationships/chart" Target="../charts/chart436.xml"/><Relationship Id="rId4" Type="http://schemas.openxmlformats.org/officeDocument/2006/relationships/image" Target="../media/image28.emf"/></Relationships>
</file>

<file path=ppt/slides/_rels/slide25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5.xml"/><Relationship Id="rId5" Type="http://schemas.openxmlformats.org/officeDocument/2006/relationships/chart" Target="../charts/chart437.xml"/><Relationship Id="rId4" Type="http://schemas.openxmlformats.org/officeDocument/2006/relationships/image" Target="../media/image28.emf"/></Relationships>
</file>

<file path=ppt/slides/_rels/slide25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6.xml"/><Relationship Id="rId5" Type="http://schemas.openxmlformats.org/officeDocument/2006/relationships/chart" Target="../charts/chart438.xml"/><Relationship Id="rId4" Type="http://schemas.openxmlformats.org/officeDocument/2006/relationships/image" Target="../media/image28.emf"/></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42.xml"/><Relationship Id="rId2" Type="http://schemas.openxmlformats.org/officeDocument/2006/relationships/slideLayout" Target="../slideLayouts/slideLayout7.xml"/><Relationship Id="rId1" Type="http://schemas.openxmlformats.org/officeDocument/2006/relationships/tags" Target="../tags/tag53.xml"/><Relationship Id="rId6" Type="http://schemas.openxmlformats.org/officeDocument/2006/relationships/chart" Target="../charts/chart41.xml"/><Relationship Id="rId5" Type="http://schemas.openxmlformats.org/officeDocument/2006/relationships/chart" Target="../charts/chart40.xml"/><Relationship Id="rId4" Type="http://schemas.openxmlformats.org/officeDocument/2006/relationships/image" Target="../media/image28.emf"/></Relationships>
</file>

<file path=ppt/slides/_rels/slide26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7.xml"/><Relationship Id="rId5" Type="http://schemas.openxmlformats.org/officeDocument/2006/relationships/chart" Target="../charts/chart439.xml"/><Relationship Id="rId4" Type="http://schemas.openxmlformats.org/officeDocument/2006/relationships/image" Target="../media/image28.emf"/></Relationships>
</file>

<file path=ppt/slides/_rels/slide26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8.xml"/><Relationship Id="rId5" Type="http://schemas.openxmlformats.org/officeDocument/2006/relationships/chart" Target="../charts/chart440.xml"/><Relationship Id="rId4" Type="http://schemas.openxmlformats.org/officeDocument/2006/relationships/image" Target="../media/image28.emf"/></Relationships>
</file>

<file path=ppt/slides/_rels/slide26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9.xml"/><Relationship Id="rId5" Type="http://schemas.openxmlformats.org/officeDocument/2006/relationships/chart" Target="../charts/chart441.xml"/><Relationship Id="rId4" Type="http://schemas.openxmlformats.org/officeDocument/2006/relationships/image" Target="../media/image28.emf"/></Relationships>
</file>

<file path=ppt/slides/_rels/slide26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0.xml"/><Relationship Id="rId5" Type="http://schemas.openxmlformats.org/officeDocument/2006/relationships/chart" Target="../charts/chart442.xml"/><Relationship Id="rId4" Type="http://schemas.openxmlformats.org/officeDocument/2006/relationships/image" Target="../media/image28.emf"/></Relationships>
</file>

<file path=ppt/slides/_rels/slide26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1.xml"/><Relationship Id="rId5" Type="http://schemas.openxmlformats.org/officeDocument/2006/relationships/chart" Target="../charts/chart443.xml"/><Relationship Id="rId4" Type="http://schemas.openxmlformats.org/officeDocument/2006/relationships/image" Target="../media/image28.emf"/></Relationships>
</file>

<file path=ppt/slides/_rels/slide26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2.xml"/><Relationship Id="rId5" Type="http://schemas.openxmlformats.org/officeDocument/2006/relationships/chart" Target="../charts/chart444.xml"/><Relationship Id="rId4" Type="http://schemas.openxmlformats.org/officeDocument/2006/relationships/image" Target="../media/image28.emf"/></Relationships>
</file>

<file path=ppt/slides/_rels/slide26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3.xml"/><Relationship Id="rId5" Type="http://schemas.openxmlformats.org/officeDocument/2006/relationships/chart" Target="../charts/chart445.xml"/><Relationship Id="rId4" Type="http://schemas.openxmlformats.org/officeDocument/2006/relationships/image" Target="../media/image28.emf"/></Relationships>
</file>

<file path=ppt/slides/_rels/slide26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4.xml"/><Relationship Id="rId5" Type="http://schemas.openxmlformats.org/officeDocument/2006/relationships/chart" Target="../charts/chart446.xml"/><Relationship Id="rId4" Type="http://schemas.openxmlformats.org/officeDocument/2006/relationships/image" Target="../media/image28.emf"/></Relationships>
</file>

<file path=ppt/slides/_rels/slide26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5.xml"/><Relationship Id="rId5" Type="http://schemas.openxmlformats.org/officeDocument/2006/relationships/chart" Target="../charts/chart447.xml"/><Relationship Id="rId4" Type="http://schemas.openxmlformats.org/officeDocument/2006/relationships/image" Target="../media/image28.emf"/></Relationships>
</file>

<file path=ppt/slides/_rels/slide26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6.xml"/><Relationship Id="rId5" Type="http://schemas.openxmlformats.org/officeDocument/2006/relationships/chart" Target="../charts/chart448.xml"/><Relationship Id="rId4" Type="http://schemas.openxmlformats.org/officeDocument/2006/relationships/image" Target="../media/image28.emf"/></Relationships>
</file>

<file path=ppt/slides/_rels/slide27.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45.xml"/><Relationship Id="rId2" Type="http://schemas.openxmlformats.org/officeDocument/2006/relationships/slideLayout" Target="../slideLayouts/slideLayout7.xml"/><Relationship Id="rId1" Type="http://schemas.openxmlformats.org/officeDocument/2006/relationships/tags" Target="../tags/tag54.xml"/><Relationship Id="rId6" Type="http://schemas.openxmlformats.org/officeDocument/2006/relationships/chart" Target="../charts/chart44.xml"/><Relationship Id="rId5" Type="http://schemas.openxmlformats.org/officeDocument/2006/relationships/chart" Target="../charts/chart43.xml"/><Relationship Id="rId4" Type="http://schemas.openxmlformats.org/officeDocument/2006/relationships/image" Target="../media/image28.emf"/></Relationships>
</file>

<file path=ppt/slides/_rels/slide27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7.xml"/><Relationship Id="rId5" Type="http://schemas.openxmlformats.org/officeDocument/2006/relationships/chart" Target="../charts/chart449.xml"/><Relationship Id="rId4" Type="http://schemas.openxmlformats.org/officeDocument/2006/relationships/image" Target="../media/image28.emf"/></Relationships>
</file>

<file path=ppt/slides/_rels/slide27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8.xml"/><Relationship Id="rId5" Type="http://schemas.openxmlformats.org/officeDocument/2006/relationships/chart" Target="../charts/chart450.xml"/><Relationship Id="rId4" Type="http://schemas.openxmlformats.org/officeDocument/2006/relationships/image" Target="../media/image28.emf"/></Relationships>
</file>

<file path=ppt/slides/_rels/slide27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9.xml"/><Relationship Id="rId5" Type="http://schemas.openxmlformats.org/officeDocument/2006/relationships/chart" Target="../charts/chart451.xml"/><Relationship Id="rId4" Type="http://schemas.openxmlformats.org/officeDocument/2006/relationships/image" Target="../media/image28.emf"/></Relationships>
</file>

<file path=ppt/slides/_rels/slide27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0.xml"/><Relationship Id="rId5" Type="http://schemas.openxmlformats.org/officeDocument/2006/relationships/chart" Target="../charts/chart452.xml"/><Relationship Id="rId4" Type="http://schemas.openxmlformats.org/officeDocument/2006/relationships/image" Target="../media/image28.emf"/></Relationships>
</file>

<file path=ppt/slides/_rels/slide27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1.xml"/><Relationship Id="rId5" Type="http://schemas.openxmlformats.org/officeDocument/2006/relationships/chart" Target="../charts/chart453.xml"/><Relationship Id="rId4" Type="http://schemas.openxmlformats.org/officeDocument/2006/relationships/image" Target="../media/image28.emf"/></Relationships>
</file>

<file path=ppt/slides/_rels/slide27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2.xml"/><Relationship Id="rId5" Type="http://schemas.openxmlformats.org/officeDocument/2006/relationships/chart" Target="../charts/chart454.xml"/><Relationship Id="rId4" Type="http://schemas.openxmlformats.org/officeDocument/2006/relationships/image" Target="../media/image28.emf"/></Relationships>
</file>

<file path=ppt/slides/_rels/slide27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3.xml"/><Relationship Id="rId5" Type="http://schemas.openxmlformats.org/officeDocument/2006/relationships/chart" Target="../charts/chart455.xml"/><Relationship Id="rId4" Type="http://schemas.openxmlformats.org/officeDocument/2006/relationships/image" Target="../media/image28.emf"/></Relationships>
</file>

<file path=ppt/slides/_rels/slide27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4.xml"/><Relationship Id="rId5" Type="http://schemas.openxmlformats.org/officeDocument/2006/relationships/chart" Target="../charts/chart456.xml"/><Relationship Id="rId4" Type="http://schemas.openxmlformats.org/officeDocument/2006/relationships/image" Target="../media/image28.emf"/></Relationships>
</file>

<file path=ppt/slides/_rels/slide27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5.xml"/><Relationship Id="rId5" Type="http://schemas.openxmlformats.org/officeDocument/2006/relationships/chart" Target="../charts/chart457.xml"/><Relationship Id="rId4" Type="http://schemas.openxmlformats.org/officeDocument/2006/relationships/image" Target="../media/image28.emf"/></Relationships>
</file>

<file path=ppt/slides/_rels/slide27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6.xml"/><Relationship Id="rId5" Type="http://schemas.openxmlformats.org/officeDocument/2006/relationships/chart" Target="../charts/chart458.xml"/><Relationship Id="rId4" Type="http://schemas.openxmlformats.org/officeDocument/2006/relationships/image" Target="../media/image28.emf"/></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48.xml"/><Relationship Id="rId2" Type="http://schemas.openxmlformats.org/officeDocument/2006/relationships/slideLayout" Target="../slideLayouts/slideLayout7.xml"/><Relationship Id="rId1" Type="http://schemas.openxmlformats.org/officeDocument/2006/relationships/tags" Target="../tags/tag55.xml"/><Relationship Id="rId6" Type="http://schemas.openxmlformats.org/officeDocument/2006/relationships/chart" Target="../charts/chart47.xml"/><Relationship Id="rId5" Type="http://schemas.openxmlformats.org/officeDocument/2006/relationships/chart" Target="../charts/chart46.xml"/><Relationship Id="rId4" Type="http://schemas.openxmlformats.org/officeDocument/2006/relationships/image" Target="../media/image28.emf"/></Relationships>
</file>

<file path=ppt/slides/_rels/slide28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7.xml"/><Relationship Id="rId5" Type="http://schemas.openxmlformats.org/officeDocument/2006/relationships/chart" Target="../charts/chart459.xml"/><Relationship Id="rId4" Type="http://schemas.openxmlformats.org/officeDocument/2006/relationships/image" Target="../media/image28.emf"/></Relationships>
</file>

<file path=ppt/slides/_rels/slide28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8.xml"/><Relationship Id="rId5" Type="http://schemas.openxmlformats.org/officeDocument/2006/relationships/chart" Target="../charts/chart460.xml"/><Relationship Id="rId4" Type="http://schemas.openxmlformats.org/officeDocument/2006/relationships/image" Target="../media/image28.emf"/></Relationships>
</file>

<file path=ppt/slides/_rels/slide28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9.xml"/><Relationship Id="rId5" Type="http://schemas.openxmlformats.org/officeDocument/2006/relationships/chart" Target="../charts/chart461.xml"/><Relationship Id="rId4" Type="http://schemas.openxmlformats.org/officeDocument/2006/relationships/image" Target="../media/image28.emf"/></Relationships>
</file>

<file path=ppt/slides/_rels/slide28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0.xml"/><Relationship Id="rId5" Type="http://schemas.openxmlformats.org/officeDocument/2006/relationships/chart" Target="../charts/chart462.xml"/><Relationship Id="rId4" Type="http://schemas.openxmlformats.org/officeDocument/2006/relationships/image" Target="../media/image28.emf"/></Relationships>
</file>

<file path=ppt/slides/_rels/slide28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1.xml"/><Relationship Id="rId5" Type="http://schemas.openxmlformats.org/officeDocument/2006/relationships/chart" Target="../charts/chart463.xml"/><Relationship Id="rId4" Type="http://schemas.openxmlformats.org/officeDocument/2006/relationships/image" Target="../media/image28.emf"/></Relationships>
</file>

<file path=ppt/slides/_rels/slide28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2.xml"/><Relationship Id="rId5" Type="http://schemas.openxmlformats.org/officeDocument/2006/relationships/chart" Target="../charts/chart464.xml"/><Relationship Id="rId4" Type="http://schemas.openxmlformats.org/officeDocument/2006/relationships/image" Target="../media/image28.emf"/></Relationships>
</file>

<file path=ppt/slides/_rels/slide28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3.xml"/><Relationship Id="rId5" Type="http://schemas.openxmlformats.org/officeDocument/2006/relationships/chart" Target="../charts/chart465.xml"/><Relationship Id="rId4" Type="http://schemas.openxmlformats.org/officeDocument/2006/relationships/image" Target="../media/image28.emf"/></Relationships>
</file>

<file path=ppt/slides/_rels/slide28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4.xml"/><Relationship Id="rId5" Type="http://schemas.openxmlformats.org/officeDocument/2006/relationships/chart" Target="../charts/chart466.xml"/><Relationship Id="rId4" Type="http://schemas.openxmlformats.org/officeDocument/2006/relationships/image" Target="../media/image28.emf"/></Relationships>
</file>

<file path=ppt/slides/_rels/slide28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5.xml"/><Relationship Id="rId5" Type="http://schemas.openxmlformats.org/officeDocument/2006/relationships/chart" Target="../charts/chart467.xml"/><Relationship Id="rId4" Type="http://schemas.openxmlformats.org/officeDocument/2006/relationships/image" Target="../media/image28.emf"/></Relationships>
</file>

<file path=ppt/slides/_rels/slide28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6.xml"/><Relationship Id="rId5" Type="http://schemas.openxmlformats.org/officeDocument/2006/relationships/chart" Target="../charts/chart468.xml"/><Relationship Id="rId4" Type="http://schemas.openxmlformats.org/officeDocument/2006/relationships/image" Target="../media/image28.emf"/></Relationships>
</file>

<file path=ppt/slides/_rels/slide2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51.xml"/><Relationship Id="rId2" Type="http://schemas.openxmlformats.org/officeDocument/2006/relationships/slideLayout" Target="../slideLayouts/slideLayout7.xml"/><Relationship Id="rId1" Type="http://schemas.openxmlformats.org/officeDocument/2006/relationships/tags" Target="../tags/tag56.xml"/><Relationship Id="rId6" Type="http://schemas.openxmlformats.org/officeDocument/2006/relationships/chart" Target="../charts/chart50.xml"/><Relationship Id="rId5" Type="http://schemas.openxmlformats.org/officeDocument/2006/relationships/chart" Target="../charts/chart49.xml"/><Relationship Id="rId4" Type="http://schemas.openxmlformats.org/officeDocument/2006/relationships/image" Target="../media/image28.emf"/></Relationships>
</file>

<file path=ppt/slides/_rels/slide29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7.xml"/><Relationship Id="rId5" Type="http://schemas.openxmlformats.org/officeDocument/2006/relationships/chart" Target="../charts/chart469.xml"/><Relationship Id="rId4" Type="http://schemas.openxmlformats.org/officeDocument/2006/relationships/image" Target="../media/image28.emf"/></Relationships>
</file>

<file path=ppt/slides/_rels/slide29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8.xml"/><Relationship Id="rId5" Type="http://schemas.openxmlformats.org/officeDocument/2006/relationships/chart" Target="../charts/chart470.xml"/><Relationship Id="rId4" Type="http://schemas.openxmlformats.org/officeDocument/2006/relationships/image" Target="../media/image28.emf"/></Relationships>
</file>

<file path=ppt/slides/_rels/slide29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9.xml"/><Relationship Id="rId5" Type="http://schemas.openxmlformats.org/officeDocument/2006/relationships/chart" Target="../charts/chart471.xml"/><Relationship Id="rId4" Type="http://schemas.openxmlformats.org/officeDocument/2006/relationships/image" Target="../media/image28.emf"/></Relationships>
</file>

<file path=ppt/slides/_rels/slide29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0.xml"/><Relationship Id="rId5" Type="http://schemas.openxmlformats.org/officeDocument/2006/relationships/chart" Target="../charts/chart472.xml"/><Relationship Id="rId4" Type="http://schemas.openxmlformats.org/officeDocument/2006/relationships/image" Target="../media/image28.emf"/></Relationships>
</file>

<file path=ppt/slides/_rels/slide29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1.xml"/><Relationship Id="rId5" Type="http://schemas.openxmlformats.org/officeDocument/2006/relationships/chart" Target="../charts/chart473.xml"/><Relationship Id="rId4" Type="http://schemas.openxmlformats.org/officeDocument/2006/relationships/image" Target="../media/image28.emf"/></Relationships>
</file>

<file path=ppt/slides/_rels/slide29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2.xml"/><Relationship Id="rId5" Type="http://schemas.openxmlformats.org/officeDocument/2006/relationships/chart" Target="../charts/chart474.xml"/><Relationship Id="rId4" Type="http://schemas.openxmlformats.org/officeDocument/2006/relationships/image" Target="../media/image28.emf"/></Relationships>
</file>

<file path=ppt/slides/_rels/slide29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3.xml"/><Relationship Id="rId5" Type="http://schemas.openxmlformats.org/officeDocument/2006/relationships/chart" Target="../charts/chart475.xml"/><Relationship Id="rId4" Type="http://schemas.openxmlformats.org/officeDocument/2006/relationships/image" Target="../media/image28.emf"/></Relationships>
</file>

<file path=ppt/slides/_rels/slide29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4.xml"/><Relationship Id="rId5" Type="http://schemas.openxmlformats.org/officeDocument/2006/relationships/chart" Target="../charts/chart476.xml"/><Relationship Id="rId4" Type="http://schemas.openxmlformats.org/officeDocument/2006/relationships/image" Target="../media/image28.emf"/></Relationships>
</file>

<file path=ppt/slides/_rels/slide29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5.xml"/><Relationship Id="rId5" Type="http://schemas.openxmlformats.org/officeDocument/2006/relationships/chart" Target="../charts/chart477.xml"/><Relationship Id="rId4" Type="http://schemas.openxmlformats.org/officeDocument/2006/relationships/image" Target="../media/image28.emf"/></Relationships>
</file>

<file path=ppt/slides/_rels/slide29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6.xml"/><Relationship Id="rId5" Type="http://schemas.openxmlformats.org/officeDocument/2006/relationships/chart" Target="../charts/chart478.xml"/><Relationship Id="rId4" Type="http://schemas.openxmlformats.org/officeDocument/2006/relationships/image" Target="../media/image28.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xml"/><Relationship Id="rId5" Type="http://schemas.openxmlformats.org/officeDocument/2006/relationships/chart" Target="../charts/chart3.xml"/><Relationship Id="rId4" Type="http://schemas.openxmlformats.org/officeDocument/2006/relationships/image" Target="../media/image28.emf"/></Relationships>
</file>

<file path=ppt/slides/_rels/slide30.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54.xml"/><Relationship Id="rId2" Type="http://schemas.openxmlformats.org/officeDocument/2006/relationships/slideLayout" Target="../slideLayouts/slideLayout7.xml"/><Relationship Id="rId1" Type="http://schemas.openxmlformats.org/officeDocument/2006/relationships/tags" Target="../tags/tag57.xml"/><Relationship Id="rId6" Type="http://schemas.openxmlformats.org/officeDocument/2006/relationships/chart" Target="../charts/chart53.xml"/><Relationship Id="rId5" Type="http://schemas.openxmlformats.org/officeDocument/2006/relationships/chart" Target="../charts/chart52.xml"/><Relationship Id="rId4" Type="http://schemas.openxmlformats.org/officeDocument/2006/relationships/image" Target="../media/image28.emf"/></Relationships>
</file>

<file path=ppt/slides/_rels/slide30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7.xml"/><Relationship Id="rId5" Type="http://schemas.openxmlformats.org/officeDocument/2006/relationships/chart" Target="../charts/chart479.xml"/><Relationship Id="rId4" Type="http://schemas.openxmlformats.org/officeDocument/2006/relationships/image" Target="../media/image28.emf"/></Relationships>
</file>

<file path=ppt/slides/_rels/slide30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8.xml"/><Relationship Id="rId5" Type="http://schemas.openxmlformats.org/officeDocument/2006/relationships/chart" Target="../charts/chart480.xml"/><Relationship Id="rId4" Type="http://schemas.openxmlformats.org/officeDocument/2006/relationships/image" Target="../media/image28.emf"/></Relationships>
</file>

<file path=ppt/slides/_rels/slide30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9.xml"/><Relationship Id="rId5" Type="http://schemas.openxmlformats.org/officeDocument/2006/relationships/chart" Target="../charts/chart481.xml"/><Relationship Id="rId4" Type="http://schemas.openxmlformats.org/officeDocument/2006/relationships/image" Target="../media/image28.emf"/></Relationships>
</file>

<file path=ppt/slides/_rels/slide30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0.xml"/><Relationship Id="rId5" Type="http://schemas.openxmlformats.org/officeDocument/2006/relationships/chart" Target="../charts/chart482.xml"/><Relationship Id="rId4" Type="http://schemas.openxmlformats.org/officeDocument/2006/relationships/image" Target="../media/image28.emf"/></Relationships>
</file>

<file path=ppt/slides/_rels/slide30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1.xml"/><Relationship Id="rId5" Type="http://schemas.openxmlformats.org/officeDocument/2006/relationships/chart" Target="../charts/chart483.xml"/><Relationship Id="rId4" Type="http://schemas.openxmlformats.org/officeDocument/2006/relationships/image" Target="../media/image28.emf"/></Relationships>
</file>

<file path=ppt/slides/_rels/slide30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2.xml"/><Relationship Id="rId5" Type="http://schemas.openxmlformats.org/officeDocument/2006/relationships/chart" Target="../charts/chart484.xml"/><Relationship Id="rId4" Type="http://schemas.openxmlformats.org/officeDocument/2006/relationships/image" Target="../media/image28.emf"/></Relationships>
</file>

<file path=ppt/slides/_rels/slide30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3.xml"/><Relationship Id="rId5" Type="http://schemas.openxmlformats.org/officeDocument/2006/relationships/chart" Target="../charts/chart485.xml"/><Relationship Id="rId4" Type="http://schemas.openxmlformats.org/officeDocument/2006/relationships/image" Target="../media/image28.emf"/></Relationships>
</file>

<file path=ppt/slides/_rels/slide30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4.xml"/><Relationship Id="rId5" Type="http://schemas.openxmlformats.org/officeDocument/2006/relationships/chart" Target="../charts/chart486.xml"/><Relationship Id="rId4" Type="http://schemas.openxmlformats.org/officeDocument/2006/relationships/image" Target="../media/image28.emf"/></Relationships>
</file>

<file path=ppt/slides/_rels/slide30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5.xml"/><Relationship Id="rId5" Type="http://schemas.openxmlformats.org/officeDocument/2006/relationships/chart" Target="../charts/chart487.xml"/><Relationship Id="rId4" Type="http://schemas.openxmlformats.org/officeDocument/2006/relationships/image" Target="../media/image28.emf"/></Relationships>
</file>

<file path=ppt/slides/_rels/slide30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6.xml"/><Relationship Id="rId5" Type="http://schemas.openxmlformats.org/officeDocument/2006/relationships/chart" Target="../charts/chart488.xml"/><Relationship Id="rId4" Type="http://schemas.openxmlformats.org/officeDocument/2006/relationships/image" Target="../media/image28.emf"/></Relationships>
</file>

<file path=ppt/slides/_rels/slide3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57.xml"/><Relationship Id="rId2" Type="http://schemas.openxmlformats.org/officeDocument/2006/relationships/slideLayout" Target="../slideLayouts/slideLayout7.xml"/><Relationship Id="rId1" Type="http://schemas.openxmlformats.org/officeDocument/2006/relationships/tags" Target="../tags/tag58.xml"/><Relationship Id="rId6" Type="http://schemas.openxmlformats.org/officeDocument/2006/relationships/chart" Target="../charts/chart56.xml"/><Relationship Id="rId5" Type="http://schemas.openxmlformats.org/officeDocument/2006/relationships/chart" Target="../charts/chart55.xml"/><Relationship Id="rId4" Type="http://schemas.openxmlformats.org/officeDocument/2006/relationships/image" Target="../media/image28.emf"/></Relationships>
</file>

<file path=ppt/slides/_rels/slide3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7.xml"/><Relationship Id="rId5" Type="http://schemas.openxmlformats.org/officeDocument/2006/relationships/chart" Target="../charts/chart489.xml"/><Relationship Id="rId4" Type="http://schemas.openxmlformats.org/officeDocument/2006/relationships/image" Target="../media/image28.emf"/></Relationships>
</file>

<file path=ppt/slides/_rels/slide31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8.xml"/><Relationship Id="rId5" Type="http://schemas.openxmlformats.org/officeDocument/2006/relationships/chart" Target="../charts/chart490.xml"/><Relationship Id="rId4" Type="http://schemas.openxmlformats.org/officeDocument/2006/relationships/image" Target="../media/image28.emf"/></Relationships>
</file>

<file path=ppt/slides/_rels/slide31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9.xml"/><Relationship Id="rId5" Type="http://schemas.openxmlformats.org/officeDocument/2006/relationships/chart" Target="../charts/chart491.xml"/><Relationship Id="rId4" Type="http://schemas.openxmlformats.org/officeDocument/2006/relationships/image" Target="../media/image28.emf"/></Relationships>
</file>

<file path=ppt/slides/_rels/slide31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0.xml"/><Relationship Id="rId5" Type="http://schemas.openxmlformats.org/officeDocument/2006/relationships/chart" Target="../charts/chart492.xml"/><Relationship Id="rId4" Type="http://schemas.openxmlformats.org/officeDocument/2006/relationships/image" Target="../media/image28.emf"/></Relationships>
</file>

<file path=ppt/slides/_rels/slide31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1.xml"/><Relationship Id="rId5" Type="http://schemas.openxmlformats.org/officeDocument/2006/relationships/chart" Target="../charts/chart493.xml"/><Relationship Id="rId4" Type="http://schemas.openxmlformats.org/officeDocument/2006/relationships/image" Target="../media/image28.emf"/></Relationships>
</file>

<file path=ppt/slides/_rels/slide31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2.xml"/><Relationship Id="rId5" Type="http://schemas.openxmlformats.org/officeDocument/2006/relationships/chart" Target="../charts/chart494.xml"/><Relationship Id="rId4" Type="http://schemas.openxmlformats.org/officeDocument/2006/relationships/image" Target="../media/image28.emf"/></Relationships>
</file>

<file path=ppt/slides/_rels/slide31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3.xml"/><Relationship Id="rId5" Type="http://schemas.openxmlformats.org/officeDocument/2006/relationships/chart" Target="../charts/chart495.xml"/><Relationship Id="rId4" Type="http://schemas.openxmlformats.org/officeDocument/2006/relationships/image" Target="../media/image28.emf"/></Relationships>
</file>

<file path=ppt/slides/_rels/slide31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4.xml"/><Relationship Id="rId5" Type="http://schemas.openxmlformats.org/officeDocument/2006/relationships/chart" Target="../charts/chart496.xml"/><Relationship Id="rId4" Type="http://schemas.openxmlformats.org/officeDocument/2006/relationships/image" Target="../media/image28.emf"/></Relationships>
</file>

<file path=ppt/slides/_rels/slide31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5.xml"/><Relationship Id="rId5" Type="http://schemas.openxmlformats.org/officeDocument/2006/relationships/chart" Target="../charts/chart497.xml"/><Relationship Id="rId4" Type="http://schemas.openxmlformats.org/officeDocument/2006/relationships/image" Target="../media/image28.emf"/></Relationships>
</file>

<file path=ppt/slides/_rels/slide31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6.xml"/><Relationship Id="rId5" Type="http://schemas.openxmlformats.org/officeDocument/2006/relationships/chart" Target="../charts/chart498.xml"/><Relationship Id="rId4" Type="http://schemas.openxmlformats.org/officeDocument/2006/relationships/image" Target="../media/image28.emf"/></Relationships>
</file>

<file path=ppt/slides/_rels/slide3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60.xml"/><Relationship Id="rId2" Type="http://schemas.openxmlformats.org/officeDocument/2006/relationships/slideLayout" Target="../slideLayouts/slideLayout7.xml"/><Relationship Id="rId1" Type="http://schemas.openxmlformats.org/officeDocument/2006/relationships/tags" Target="../tags/tag59.xml"/><Relationship Id="rId6" Type="http://schemas.openxmlformats.org/officeDocument/2006/relationships/chart" Target="../charts/chart59.xml"/><Relationship Id="rId5" Type="http://schemas.openxmlformats.org/officeDocument/2006/relationships/chart" Target="../charts/chart58.xml"/><Relationship Id="rId4" Type="http://schemas.openxmlformats.org/officeDocument/2006/relationships/image" Target="../media/image28.emf"/></Relationships>
</file>

<file path=ppt/slides/_rels/slide32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7.xml"/><Relationship Id="rId5" Type="http://schemas.openxmlformats.org/officeDocument/2006/relationships/chart" Target="../charts/chart499.xml"/><Relationship Id="rId4" Type="http://schemas.openxmlformats.org/officeDocument/2006/relationships/image" Target="../media/image28.emf"/></Relationships>
</file>

<file path=ppt/slides/_rels/slide32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8.xml"/><Relationship Id="rId5" Type="http://schemas.openxmlformats.org/officeDocument/2006/relationships/chart" Target="../charts/chart500.xml"/><Relationship Id="rId4" Type="http://schemas.openxmlformats.org/officeDocument/2006/relationships/image" Target="../media/image28.emf"/></Relationships>
</file>

<file path=ppt/slides/_rels/slide32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9.xml"/><Relationship Id="rId5" Type="http://schemas.openxmlformats.org/officeDocument/2006/relationships/chart" Target="../charts/chart501.xml"/><Relationship Id="rId4" Type="http://schemas.openxmlformats.org/officeDocument/2006/relationships/image" Target="../media/image28.emf"/></Relationships>
</file>

<file path=ppt/slides/_rels/slide32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0.xml"/><Relationship Id="rId5" Type="http://schemas.openxmlformats.org/officeDocument/2006/relationships/chart" Target="../charts/chart502.xml"/><Relationship Id="rId4" Type="http://schemas.openxmlformats.org/officeDocument/2006/relationships/image" Target="../media/image28.emf"/></Relationships>
</file>

<file path=ppt/slides/_rels/slide32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1.xml"/><Relationship Id="rId5" Type="http://schemas.openxmlformats.org/officeDocument/2006/relationships/chart" Target="../charts/chart503.xml"/><Relationship Id="rId4" Type="http://schemas.openxmlformats.org/officeDocument/2006/relationships/image" Target="../media/image28.emf"/></Relationships>
</file>

<file path=ppt/slides/_rels/slide32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2.xml"/><Relationship Id="rId5" Type="http://schemas.openxmlformats.org/officeDocument/2006/relationships/chart" Target="../charts/chart504.xml"/><Relationship Id="rId4" Type="http://schemas.openxmlformats.org/officeDocument/2006/relationships/image" Target="../media/image28.emf"/></Relationships>
</file>

<file path=ppt/slides/_rels/slide3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3.xml"/><Relationship Id="rId5" Type="http://schemas.openxmlformats.org/officeDocument/2006/relationships/chart" Target="../charts/chart505.xml"/><Relationship Id="rId4" Type="http://schemas.openxmlformats.org/officeDocument/2006/relationships/image" Target="../media/image28.emf"/></Relationships>
</file>

<file path=ppt/slides/_rels/slide32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4.xml"/><Relationship Id="rId5" Type="http://schemas.openxmlformats.org/officeDocument/2006/relationships/chart" Target="../charts/chart506.xml"/><Relationship Id="rId4" Type="http://schemas.openxmlformats.org/officeDocument/2006/relationships/image" Target="../media/image28.emf"/></Relationships>
</file>

<file path=ppt/slides/_rels/slide32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5.xml"/><Relationship Id="rId5" Type="http://schemas.openxmlformats.org/officeDocument/2006/relationships/chart" Target="../charts/chart507.xml"/><Relationship Id="rId4" Type="http://schemas.openxmlformats.org/officeDocument/2006/relationships/image" Target="../media/image28.emf"/></Relationships>
</file>

<file path=ppt/slides/_rels/slide32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6.xml"/><Relationship Id="rId5" Type="http://schemas.openxmlformats.org/officeDocument/2006/relationships/chart" Target="../charts/chart508.xml"/><Relationship Id="rId4" Type="http://schemas.openxmlformats.org/officeDocument/2006/relationships/image" Target="../media/image28.emf"/></Relationships>
</file>

<file path=ppt/slides/_rels/slide3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63.xml"/><Relationship Id="rId2" Type="http://schemas.openxmlformats.org/officeDocument/2006/relationships/slideLayout" Target="../slideLayouts/slideLayout7.xml"/><Relationship Id="rId1" Type="http://schemas.openxmlformats.org/officeDocument/2006/relationships/tags" Target="../tags/tag60.xml"/><Relationship Id="rId6" Type="http://schemas.openxmlformats.org/officeDocument/2006/relationships/chart" Target="../charts/chart62.xml"/><Relationship Id="rId5" Type="http://schemas.openxmlformats.org/officeDocument/2006/relationships/chart" Target="../charts/chart61.xml"/><Relationship Id="rId4" Type="http://schemas.openxmlformats.org/officeDocument/2006/relationships/image" Target="../media/image28.emf"/></Relationships>
</file>

<file path=ppt/slides/_rels/slide33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7.xml"/><Relationship Id="rId5" Type="http://schemas.openxmlformats.org/officeDocument/2006/relationships/chart" Target="../charts/chart509.xml"/><Relationship Id="rId4" Type="http://schemas.openxmlformats.org/officeDocument/2006/relationships/image" Target="../media/image28.emf"/></Relationships>
</file>

<file path=ppt/slides/_rels/slide33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8.xml"/><Relationship Id="rId5" Type="http://schemas.openxmlformats.org/officeDocument/2006/relationships/chart" Target="../charts/chart510.xml"/><Relationship Id="rId4" Type="http://schemas.openxmlformats.org/officeDocument/2006/relationships/image" Target="../media/image28.emf"/></Relationships>
</file>

<file path=ppt/slides/_rels/slide33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9.xml"/><Relationship Id="rId5" Type="http://schemas.openxmlformats.org/officeDocument/2006/relationships/chart" Target="../charts/chart511.xml"/><Relationship Id="rId4" Type="http://schemas.openxmlformats.org/officeDocument/2006/relationships/image" Target="../media/image28.emf"/></Relationships>
</file>

<file path=ppt/slides/_rels/slide33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60.xml"/><Relationship Id="rId5" Type="http://schemas.openxmlformats.org/officeDocument/2006/relationships/chart" Target="../charts/chart512.xml"/><Relationship Id="rId4" Type="http://schemas.openxmlformats.org/officeDocument/2006/relationships/image" Target="../media/image28.emf"/></Relationships>
</file>

<file path=ppt/slides/_rels/slide33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61.xml"/><Relationship Id="rId5" Type="http://schemas.openxmlformats.org/officeDocument/2006/relationships/chart" Target="../charts/chart513.xml"/><Relationship Id="rId4" Type="http://schemas.openxmlformats.org/officeDocument/2006/relationships/image" Target="../media/image28.emf"/></Relationships>
</file>

<file path=ppt/slides/_rels/slide33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62.xml"/><Relationship Id="rId5" Type="http://schemas.openxmlformats.org/officeDocument/2006/relationships/chart" Target="../charts/chart514.xml"/><Relationship Id="rId4" Type="http://schemas.openxmlformats.org/officeDocument/2006/relationships/image" Target="../media/image28.emf"/></Relationships>
</file>

<file path=ppt/slides/_rels/slide33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63.xml"/><Relationship Id="rId5" Type="http://schemas.openxmlformats.org/officeDocument/2006/relationships/chart" Target="../charts/chart515.xml"/><Relationship Id="rId4" Type="http://schemas.openxmlformats.org/officeDocument/2006/relationships/image" Target="../media/image28.emf"/></Relationships>
</file>

<file path=ppt/slides/_rels/slide33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64.xml"/><Relationship Id="rId5" Type="http://schemas.openxmlformats.org/officeDocument/2006/relationships/chart" Target="../charts/chart516.xml"/><Relationship Id="rId4" Type="http://schemas.openxmlformats.org/officeDocument/2006/relationships/image" Target="../media/image28.emf"/></Relationships>
</file>

<file path=ppt/slides/_rels/slide33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65.xml"/><Relationship Id="rId5" Type="http://schemas.openxmlformats.org/officeDocument/2006/relationships/chart" Target="../charts/chart517.xml"/><Relationship Id="rId4" Type="http://schemas.openxmlformats.org/officeDocument/2006/relationships/image" Target="../media/image28.emf"/></Relationships>
</file>

<file path=ppt/slides/_rels/slide33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66.xml"/><Relationship Id="rId5" Type="http://schemas.openxmlformats.org/officeDocument/2006/relationships/chart" Target="../charts/chart518.xml"/><Relationship Id="rId4" Type="http://schemas.openxmlformats.org/officeDocument/2006/relationships/image" Target="../media/image28.emf"/></Relationships>
</file>

<file path=ppt/slides/_rels/slide3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66.xml"/><Relationship Id="rId2" Type="http://schemas.openxmlformats.org/officeDocument/2006/relationships/slideLayout" Target="../slideLayouts/slideLayout7.xml"/><Relationship Id="rId1" Type="http://schemas.openxmlformats.org/officeDocument/2006/relationships/tags" Target="../tags/tag61.xml"/><Relationship Id="rId6" Type="http://schemas.openxmlformats.org/officeDocument/2006/relationships/chart" Target="../charts/chart65.xml"/><Relationship Id="rId5" Type="http://schemas.openxmlformats.org/officeDocument/2006/relationships/chart" Target="../charts/chart64.xml"/><Relationship Id="rId4" Type="http://schemas.openxmlformats.org/officeDocument/2006/relationships/image" Target="../media/image28.emf"/></Relationships>
</file>

<file path=ppt/slides/_rels/slide34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67.xml"/><Relationship Id="rId5" Type="http://schemas.openxmlformats.org/officeDocument/2006/relationships/chart" Target="../charts/chart519.xml"/><Relationship Id="rId4" Type="http://schemas.openxmlformats.org/officeDocument/2006/relationships/image" Target="../media/image28.emf"/></Relationships>
</file>

<file path=ppt/slides/_rels/slide34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68.xml"/><Relationship Id="rId5" Type="http://schemas.openxmlformats.org/officeDocument/2006/relationships/chart" Target="../charts/chart520.xml"/><Relationship Id="rId4" Type="http://schemas.openxmlformats.org/officeDocument/2006/relationships/image" Target="../media/image28.emf"/></Relationships>
</file>

<file path=ppt/slides/_rels/slide34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69.xml"/><Relationship Id="rId5" Type="http://schemas.openxmlformats.org/officeDocument/2006/relationships/chart" Target="../charts/chart521.xml"/><Relationship Id="rId4" Type="http://schemas.openxmlformats.org/officeDocument/2006/relationships/image" Target="../media/image28.emf"/></Relationships>
</file>

<file path=ppt/slides/_rels/slide34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0.xml"/><Relationship Id="rId5" Type="http://schemas.openxmlformats.org/officeDocument/2006/relationships/chart" Target="../charts/chart522.xml"/><Relationship Id="rId4" Type="http://schemas.openxmlformats.org/officeDocument/2006/relationships/image" Target="../media/image28.emf"/></Relationships>
</file>

<file path=ppt/slides/_rels/slide34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1.xml"/><Relationship Id="rId5" Type="http://schemas.openxmlformats.org/officeDocument/2006/relationships/chart" Target="../charts/chart523.xml"/><Relationship Id="rId4" Type="http://schemas.openxmlformats.org/officeDocument/2006/relationships/image" Target="../media/image28.emf"/></Relationships>
</file>

<file path=ppt/slides/_rels/slide34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2.xml"/><Relationship Id="rId5" Type="http://schemas.openxmlformats.org/officeDocument/2006/relationships/chart" Target="../charts/chart524.xml"/><Relationship Id="rId4" Type="http://schemas.openxmlformats.org/officeDocument/2006/relationships/image" Target="../media/image28.emf"/></Relationships>
</file>

<file path=ppt/slides/_rels/slide34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3.xml"/><Relationship Id="rId5" Type="http://schemas.openxmlformats.org/officeDocument/2006/relationships/chart" Target="../charts/chart525.xml"/><Relationship Id="rId4" Type="http://schemas.openxmlformats.org/officeDocument/2006/relationships/image" Target="../media/image28.emf"/></Relationships>
</file>

<file path=ppt/slides/_rels/slide34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4.xml"/><Relationship Id="rId5" Type="http://schemas.openxmlformats.org/officeDocument/2006/relationships/chart" Target="../charts/chart526.xml"/><Relationship Id="rId4" Type="http://schemas.openxmlformats.org/officeDocument/2006/relationships/image" Target="../media/image28.emf"/></Relationships>
</file>

<file path=ppt/slides/_rels/slide34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5.xml"/><Relationship Id="rId5" Type="http://schemas.openxmlformats.org/officeDocument/2006/relationships/chart" Target="../charts/chart527.xml"/><Relationship Id="rId4" Type="http://schemas.openxmlformats.org/officeDocument/2006/relationships/image" Target="../media/image28.emf"/></Relationships>
</file>

<file path=ppt/slides/_rels/slide34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6.xml"/><Relationship Id="rId5" Type="http://schemas.openxmlformats.org/officeDocument/2006/relationships/chart" Target="../charts/chart528.xml"/><Relationship Id="rId4" Type="http://schemas.openxmlformats.org/officeDocument/2006/relationships/image" Target="../media/image28.emf"/></Relationships>
</file>

<file path=ppt/slides/_rels/slide35.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69.xml"/><Relationship Id="rId2" Type="http://schemas.openxmlformats.org/officeDocument/2006/relationships/slideLayout" Target="../slideLayouts/slideLayout7.xml"/><Relationship Id="rId1" Type="http://schemas.openxmlformats.org/officeDocument/2006/relationships/tags" Target="../tags/tag62.xml"/><Relationship Id="rId6" Type="http://schemas.openxmlformats.org/officeDocument/2006/relationships/chart" Target="../charts/chart68.xml"/><Relationship Id="rId5" Type="http://schemas.openxmlformats.org/officeDocument/2006/relationships/chart" Target="../charts/chart67.xml"/><Relationship Id="rId4" Type="http://schemas.openxmlformats.org/officeDocument/2006/relationships/image" Target="../media/image28.emf"/></Relationships>
</file>

<file path=ppt/slides/_rels/slide35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7.xml"/><Relationship Id="rId5" Type="http://schemas.openxmlformats.org/officeDocument/2006/relationships/chart" Target="../charts/chart529.xml"/><Relationship Id="rId4" Type="http://schemas.openxmlformats.org/officeDocument/2006/relationships/image" Target="../media/image28.emf"/></Relationships>
</file>

<file path=ppt/slides/_rels/slide35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8.xml"/><Relationship Id="rId5" Type="http://schemas.openxmlformats.org/officeDocument/2006/relationships/chart" Target="../charts/chart530.xml"/><Relationship Id="rId4" Type="http://schemas.openxmlformats.org/officeDocument/2006/relationships/image" Target="../media/image28.emf"/></Relationships>
</file>

<file path=ppt/slides/_rels/slide35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9.xml"/><Relationship Id="rId5" Type="http://schemas.openxmlformats.org/officeDocument/2006/relationships/chart" Target="../charts/chart531.xml"/><Relationship Id="rId4" Type="http://schemas.openxmlformats.org/officeDocument/2006/relationships/image" Target="../media/image28.emf"/></Relationships>
</file>

<file path=ppt/slides/_rels/slide35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80.xml"/><Relationship Id="rId5" Type="http://schemas.openxmlformats.org/officeDocument/2006/relationships/chart" Target="../charts/chart532.xml"/><Relationship Id="rId4" Type="http://schemas.openxmlformats.org/officeDocument/2006/relationships/image" Target="../media/image28.emf"/></Relationships>
</file>

<file path=ppt/slides/_rels/slide35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81.xml"/><Relationship Id="rId5" Type="http://schemas.openxmlformats.org/officeDocument/2006/relationships/chart" Target="../charts/chart533.xml"/><Relationship Id="rId4" Type="http://schemas.openxmlformats.org/officeDocument/2006/relationships/image" Target="../media/image28.emf"/></Relationships>
</file>

<file path=ppt/slides/_rels/slide35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82.xml"/><Relationship Id="rId5" Type="http://schemas.openxmlformats.org/officeDocument/2006/relationships/chart" Target="../charts/chart534.xml"/><Relationship Id="rId4" Type="http://schemas.openxmlformats.org/officeDocument/2006/relationships/image" Target="../media/image28.emf"/></Relationships>
</file>

<file path=ppt/slides/_rels/slide35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83.xml"/><Relationship Id="rId5" Type="http://schemas.openxmlformats.org/officeDocument/2006/relationships/chart" Target="../charts/chart535.xml"/><Relationship Id="rId4" Type="http://schemas.openxmlformats.org/officeDocument/2006/relationships/image" Target="../media/image28.emf"/></Relationships>
</file>

<file path=ppt/slides/_rels/slide35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84.xml"/><Relationship Id="rId5" Type="http://schemas.openxmlformats.org/officeDocument/2006/relationships/chart" Target="../charts/chart536.xml"/><Relationship Id="rId4" Type="http://schemas.openxmlformats.org/officeDocument/2006/relationships/image" Target="../media/image28.emf"/></Relationships>
</file>

<file path=ppt/slides/_rels/slide35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85.xml"/><Relationship Id="rId5" Type="http://schemas.openxmlformats.org/officeDocument/2006/relationships/chart" Target="../charts/chart537.xml"/><Relationship Id="rId4" Type="http://schemas.openxmlformats.org/officeDocument/2006/relationships/image" Target="../media/image28.emf"/></Relationships>
</file>

<file path=ppt/slides/_rels/slide35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86.xml"/><Relationship Id="rId5" Type="http://schemas.openxmlformats.org/officeDocument/2006/relationships/chart" Target="../charts/chart538.xml"/><Relationship Id="rId4" Type="http://schemas.openxmlformats.org/officeDocument/2006/relationships/image" Target="../media/image28.emf"/></Relationships>
</file>

<file path=ppt/slides/_rels/slide36.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72.xml"/><Relationship Id="rId2" Type="http://schemas.openxmlformats.org/officeDocument/2006/relationships/slideLayout" Target="../slideLayouts/slideLayout7.xml"/><Relationship Id="rId1" Type="http://schemas.openxmlformats.org/officeDocument/2006/relationships/tags" Target="../tags/tag63.xml"/><Relationship Id="rId6" Type="http://schemas.openxmlformats.org/officeDocument/2006/relationships/chart" Target="../charts/chart71.xml"/><Relationship Id="rId5" Type="http://schemas.openxmlformats.org/officeDocument/2006/relationships/chart" Target="../charts/chart70.xml"/><Relationship Id="rId4" Type="http://schemas.openxmlformats.org/officeDocument/2006/relationships/image" Target="../media/image28.emf"/></Relationships>
</file>

<file path=ppt/slides/_rels/slide36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87.xml"/><Relationship Id="rId5" Type="http://schemas.openxmlformats.org/officeDocument/2006/relationships/chart" Target="../charts/chart539.xml"/><Relationship Id="rId4" Type="http://schemas.openxmlformats.org/officeDocument/2006/relationships/image" Target="../media/image28.emf"/></Relationships>
</file>

<file path=ppt/slides/_rels/slide36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88.xml"/><Relationship Id="rId5" Type="http://schemas.openxmlformats.org/officeDocument/2006/relationships/chart" Target="../charts/chart540.xml"/><Relationship Id="rId4" Type="http://schemas.openxmlformats.org/officeDocument/2006/relationships/image" Target="../media/image28.emf"/></Relationships>
</file>

<file path=ppt/slides/_rels/slide36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89.xml"/><Relationship Id="rId5" Type="http://schemas.openxmlformats.org/officeDocument/2006/relationships/chart" Target="../charts/chart541.xml"/><Relationship Id="rId4" Type="http://schemas.openxmlformats.org/officeDocument/2006/relationships/image" Target="../media/image28.emf"/></Relationships>
</file>

<file path=ppt/slides/_rels/slide36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90.xml"/><Relationship Id="rId5" Type="http://schemas.openxmlformats.org/officeDocument/2006/relationships/chart" Target="../charts/chart542.xml"/><Relationship Id="rId4" Type="http://schemas.openxmlformats.org/officeDocument/2006/relationships/image" Target="../media/image28.emf"/></Relationships>
</file>

<file path=ppt/slides/_rels/slide36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91.xml"/><Relationship Id="rId5" Type="http://schemas.openxmlformats.org/officeDocument/2006/relationships/chart" Target="../charts/chart543.xml"/><Relationship Id="rId4" Type="http://schemas.openxmlformats.org/officeDocument/2006/relationships/image" Target="../media/image28.emf"/></Relationships>
</file>

<file path=ppt/slides/_rels/slide36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92.xml"/><Relationship Id="rId5" Type="http://schemas.openxmlformats.org/officeDocument/2006/relationships/chart" Target="../charts/chart544.xml"/><Relationship Id="rId4" Type="http://schemas.openxmlformats.org/officeDocument/2006/relationships/image" Target="../media/image28.emf"/></Relationships>
</file>

<file path=ppt/slides/_rels/slide36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93.xml"/><Relationship Id="rId5" Type="http://schemas.openxmlformats.org/officeDocument/2006/relationships/chart" Target="../charts/chart545.xml"/><Relationship Id="rId4" Type="http://schemas.openxmlformats.org/officeDocument/2006/relationships/image" Target="../media/image28.emf"/></Relationships>
</file>

<file path=ppt/slides/_rels/slide36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94.xml"/><Relationship Id="rId5" Type="http://schemas.openxmlformats.org/officeDocument/2006/relationships/chart" Target="../charts/chart546.xml"/><Relationship Id="rId4" Type="http://schemas.openxmlformats.org/officeDocument/2006/relationships/image" Target="../media/image28.emf"/></Relationships>
</file>

<file path=ppt/slides/_rels/slide36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95.xml"/><Relationship Id="rId5" Type="http://schemas.openxmlformats.org/officeDocument/2006/relationships/chart" Target="../charts/chart547.xml"/><Relationship Id="rId4" Type="http://schemas.openxmlformats.org/officeDocument/2006/relationships/image" Target="../media/image28.emf"/></Relationships>
</file>

<file path=ppt/slides/_rels/slide36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96.xml"/><Relationship Id="rId5" Type="http://schemas.openxmlformats.org/officeDocument/2006/relationships/chart" Target="../charts/chart548.xml"/><Relationship Id="rId4" Type="http://schemas.openxmlformats.org/officeDocument/2006/relationships/image" Target="../media/image28.emf"/></Relationships>
</file>

<file path=ppt/slides/_rels/slide37.xml.rels><?xml version="1.0" encoding="UTF-8" standalone="yes"?>
<Relationships xmlns="http://schemas.openxmlformats.org/package/2006/relationships"><Relationship Id="rId8" Type="http://schemas.openxmlformats.org/officeDocument/2006/relationships/chart" Target="../charts/chart76.xml"/><Relationship Id="rId3" Type="http://schemas.openxmlformats.org/officeDocument/2006/relationships/oleObject" Target="../embeddings/oleObject27.bin"/><Relationship Id="rId7" Type="http://schemas.openxmlformats.org/officeDocument/2006/relationships/chart" Target="../charts/chart75.xml"/><Relationship Id="rId2" Type="http://schemas.openxmlformats.org/officeDocument/2006/relationships/slideLayout" Target="../slideLayouts/slideLayout7.xml"/><Relationship Id="rId1" Type="http://schemas.openxmlformats.org/officeDocument/2006/relationships/tags" Target="../tags/tag64.xml"/><Relationship Id="rId6" Type="http://schemas.openxmlformats.org/officeDocument/2006/relationships/chart" Target="../charts/chart74.xml"/><Relationship Id="rId5" Type="http://schemas.openxmlformats.org/officeDocument/2006/relationships/chart" Target="../charts/chart73.xml"/><Relationship Id="rId4" Type="http://schemas.openxmlformats.org/officeDocument/2006/relationships/image" Target="../media/image28.emf"/></Relationships>
</file>

<file path=ppt/slides/_rels/slide37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97.xml"/><Relationship Id="rId5" Type="http://schemas.openxmlformats.org/officeDocument/2006/relationships/chart" Target="../charts/chart549.xml"/><Relationship Id="rId4" Type="http://schemas.openxmlformats.org/officeDocument/2006/relationships/image" Target="../media/image28.emf"/></Relationships>
</file>

<file path=ppt/slides/_rels/slide37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98.xml"/><Relationship Id="rId5" Type="http://schemas.openxmlformats.org/officeDocument/2006/relationships/chart" Target="../charts/chart550.xml"/><Relationship Id="rId4" Type="http://schemas.openxmlformats.org/officeDocument/2006/relationships/image" Target="../media/image28.emf"/></Relationships>
</file>

<file path=ppt/slides/_rels/slide37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99.xml"/><Relationship Id="rId5" Type="http://schemas.openxmlformats.org/officeDocument/2006/relationships/chart" Target="../charts/chart551.xml"/><Relationship Id="rId4" Type="http://schemas.openxmlformats.org/officeDocument/2006/relationships/image" Target="../media/image28.emf"/></Relationships>
</file>

<file path=ppt/slides/_rels/slide37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00.xml"/><Relationship Id="rId5" Type="http://schemas.openxmlformats.org/officeDocument/2006/relationships/chart" Target="../charts/chart552.xml"/><Relationship Id="rId4" Type="http://schemas.openxmlformats.org/officeDocument/2006/relationships/image" Target="../media/image28.emf"/></Relationships>
</file>

<file path=ppt/slides/_rels/slide37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01.xml"/><Relationship Id="rId5" Type="http://schemas.openxmlformats.org/officeDocument/2006/relationships/chart" Target="../charts/chart553.xml"/><Relationship Id="rId4" Type="http://schemas.openxmlformats.org/officeDocument/2006/relationships/image" Target="../media/image28.emf"/></Relationships>
</file>

<file path=ppt/slides/_rels/slide37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02.xml"/><Relationship Id="rId5" Type="http://schemas.openxmlformats.org/officeDocument/2006/relationships/chart" Target="../charts/chart554.xml"/><Relationship Id="rId4" Type="http://schemas.openxmlformats.org/officeDocument/2006/relationships/image" Target="../media/image28.emf"/></Relationships>
</file>

<file path=ppt/slides/_rels/slide37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03.xml"/><Relationship Id="rId5" Type="http://schemas.openxmlformats.org/officeDocument/2006/relationships/chart" Target="../charts/chart555.xml"/><Relationship Id="rId4" Type="http://schemas.openxmlformats.org/officeDocument/2006/relationships/image" Target="../media/image28.emf"/></Relationships>
</file>

<file path=ppt/slides/_rels/slide37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04.xml"/><Relationship Id="rId5" Type="http://schemas.openxmlformats.org/officeDocument/2006/relationships/chart" Target="../charts/chart556.xml"/><Relationship Id="rId4" Type="http://schemas.openxmlformats.org/officeDocument/2006/relationships/image" Target="../media/image28.emf"/></Relationships>
</file>

<file path=ppt/slides/_rels/slide37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05.xml"/><Relationship Id="rId5" Type="http://schemas.openxmlformats.org/officeDocument/2006/relationships/chart" Target="../charts/chart557.xml"/><Relationship Id="rId4" Type="http://schemas.openxmlformats.org/officeDocument/2006/relationships/image" Target="../media/image28.emf"/></Relationships>
</file>

<file path=ppt/slides/_rels/slide37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06.xml"/><Relationship Id="rId5" Type="http://schemas.openxmlformats.org/officeDocument/2006/relationships/chart" Target="../charts/chart558.xml"/><Relationship Id="rId4" Type="http://schemas.openxmlformats.org/officeDocument/2006/relationships/image" Target="../media/image28.emf"/></Relationships>
</file>

<file path=ppt/slides/_rels/slide38.xml.rels><?xml version="1.0" encoding="UTF-8" standalone="yes"?>
<Relationships xmlns="http://schemas.openxmlformats.org/package/2006/relationships"><Relationship Id="rId8" Type="http://schemas.openxmlformats.org/officeDocument/2006/relationships/chart" Target="../charts/chart80.xml"/><Relationship Id="rId3" Type="http://schemas.openxmlformats.org/officeDocument/2006/relationships/oleObject" Target="../embeddings/oleObject27.bin"/><Relationship Id="rId7" Type="http://schemas.openxmlformats.org/officeDocument/2006/relationships/chart" Target="../charts/chart79.xml"/><Relationship Id="rId2" Type="http://schemas.openxmlformats.org/officeDocument/2006/relationships/slideLayout" Target="../slideLayouts/slideLayout7.xml"/><Relationship Id="rId1" Type="http://schemas.openxmlformats.org/officeDocument/2006/relationships/tags" Target="../tags/tag65.xml"/><Relationship Id="rId6" Type="http://schemas.openxmlformats.org/officeDocument/2006/relationships/chart" Target="../charts/chart78.xml"/><Relationship Id="rId5" Type="http://schemas.openxmlformats.org/officeDocument/2006/relationships/chart" Target="../charts/chart77.xml"/><Relationship Id="rId4" Type="http://schemas.openxmlformats.org/officeDocument/2006/relationships/image" Target="../media/image28.emf"/></Relationships>
</file>

<file path=ppt/slides/_rels/slide38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07.xml"/><Relationship Id="rId5" Type="http://schemas.openxmlformats.org/officeDocument/2006/relationships/chart" Target="../charts/chart559.xml"/><Relationship Id="rId4" Type="http://schemas.openxmlformats.org/officeDocument/2006/relationships/image" Target="../media/image28.emf"/></Relationships>
</file>

<file path=ppt/slides/_rels/slide38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08.xml"/><Relationship Id="rId5" Type="http://schemas.openxmlformats.org/officeDocument/2006/relationships/chart" Target="../charts/chart560.xml"/><Relationship Id="rId4" Type="http://schemas.openxmlformats.org/officeDocument/2006/relationships/image" Target="../media/image28.emf"/></Relationships>
</file>

<file path=ppt/slides/_rels/slide38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09.xml"/><Relationship Id="rId5" Type="http://schemas.openxmlformats.org/officeDocument/2006/relationships/chart" Target="../charts/chart561.xml"/><Relationship Id="rId4" Type="http://schemas.openxmlformats.org/officeDocument/2006/relationships/image" Target="../media/image28.emf"/></Relationships>
</file>

<file path=ppt/slides/_rels/slide38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10.xml"/><Relationship Id="rId5" Type="http://schemas.openxmlformats.org/officeDocument/2006/relationships/chart" Target="../charts/chart562.xml"/><Relationship Id="rId4" Type="http://schemas.openxmlformats.org/officeDocument/2006/relationships/image" Target="../media/image28.emf"/></Relationships>
</file>

<file path=ppt/slides/_rels/slide38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11.xml"/><Relationship Id="rId5" Type="http://schemas.openxmlformats.org/officeDocument/2006/relationships/chart" Target="../charts/chart563.xml"/><Relationship Id="rId4" Type="http://schemas.openxmlformats.org/officeDocument/2006/relationships/image" Target="../media/image28.emf"/></Relationships>
</file>

<file path=ppt/slides/_rels/slide38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12.xml"/><Relationship Id="rId5" Type="http://schemas.openxmlformats.org/officeDocument/2006/relationships/chart" Target="../charts/chart564.xml"/><Relationship Id="rId4" Type="http://schemas.openxmlformats.org/officeDocument/2006/relationships/image" Target="../media/image28.emf"/></Relationships>
</file>

<file path=ppt/slides/_rels/slide38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13.xml"/><Relationship Id="rId5" Type="http://schemas.openxmlformats.org/officeDocument/2006/relationships/chart" Target="../charts/chart565.xml"/><Relationship Id="rId4" Type="http://schemas.openxmlformats.org/officeDocument/2006/relationships/image" Target="../media/image28.emf"/></Relationships>
</file>

<file path=ppt/slides/_rels/slide38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14.xml"/><Relationship Id="rId5" Type="http://schemas.openxmlformats.org/officeDocument/2006/relationships/chart" Target="../charts/chart566.xml"/><Relationship Id="rId4" Type="http://schemas.openxmlformats.org/officeDocument/2006/relationships/image" Target="../media/image28.emf"/></Relationships>
</file>

<file path=ppt/slides/_rels/slide38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15.xml"/><Relationship Id="rId5" Type="http://schemas.openxmlformats.org/officeDocument/2006/relationships/chart" Target="../charts/chart567.xml"/><Relationship Id="rId4" Type="http://schemas.openxmlformats.org/officeDocument/2006/relationships/image" Target="../media/image28.emf"/></Relationships>
</file>

<file path=ppt/slides/_rels/slide38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16.xml"/><Relationship Id="rId5" Type="http://schemas.openxmlformats.org/officeDocument/2006/relationships/chart" Target="../charts/chart568.xml"/><Relationship Id="rId4" Type="http://schemas.openxmlformats.org/officeDocument/2006/relationships/image" Target="../media/image28.emf"/></Relationships>
</file>

<file path=ppt/slides/_rels/slide3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83.xml"/><Relationship Id="rId2" Type="http://schemas.openxmlformats.org/officeDocument/2006/relationships/slideLayout" Target="../slideLayouts/slideLayout7.xml"/><Relationship Id="rId1" Type="http://schemas.openxmlformats.org/officeDocument/2006/relationships/tags" Target="../tags/tag66.xml"/><Relationship Id="rId6" Type="http://schemas.openxmlformats.org/officeDocument/2006/relationships/chart" Target="../charts/chart82.xml"/><Relationship Id="rId5" Type="http://schemas.openxmlformats.org/officeDocument/2006/relationships/chart" Target="../charts/chart81.xml"/><Relationship Id="rId4" Type="http://schemas.openxmlformats.org/officeDocument/2006/relationships/image" Target="../media/image28.emf"/></Relationships>
</file>

<file path=ppt/slides/_rels/slide39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17.xml"/><Relationship Id="rId5" Type="http://schemas.openxmlformats.org/officeDocument/2006/relationships/chart" Target="../charts/chart569.xml"/><Relationship Id="rId4" Type="http://schemas.openxmlformats.org/officeDocument/2006/relationships/image" Target="../media/image28.emf"/></Relationships>
</file>

<file path=ppt/slides/_rels/slide39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18.xml"/><Relationship Id="rId5" Type="http://schemas.openxmlformats.org/officeDocument/2006/relationships/chart" Target="../charts/chart570.xml"/><Relationship Id="rId4" Type="http://schemas.openxmlformats.org/officeDocument/2006/relationships/image" Target="../media/image28.emf"/></Relationships>
</file>

<file path=ppt/slides/_rels/slide39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19.xml"/><Relationship Id="rId5" Type="http://schemas.openxmlformats.org/officeDocument/2006/relationships/chart" Target="../charts/chart571.xml"/><Relationship Id="rId4" Type="http://schemas.openxmlformats.org/officeDocument/2006/relationships/image" Target="../media/image28.emf"/></Relationships>
</file>

<file path=ppt/slides/_rels/slide39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20.xml"/><Relationship Id="rId5" Type="http://schemas.openxmlformats.org/officeDocument/2006/relationships/chart" Target="../charts/chart572.xml"/><Relationship Id="rId4" Type="http://schemas.openxmlformats.org/officeDocument/2006/relationships/image" Target="../media/image28.emf"/></Relationships>
</file>

<file path=ppt/slides/_rels/slide39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21.xml"/><Relationship Id="rId5" Type="http://schemas.openxmlformats.org/officeDocument/2006/relationships/chart" Target="../charts/chart573.xml"/><Relationship Id="rId4" Type="http://schemas.openxmlformats.org/officeDocument/2006/relationships/image" Target="../media/image28.emf"/></Relationships>
</file>

<file path=ppt/slides/_rels/slide39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22.xml"/><Relationship Id="rId5" Type="http://schemas.openxmlformats.org/officeDocument/2006/relationships/chart" Target="../charts/chart574.xml"/><Relationship Id="rId4" Type="http://schemas.openxmlformats.org/officeDocument/2006/relationships/image" Target="../media/image28.emf"/></Relationships>
</file>

<file path=ppt/slides/_rels/slide39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23.xml"/><Relationship Id="rId5" Type="http://schemas.openxmlformats.org/officeDocument/2006/relationships/chart" Target="../charts/chart575.xml"/><Relationship Id="rId4" Type="http://schemas.openxmlformats.org/officeDocument/2006/relationships/image" Target="../media/image28.emf"/></Relationships>
</file>

<file path=ppt/slides/_rels/slide39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24.xml"/><Relationship Id="rId5" Type="http://schemas.openxmlformats.org/officeDocument/2006/relationships/chart" Target="../charts/chart576.xml"/><Relationship Id="rId4" Type="http://schemas.openxmlformats.org/officeDocument/2006/relationships/image" Target="../media/image28.emf"/></Relationships>
</file>

<file path=ppt/slides/_rels/slide39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25.xml"/><Relationship Id="rId5" Type="http://schemas.openxmlformats.org/officeDocument/2006/relationships/chart" Target="../charts/chart577.xml"/><Relationship Id="rId4" Type="http://schemas.openxmlformats.org/officeDocument/2006/relationships/image" Target="../media/image28.emf"/></Relationships>
</file>

<file path=ppt/slides/_rels/slide39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26.xml"/><Relationship Id="rId5" Type="http://schemas.openxmlformats.org/officeDocument/2006/relationships/chart" Target="../charts/chart578.xml"/><Relationship Id="rId4" Type="http://schemas.openxmlformats.org/officeDocument/2006/relationships/image" Target="../media/image28.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xml"/><Relationship Id="rId5" Type="http://schemas.openxmlformats.org/officeDocument/2006/relationships/chart" Target="../charts/chart4.xml"/><Relationship Id="rId4" Type="http://schemas.openxmlformats.org/officeDocument/2006/relationships/image" Target="../media/image28.emf"/></Relationships>
</file>

<file path=ppt/slides/_rels/slide40.xml.rels><?xml version="1.0" encoding="UTF-8" standalone="yes"?>
<Relationships xmlns="http://schemas.openxmlformats.org/package/2006/relationships"><Relationship Id="rId8" Type="http://schemas.openxmlformats.org/officeDocument/2006/relationships/chart" Target="../charts/chart87.xml"/><Relationship Id="rId3" Type="http://schemas.openxmlformats.org/officeDocument/2006/relationships/oleObject" Target="../embeddings/oleObject27.bin"/><Relationship Id="rId7" Type="http://schemas.openxmlformats.org/officeDocument/2006/relationships/chart" Target="../charts/chart86.xml"/><Relationship Id="rId2" Type="http://schemas.openxmlformats.org/officeDocument/2006/relationships/slideLayout" Target="../slideLayouts/slideLayout7.xml"/><Relationship Id="rId1" Type="http://schemas.openxmlformats.org/officeDocument/2006/relationships/tags" Target="../tags/tag67.xml"/><Relationship Id="rId6" Type="http://schemas.openxmlformats.org/officeDocument/2006/relationships/chart" Target="../charts/chart85.xml"/><Relationship Id="rId5" Type="http://schemas.openxmlformats.org/officeDocument/2006/relationships/chart" Target="../charts/chart84.xml"/><Relationship Id="rId4" Type="http://schemas.openxmlformats.org/officeDocument/2006/relationships/image" Target="../media/image28.emf"/></Relationships>
</file>

<file path=ppt/slides/_rels/slide40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27.xml"/><Relationship Id="rId5" Type="http://schemas.openxmlformats.org/officeDocument/2006/relationships/chart" Target="../charts/chart579.xml"/><Relationship Id="rId4" Type="http://schemas.openxmlformats.org/officeDocument/2006/relationships/image" Target="../media/image28.emf"/></Relationships>
</file>

<file path=ppt/slides/_rels/slide40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28.xml"/><Relationship Id="rId5" Type="http://schemas.openxmlformats.org/officeDocument/2006/relationships/chart" Target="../charts/chart580.xml"/><Relationship Id="rId4" Type="http://schemas.openxmlformats.org/officeDocument/2006/relationships/image" Target="../media/image28.emf"/></Relationships>
</file>

<file path=ppt/slides/_rels/slide40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29.xml"/><Relationship Id="rId5" Type="http://schemas.openxmlformats.org/officeDocument/2006/relationships/chart" Target="../charts/chart581.xml"/><Relationship Id="rId4" Type="http://schemas.openxmlformats.org/officeDocument/2006/relationships/image" Target="../media/image28.emf"/></Relationships>
</file>

<file path=ppt/slides/_rels/slide40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30.xml"/><Relationship Id="rId5" Type="http://schemas.openxmlformats.org/officeDocument/2006/relationships/chart" Target="../charts/chart582.xml"/><Relationship Id="rId4" Type="http://schemas.openxmlformats.org/officeDocument/2006/relationships/image" Target="../media/image28.emf"/></Relationships>
</file>

<file path=ppt/slides/_rels/slide40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31.xml"/><Relationship Id="rId5" Type="http://schemas.openxmlformats.org/officeDocument/2006/relationships/chart" Target="../charts/chart583.xml"/><Relationship Id="rId4" Type="http://schemas.openxmlformats.org/officeDocument/2006/relationships/image" Target="../media/image28.emf"/></Relationships>
</file>

<file path=ppt/slides/_rels/slide40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32.xml"/><Relationship Id="rId5" Type="http://schemas.openxmlformats.org/officeDocument/2006/relationships/chart" Target="../charts/chart584.xml"/><Relationship Id="rId4" Type="http://schemas.openxmlformats.org/officeDocument/2006/relationships/image" Target="../media/image28.emf"/></Relationships>
</file>

<file path=ppt/slides/_rels/slide40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33.xml"/><Relationship Id="rId5" Type="http://schemas.openxmlformats.org/officeDocument/2006/relationships/chart" Target="../charts/chart585.xml"/><Relationship Id="rId4" Type="http://schemas.openxmlformats.org/officeDocument/2006/relationships/image" Target="../media/image28.emf"/></Relationships>
</file>

<file path=ppt/slides/_rels/slide40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34.xml"/><Relationship Id="rId5" Type="http://schemas.openxmlformats.org/officeDocument/2006/relationships/chart" Target="../charts/chart586.xml"/><Relationship Id="rId4" Type="http://schemas.openxmlformats.org/officeDocument/2006/relationships/image" Target="../media/image28.emf"/></Relationships>
</file>

<file path=ppt/slides/_rels/slide40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35.xml"/><Relationship Id="rId5" Type="http://schemas.openxmlformats.org/officeDocument/2006/relationships/chart" Target="../charts/chart587.xml"/><Relationship Id="rId4" Type="http://schemas.openxmlformats.org/officeDocument/2006/relationships/image" Target="../media/image28.emf"/></Relationships>
</file>

<file path=ppt/slides/_rels/slide40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36.xml"/><Relationship Id="rId5" Type="http://schemas.openxmlformats.org/officeDocument/2006/relationships/chart" Target="../charts/chart588.xml"/><Relationship Id="rId4" Type="http://schemas.openxmlformats.org/officeDocument/2006/relationships/image" Target="../media/image28.emf"/></Relationships>
</file>

<file path=ppt/slides/_rels/slide41.xml.rels><?xml version="1.0" encoding="UTF-8" standalone="yes"?>
<Relationships xmlns="http://schemas.openxmlformats.org/package/2006/relationships"><Relationship Id="rId8" Type="http://schemas.openxmlformats.org/officeDocument/2006/relationships/chart" Target="../charts/chart91.xml"/><Relationship Id="rId3" Type="http://schemas.openxmlformats.org/officeDocument/2006/relationships/oleObject" Target="../embeddings/oleObject27.bin"/><Relationship Id="rId7" Type="http://schemas.openxmlformats.org/officeDocument/2006/relationships/chart" Target="../charts/chart90.xml"/><Relationship Id="rId2" Type="http://schemas.openxmlformats.org/officeDocument/2006/relationships/slideLayout" Target="../slideLayouts/slideLayout7.xml"/><Relationship Id="rId1" Type="http://schemas.openxmlformats.org/officeDocument/2006/relationships/tags" Target="../tags/tag68.xml"/><Relationship Id="rId6" Type="http://schemas.openxmlformats.org/officeDocument/2006/relationships/chart" Target="../charts/chart89.xml"/><Relationship Id="rId5" Type="http://schemas.openxmlformats.org/officeDocument/2006/relationships/chart" Target="../charts/chart88.xml"/><Relationship Id="rId4" Type="http://schemas.openxmlformats.org/officeDocument/2006/relationships/image" Target="../media/image28.emf"/></Relationships>
</file>

<file path=ppt/slides/_rels/slide4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37.xml"/><Relationship Id="rId5" Type="http://schemas.openxmlformats.org/officeDocument/2006/relationships/chart" Target="../charts/chart589.xml"/><Relationship Id="rId4" Type="http://schemas.openxmlformats.org/officeDocument/2006/relationships/image" Target="../media/image28.emf"/></Relationships>
</file>

<file path=ppt/slides/_rels/slide41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38.xml"/><Relationship Id="rId5" Type="http://schemas.openxmlformats.org/officeDocument/2006/relationships/chart" Target="../charts/chart590.xml"/><Relationship Id="rId4" Type="http://schemas.openxmlformats.org/officeDocument/2006/relationships/image" Target="../media/image28.emf"/></Relationships>
</file>

<file path=ppt/slides/_rels/slide41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39.xml"/><Relationship Id="rId5" Type="http://schemas.openxmlformats.org/officeDocument/2006/relationships/chart" Target="../charts/chart591.xml"/><Relationship Id="rId4" Type="http://schemas.openxmlformats.org/officeDocument/2006/relationships/image" Target="../media/image28.emf"/></Relationships>
</file>

<file path=ppt/slides/_rels/slide41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40.xml"/><Relationship Id="rId5" Type="http://schemas.openxmlformats.org/officeDocument/2006/relationships/chart" Target="../charts/chart592.xml"/><Relationship Id="rId4" Type="http://schemas.openxmlformats.org/officeDocument/2006/relationships/image" Target="../media/image28.emf"/></Relationships>
</file>

<file path=ppt/slides/_rels/slide41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41.xml"/><Relationship Id="rId5" Type="http://schemas.openxmlformats.org/officeDocument/2006/relationships/chart" Target="../charts/chart593.xml"/><Relationship Id="rId4" Type="http://schemas.openxmlformats.org/officeDocument/2006/relationships/image" Target="../media/image28.emf"/></Relationships>
</file>

<file path=ppt/slides/_rels/slide41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42.xml"/><Relationship Id="rId5" Type="http://schemas.openxmlformats.org/officeDocument/2006/relationships/chart" Target="../charts/chart594.xml"/><Relationship Id="rId4" Type="http://schemas.openxmlformats.org/officeDocument/2006/relationships/image" Target="../media/image28.emf"/></Relationships>
</file>

<file path=ppt/slides/_rels/slide41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43.xml"/><Relationship Id="rId5" Type="http://schemas.openxmlformats.org/officeDocument/2006/relationships/chart" Target="../charts/chart595.xml"/><Relationship Id="rId4" Type="http://schemas.openxmlformats.org/officeDocument/2006/relationships/image" Target="../media/image28.emf"/></Relationships>
</file>

<file path=ppt/slides/_rels/slide41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44.xml"/><Relationship Id="rId5" Type="http://schemas.openxmlformats.org/officeDocument/2006/relationships/chart" Target="../charts/chart596.xml"/><Relationship Id="rId4" Type="http://schemas.openxmlformats.org/officeDocument/2006/relationships/image" Target="../media/image28.emf"/></Relationships>
</file>

<file path=ppt/slides/_rels/slide41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45.xml"/><Relationship Id="rId5" Type="http://schemas.openxmlformats.org/officeDocument/2006/relationships/chart" Target="../charts/chart597.xml"/><Relationship Id="rId4" Type="http://schemas.openxmlformats.org/officeDocument/2006/relationships/image" Target="../media/image28.emf"/></Relationships>
</file>

<file path=ppt/slides/_rels/slide41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46.xml"/><Relationship Id="rId5" Type="http://schemas.openxmlformats.org/officeDocument/2006/relationships/chart" Target="../charts/chart598.xml"/><Relationship Id="rId4" Type="http://schemas.openxmlformats.org/officeDocument/2006/relationships/image" Target="../media/image28.emf"/></Relationships>
</file>

<file path=ppt/slides/_rels/slide4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94.xml"/><Relationship Id="rId2" Type="http://schemas.openxmlformats.org/officeDocument/2006/relationships/slideLayout" Target="../slideLayouts/slideLayout7.xml"/><Relationship Id="rId1" Type="http://schemas.openxmlformats.org/officeDocument/2006/relationships/tags" Target="../tags/tag69.xml"/><Relationship Id="rId6" Type="http://schemas.openxmlformats.org/officeDocument/2006/relationships/chart" Target="../charts/chart93.xml"/><Relationship Id="rId5" Type="http://schemas.openxmlformats.org/officeDocument/2006/relationships/chart" Target="../charts/chart92.xml"/><Relationship Id="rId4" Type="http://schemas.openxmlformats.org/officeDocument/2006/relationships/image" Target="../media/image28.emf"/></Relationships>
</file>

<file path=ppt/slides/_rels/slide42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47.xml"/><Relationship Id="rId5" Type="http://schemas.openxmlformats.org/officeDocument/2006/relationships/chart" Target="../charts/chart599.xml"/><Relationship Id="rId4" Type="http://schemas.openxmlformats.org/officeDocument/2006/relationships/image" Target="../media/image28.emf"/></Relationships>
</file>

<file path=ppt/slides/_rels/slide42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48.xml"/><Relationship Id="rId5" Type="http://schemas.openxmlformats.org/officeDocument/2006/relationships/chart" Target="../charts/chart600.xml"/><Relationship Id="rId4" Type="http://schemas.openxmlformats.org/officeDocument/2006/relationships/image" Target="../media/image28.emf"/></Relationships>
</file>

<file path=ppt/slides/_rels/slide42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49.xml"/><Relationship Id="rId5" Type="http://schemas.openxmlformats.org/officeDocument/2006/relationships/chart" Target="../charts/chart601.xml"/><Relationship Id="rId4" Type="http://schemas.openxmlformats.org/officeDocument/2006/relationships/image" Target="../media/image28.emf"/></Relationships>
</file>

<file path=ppt/slides/_rels/slide42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50.xml"/><Relationship Id="rId5" Type="http://schemas.openxmlformats.org/officeDocument/2006/relationships/chart" Target="../charts/chart602.xml"/><Relationship Id="rId4" Type="http://schemas.openxmlformats.org/officeDocument/2006/relationships/image" Target="../media/image28.emf"/></Relationships>
</file>

<file path=ppt/slides/_rels/slide42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51.xml"/><Relationship Id="rId5" Type="http://schemas.openxmlformats.org/officeDocument/2006/relationships/chart" Target="../charts/chart603.xml"/><Relationship Id="rId4" Type="http://schemas.openxmlformats.org/officeDocument/2006/relationships/image" Target="../media/image28.emf"/></Relationships>
</file>

<file path=ppt/slides/_rels/slide42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52.xml"/><Relationship Id="rId5" Type="http://schemas.openxmlformats.org/officeDocument/2006/relationships/chart" Target="../charts/chart604.xml"/><Relationship Id="rId4" Type="http://schemas.openxmlformats.org/officeDocument/2006/relationships/image" Target="../media/image28.emf"/></Relationships>
</file>

<file path=ppt/slides/_rels/slide4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53.xml"/><Relationship Id="rId5" Type="http://schemas.openxmlformats.org/officeDocument/2006/relationships/chart" Target="../charts/chart605.xml"/><Relationship Id="rId4" Type="http://schemas.openxmlformats.org/officeDocument/2006/relationships/image" Target="../media/image28.emf"/></Relationships>
</file>

<file path=ppt/slides/_rels/slide42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54.xml"/><Relationship Id="rId5" Type="http://schemas.openxmlformats.org/officeDocument/2006/relationships/chart" Target="../charts/chart606.xml"/><Relationship Id="rId4" Type="http://schemas.openxmlformats.org/officeDocument/2006/relationships/image" Target="../media/image28.emf"/></Relationships>
</file>

<file path=ppt/slides/_rels/slide42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55.xml"/><Relationship Id="rId5" Type="http://schemas.openxmlformats.org/officeDocument/2006/relationships/chart" Target="../charts/chart607.xml"/><Relationship Id="rId4" Type="http://schemas.openxmlformats.org/officeDocument/2006/relationships/image" Target="../media/image28.emf"/></Relationships>
</file>

<file path=ppt/slides/_rels/slide42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56.xml"/><Relationship Id="rId5" Type="http://schemas.openxmlformats.org/officeDocument/2006/relationships/chart" Target="../charts/chart608.xml"/><Relationship Id="rId4" Type="http://schemas.openxmlformats.org/officeDocument/2006/relationships/image" Target="../media/image28.emf"/></Relationships>
</file>

<file path=ppt/slides/_rels/slide43.xml.rels><?xml version="1.0" encoding="UTF-8" standalone="yes"?>
<Relationships xmlns="http://schemas.openxmlformats.org/package/2006/relationships"><Relationship Id="rId8" Type="http://schemas.openxmlformats.org/officeDocument/2006/relationships/chart" Target="../charts/chart98.xml"/><Relationship Id="rId3" Type="http://schemas.openxmlformats.org/officeDocument/2006/relationships/oleObject" Target="../embeddings/oleObject27.bin"/><Relationship Id="rId7" Type="http://schemas.openxmlformats.org/officeDocument/2006/relationships/chart" Target="../charts/chart97.xml"/><Relationship Id="rId2" Type="http://schemas.openxmlformats.org/officeDocument/2006/relationships/slideLayout" Target="../slideLayouts/slideLayout7.xml"/><Relationship Id="rId1" Type="http://schemas.openxmlformats.org/officeDocument/2006/relationships/tags" Target="../tags/tag70.xml"/><Relationship Id="rId6" Type="http://schemas.openxmlformats.org/officeDocument/2006/relationships/chart" Target="../charts/chart96.xml"/><Relationship Id="rId5" Type="http://schemas.openxmlformats.org/officeDocument/2006/relationships/chart" Target="../charts/chart95.xml"/><Relationship Id="rId4" Type="http://schemas.openxmlformats.org/officeDocument/2006/relationships/image" Target="../media/image28.emf"/></Relationships>
</file>

<file path=ppt/slides/_rels/slide43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57.xml"/><Relationship Id="rId5" Type="http://schemas.openxmlformats.org/officeDocument/2006/relationships/chart" Target="../charts/chart609.xml"/><Relationship Id="rId4" Type="http://schemas.openxmlformats.org/officeDocument/2006/relationships/image" Target="../media/image28.emf"/></Relationships>
</file>

<file path=ppt/slides/_rels/slide43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58.xml"/><Relationship Id="rId5" Type="http://schemas.openxmlformats.org/officeDocument/2006/relationships/chart" Target="../charts/chart610.xml"/><Relationship Id="rId4" Type="http://schemas.openxmlformats.org/officeDocument/2006/relationships/image" Target="../media/image28.emf"/></Relationships>
</file>

<file path=ppt/slides/_rels/slide43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59.xml"/><Relationship Id="rId5" Type="http://schemas.openxmlformats.org/officeDocument/2006/relationships/chart" Target="../charts/chart611.xml"/><Relationship Id="rId4" Type="http://schemas.openxmlformats.org/officeDocument/2006/relationships/image" Target="../media/image28.emf"/></Relationships>
</file>

<file path=ppt/slides/_rels/slide43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60.xml"/><Relationship Id="rId5" Type="http://schemas.openxmlformats.org/officeDocument/2006/relationships/chart" Target="../charts/chart612.xml"/><Relationship Id="rId4" Type="http://schemas.openxmlformats.org/officeDocument/2006/relationships/image" Target="../media/image28.emf"/></Relationships>
</file>

<file path=ppt/slides/_rels/slide43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61.xml"/><Relationship Id="rId5" Type="http://schemas.openxmlformats.org/officeDocument/2006/relationships/chart" Target="../charts/chart613.xml"/><Relationship Id="rId4" Type="http://schemas.openxmlformats.org/officeDocument/2006/relationships/image" Target="../media/image28.emf"/></Relationships>
</file>

<file path=ppt/slides/_rels/slide43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62.xml"/><Relationship Id="rId5" Type="http://schemas.openxmlformats.org/officeDocument/2006/relationships/chart" Target="../charts/chart614.xml"/><Relationship Id="rId4" Type="http://schemas.openxmlformats.org/officeDocument/2006/relationships/image" Target="../media/image28.emf"/></Relationships>
</file>

<file path=ppt/slides/_rels/slide43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63.xml"/><Relationship Id="rId5" Type="http://schemas.openxmlformats.org/officeDocument/2006/relationships/chart" Target="../charts/chart615.xml"/><Relationship Id="rId4" Type="http://schemas.openxmlformats.org/officeDocument/2006/relationships/image" Target="../media/image28.emf"/></Relationships>
</file>

<file path=ppt/slides/_rels/slide43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64.xml"/><Relationship Id="rId5" Type="http://schemas.openxmlformats.org/officeDocument/2006/relationships/chart" Target="../charts/chart616.xml"/><Relationship Id="rId4" Type="http://schemas.openxmlformats.org/officeDocument/2006/relationships/image" Target="../media/image28.emf"/></Relationships>
</file>

<file path=ppt/slides/_rels/slide43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65.xml"/><Relationship Id="rId5" Type="http://schemas.openxmlformats.org/officeDocument/2006/relationships/chart" Target="../charts/chart617.xml"/><Relationship Id="rId4" Type="http://schemas.openxmlformats.org/officeDocument/2006/relationships/image" Target="../media/image28.emf"/></Relationships>
</file>

<file path=ppt/slides/_rels/slide43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66.xml"/><Relationship Id="rId5" Type="http://schemas.openxmlformats.org/officeDocument/2006/relationships/chart" Target="../charts/chart618.xml"/><Relationship Id="rId4" Type="http://schemas.openxmlformats.org/officeDocument/2006/relationships/image" Target="../media/image28.emf"/></Relationships>
</file>

<file path=ppt/slides/_rels/slide44.xml.rels><?xml version="1.0" encoding="UTF-8" standalone="yes"?>
<Relationships xmlns="http://schemas.openxmlformats.org/package/2006/relationships"><Relationship Id="rId8" Type="http://schemas.openxmlformats.org/officeDocument/2006/relationships/chart" Target="../charts/chart102.xml"/><Relationship Id="rId3" Type="http://schemas.openxmlformats.org/officeDocument/2006/relationships/oleObject" Target="../embeddings/oleObject27.bin"/><Relationship Id="rId7" Type="http://schemas.openxmlformats.org/officeDocument/2006/relationships/chart" Target="../charts/chart101.xml"/><Relationship Id="rId2" Type="http://schemas.openxmlformats.org/officeDocument/2006/relationships/slideLayout" Target="../slideLayouts/slideLayout7.xml"/><Relationship Id="rId1" Type="http://schemas.openxmlformats.org/officeDocument/2006/relationships/tags" Target="../tags/tag71.xml"/><Relationship Id="rId6" Type="http://schemas.openxmlformats.org/officeDocument/2006/relationships/chart" Target="../charts/chart100.xml"/><Relationship Id="rId5" Type="http://schemas.openxmlformats.org/officeDocument/2006/relationships/chart" Target="../charts/chart99.xml"/><Relationship Id="rId4" Type="http://schemas.openxmlformats.org/officeDocument/2006/relationships/image" Target="../media/image28.emf"/></Relationships>
</file>

<file path=ppt/slides/_rels/slide44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67.xml"/><Relationship Id="rId5" Type="http://schemas.openxmlformats.org/officeDocument/2006/relationships/chart" Target="../charts/chart619.xml"/><Relationship Id="rId4" Type="http://schemas.openxmlformats.org/officeDocument/2006/relationships/image" Target="../media/image28.emf"/></Relationships>
</file>

<file path=ppt/slides/_rels/slide44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68.xml"/><Relationship Id="rId5" Type="http://schemas.openxmlformats.org/officeDocument/2006/relationships/chart" Target="../charts/chart620.xml"/><Relationship Id="rId4" Type="http://schemas.openxmlformats.org/officeDocument/2006/relationships/image" Target="../media/image28.emf"/></Relationships>
</file>

<file path=ppt/slides/_rels/slide44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69.xml"/><Relationship Id="rId5" Type="http://schemas.openxmlformats.org/officeDocument/2006/relationships/chart" Target="../charts/chart621.xml"/><Relationship Id="rId4" Type="http://schemas.openxmlformats.org/officeDocument/2006/relationships/image" Target="../media/image28.emf"/></Relationships>
</file>

<file path=ppt/slides/_rels/slide44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70.xml"/><Relationship Id="rId5" Type="http://schemas.openxmlformats.org/officeDocument/2006/relationships/chart" Target="../charts/chart622.xml"/><Relationship Id="rId4" Type="http://schemas.openxmlformats.org/officeDocument/2006/relationships/image" Target="../media/image28.emf"/></Relationships>
</file>

<file path=ppt/slides/_rels/slide44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71.xml"/><Relationship Id="rId5" Type="http://schemas.openxmlformats.org/officeDocument/2006/relationships/chart" Target="../charts/chart623.xml"/><Relationship Id="rId4" Type="http://schemas.openxmlformats.org/officeDocument/2006/relationships/image" Target="../media/image28.emf"/></Relationships>
</file>

<file path=ppt/slides/_rels/slide44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72.xml"/><Relationship Id="rId5" Type="http://schemas.openxmlformats.org/officeDocument/2006/relationships/chart" Target="../charts/chart624.xml"/><Relationship Id="rId4" Type="http://schemas.openxmlformats.org/officeDocument/2006/relationships/image" Target="../media/image28.emf"/></Relationships>
</file>

<file path=ppt/slides/_rels/slide44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73.xml"/><Relationship Id="rId5" Type="http://schemas.openxmlformats.org/officeDocument/2006/relationships/chart" Target="../charts/chart625.xml"/><Relationship Id="rId4" Type="http://schemas.openxmlformats.org/officeDocument/2006/relationships/image" Target="../media/image28.emf"/></Relationships>
</file>

<file path=ppt/slides/_rels/slide44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74.xml"/><Relationship Id="rId5" Type="http://schemas.openxmlformats.org/officeDocument/2006/relationships/chart" Target="../charts/chart626.xml"/><Relationship Id="rId4" Type="http://schemas.openxmlformats.org/officeDocument/2006/relationships/image" Target="../media/image28.emf"/></Relationships>
</file>

<file path=ppt/slides/_rels/slide44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75.xml"/><Relationship Id="rId5" Type="http://schemas.openxmlformats.org/officeDocument/2006/relationships/chart" Target="../charts/chart627.xml"/><Relationship Id="rId4" Type="http://schemas.openxmlformats.org/officeDocument/2006/relationships/image" Target="../media/image28.emf"/></Relationships>
</file>

<file path=ppt/slides/_rels/slide44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76.xml"/><Relationship Id="rId5" Type="http://schemas.openxmlformats.org/officeDocument/2006/relationships/chart" Target="../charts/chart628.xml"/><Relationship Id="rId4" Type="http://schemas.openxmlformats.org/officeDocument/2006/relationships/image" Target="../media/image28.emf"/></Relationships>
</file>

<file path=ppt/slides/_rels/slide4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2.xml"/><Relationship Id="rId6" Type="http://schemas.openxmlformats.org/officeDocument/2006/relationships/chart" Target="../charts/chart104.xml"/><Relationship Id="rId5" Type="http://schemas.openxmlformats.org/officeDocument/2006/relationships/chart" Target="../charts/chart103.xml"/><Relationship Id="rId4" Type="http://schemas.openxmlformats.org/officeDocument/2006/relationships/image" Target="../media/image28.emf"/></Relationships>
</file>

<file path=ppt/slides/_rels/slide45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77.xml"/><Relationship Id="rId5" Type="http://schemas.openxmlformats.org/officeDocument/2006/relationships/chart" Target="../charts/chart629.xml"/><Relationship Id="rId4" Type="http://schemas.openxmlformats.org/officeDocument/2006/relationships/image" Target="../media/image28.emf"/></Relationships>
</file>

<file path=ppt/slides/_rels/slide45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78.xml"/><Relationship Id="rId5" Type="http://schemas.openxmlformats.org/officeDocument/2006/relationships/chart" Target="../charts/chart630.xml"/><Relationship Id="rId4" Type="http://schemas.openxmlformats.org/officeDocument/2006/relationships/image" Target="../media/image28.emf"/></Relationships>
</file>

<file path=ppt/slides/_rels/slide45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79.xml"/><Relationship Id="rId5" Type="http://schemas.openxmlformats.org/officeDocument/2006/relationships/chart" Target="../charts/chart631.xml"/><Relationship Id="rId4" Type="http://schemas.openxmlformats.org/officeDocument/2006/relationships/image" Target="../media/image28.emf"/></Relationships>
</file>

<file path=ppt/slides/_rels/slide45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80.xml"/><Relationship Id="rId5" Type="http://schemas.openxmlformats.org/officeDocument/2006/relationships/chart" Target="../charts/chart632.xml"/><Relationship Id="rId4" Type="http://schemas.openxmlformats.org/officeDocument/2006/relationships/image" Target="../media/image28.emf"/></Relationships>
</file>

<file path=ppt/slides/_rels/slide45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81.xml"/><Relationship Id="rId5" Type="http://schemas.openxmlformats.org/officeDocument/2006/relationships/chart" Target="../charts/chart633.xml"/><Relationship Id="rId4" Type="http://schemas.openxmlformats.org/officeDocument/2006/relationships/image" Target="../media/image28.emf"/></Relationships>
</file>

<file path=ppt/slides/_rels/slide45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82.xml"/><Relationship Id="rId5" Type="http://schemas.openxmlformats.org/officeDocument/2006/relationships/chart" Target="../charts/chart634.xml"/><Relationship Id="rId4" Type="http://schemas.openxmlformats.org/officeDocument/2006/relationships/image" Target="../media/image28.emf"/></Relationships>
</file>

<file path=ppt/slides/_rels/slide45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83.xml"/><Relationship Id="rId5" Type="http://schemas.openxmlformats.org/officeDocument/2006/relationships/chart" Target="../charts/chart635.xml"/><Relationship Id="rId4" Type="http://schemas.openxmlformats.org/officeDocument/2006/relationships/image" Target="../media/image28.emf"/></Relationships>
</file>

<file path=ppt/slides/_rels/slide45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84.xml"/><Relationship Id="rId5" Type="http://schemas.openxmlformats.org/officeDocument/2006/relationships/chart" Target="../charts/chart636.xml"/><Relationship Id="rId4" Type="http://schemas.openxmlformats.org/officeDocument/2006/relationships/image" Target="../media/image28.emf"/></Relationships>
</file>

<file path=ppt/slides/_rels/slide45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85.xml"/><Relationship Id="rId5" Type="http://schemas.openxmlformats.org/officeDocument/2006/relationships/chart" Target="../charts/chart637.xml"/><Relationship Id="rId4" Type="http://schemas.openxmlformats.org/officeDocument/2006/relationships/image" Target="../media/image28.emf"/></Relationships>
</file>

<file path=ppt/slides/_rels/slide45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86.xml"/><Relationship Id="rId5" Type="http://schemas.openxmlformats.org/officeDocument/2006/relationships/chart" Target="../charts/chart638.xml"/><Relationship Id="rId4" Type="http://schemas.openxmlformats.org/officeDocument/2006/relationships/image" Target="../media/image28.emf"/></Relationships>
</file>

<file path=ppt/slides/_rels/slide46.xml.rels><?xml version="1.0" encoding="UTF-8" standalone="yes"?>
<Relationships xmlns="http://schemas.openxmlformats.org/package/2006/relationships"><Relationship Id="rId8" Type="http://schemas.openxmlformats.org/officeDocument/2006/relationships/chart" Target="../charts/chart108.xml"/><Relationship Id="rId3" Type="http://schemas.openxmlformats.org/officeDocument/2006/relationships/oleObject" Target="../embeddings/oleObject27.bin"/><Relationship Id="rId7" Type="http://schemas.openxmlformats.org/officeDocument/2006/relationships/chart" Target="../charts/chart107.xml"/><Relationship Id="rId2" Type="http://schemas.openxmlformats.org/officeDocument/2006/relationships/slideLayout" Target="../slideLayouts/slideLayout7.xml"/><Relationship Id="rId1" Type="http://schemas.openxmlformats.org/officeDocument/2006/relationships/tags" Target="../tags/tag73.xml"/><Relationship Id="rId6" Type="http://schemas.openxmlformats.org/officeDocument/2006/relationships/chart" Target="../charts/chart106.xml"/><Relationship Id="rId5" Type="http://schemas.openxmlformats.org/officeDocument/2006/relationships/chart" Target="../charts/chart105.xml"/><Relationship Id="rId4" Type="http://schemas.openxmlformats.org/officeDocument/2006/relationships/image" Target="../media/image28.emf"/></Relationships>
</file>

<file path=ppt/slides/_rels/slide46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87.xml"/><Relationship Id="rId5" Type="http://schemas.openxmlformats.org/officeDocument/2006/relationships/chart" Target="../charts/chart639.xml"/><Relationship Id="rId4" Type="http://schemas.openxmlformats.org/officeDocument/2006/relationships/image" Target="../media/image28.emf"/></Relationships>
</file>

<file path=ppt/slides/_rels/slide46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88.xml"/><Relationship Id="rId5" Type="http://schemas.openxmlformats.org/officeDocument/2006/relationships/chart" Target="../charts/chart640.xml"/><Relationship Id="rId4" Type="http://schemas.openxmlformats.org/officeDocument/2006/relationships/image" Target="../media/image28.emf"/></Relationships>
</file>

<file path=ppt/slides/_rels/slide46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89.xml"/><Relationship Id="rId5" Type="http://schemas.openxmlformats.org/officeDocument/2006/relationships/chart" Target="../charts/chart641.xml"/><Relationship Id="rId4" Type="http://schemas.openxmlformats.org/officeDocument/2006/relationships/image" Target="../media/image28.emf"/></Relationships>
</file>

<file path=ppt/slides/_rels/slide46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90.xml"/><Relationship Id="rId5" Type="http://schemas.openxmlformats.org/officeDocument/2006/relationships/chart" Target="../charts/chart642.xml"/><Relationship Id="rId4" Type="http://schemas.openxmlformats.org/officeDocument/2006/relationships/image" Target="../media/image28.emf"/></Relationships>
</file>

<file path=ppt/slides/_rels/slide46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91.xml"/><Relationship Id="rId5" Type="http://schemas.openxmlformats.org/officeDocument/2006/relationships/chart" Target="../charts/chart643.xml"/><Relationship Id="rId4" Type="http://schemas.openxmlformats.org/officeDocument/2006/relationships/image" Target="../media/image28.emf"/></Relationships>
</file>

<file path=ppt/slides/_rels/slide46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92.xml"/><Relationship Id="rId5" Type="http://schemas.openxmlformats.org/officeDocument/2006/relationships/chart" Target="../charts/chart644.xml"/><Relationship Id="rId4" Type="http://schemas.openxmlformats.org/officeDocument/2006/relationships/image" Target="../media/image28.emf"/></Relationships>
</file>

<file path=ppt/slides/_rels/slide46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93.xml"/><Relationship Id="rId5" Type="http://schemas.openxmlformats.org/officeDocument/2006/relationships/chart" Target="../charts/chart645.xml"/><Relationship Id="rId4" Type="http://schemas.openxmlformats.org/officeDocument/2006/relationships/image" Target="../media/image28.emf"/></Relationships>
</file>

<file path=ppt/slides/_rels/slide46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94.xml"/><Relationship Id="rId5" Type="http://schemas.openxmlformats.org/officeDocument/2006/relationships/chart" Target="../charts/chart646.xml"/><Relationship Id="rId4" Type="http://schemas.openxmlformats.org/officeDocument/2006/relationships/image" Target="../media/image28.emf"/></Relationships>
</file>

<file path=ppt/slides/_rels/slide46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95.xml"/><Relationship Id="rId5" Type="http://schemas.openxmlformats.org/officeDocument/2006/relationships/chart" Target="../charts/chart647.xml"/><Relationship Id="rId4" Type="http://schemas.openxmlformats.org/officeDocument/2006/relationships/image" Target="../media/image28.emf"/></Relationships>
</file>

<file path=ppt/slides/_rels/slide46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96.xml"/><Relationship Id="rId5" Type="http://schemas.openxmlformats.org/officeDocument/2006/relationships/chart" Target="../charts/chart648.xml"/><Relationship Id="rId4" Type="http://schemas.openxmlformats.org/officeDocument/2006/relationships/image" Target="../media/image28.emf"/></Relationships>
</file>

<file path=ppt/slides/_rels/slide47.xml.rels><?xml version="1.0" encoding="UTF-8" standalone="yes"?>
<Relationships xmlns="http://schemas.openxmlformats.org/package/2006/relationships"><Relationship Id="rId8" Type="http://schemas.openxmlformats.org/officeDocument/2006/relationships/chart" Target="../charts/chart112.xml"/><Relationship Id="rId3" Type="http://schemas.openxmlformats.org/officeDocument/2006/relationships/oleObject" Target="../embeddings/oleObject27.bin"/><Relationship Id="rId7" Type="http://schemas.openxmlformats.org/officeDocument/2006/relationships/chart" Target="../charts/chart111.xml"/><Relationship Id="rId2" Type="http://schemas.openxmlformats.org/officeDocument/2006/relationships/slideLayout" Target="../slideLayouts/slideLayout7.xml"/><Relationship Id="rId1" Type="http://schemas.openxmlformats.org/officeDocument/2006/relationships/tags" Target="../tags/tag74.xml"/><Relationship Id="rId6" Type="http://schemas.openxmlformats.org/officeDocument/2006/relationships/chart" Target="../charts/chart110.xml"/><Relationship Id="rId5" Type="http://schemas.openxmlformats.org/officeDocument/2006/relationships/chart" Target="../charts/chart109.xml"/><Relationship Id="rId4" Type="http://schemas.openxmlformats.org/officeDocument/2006/relationships/image" Target="../media/image28.emf"/></Relationships>
</file>

<file path=ppt/slides/_rels/slide47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97.xml"/><Relationship Id="rId5" Type="http://schemas.openxmlformats.org/officeDocument/2006/relationships/chart" Target="../charts/chart649.xml"/><Relationship Id="rId4" Type="http://schemas.openxmlformats.org/officeDocument/2006/relationships/image" Target="../media/image28.emf"/></Relationships>
</file>

<file path=ppt/slides/_rels/slide47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98.xml"/><Relationship Id="rId5" Type="http://schemas.openxmlformats.org/officeDocument/2006/relationships/chart" Target="../charts/chart650.xml"/><Relationship Id="rId4" Type="http://schemas.openxmlformats.org/officeDocument/2006/relationships/image" Target="../media/image28.emf"/></Relationships>
</file>

<file path=ppt/slides/_rels/slide47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99.xml"/><Relationship Id="rId5" Type="http://schemas.openxmlformats.org/officeDocument/2006/relationships/chart" Target="../charts/chart651.xml"/><Relationship Id="rId4" Type="http://schemas.openxmlformats.org/officeDocument/2006/relationships/image" Target="../media/image28.emf"/></Relationships>
</file>

<file path=ppt/slides/_rels/slide47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00.xml"/><Relationship Id="rId5" Type="http://schemas.openxmlformats.org/officeDocument/2006/relationships/chart" Target="../charts/chart652.xml"/><Relationship Id="rId4" Type="http://schemas.openxmlformats.org/officeDocument/2006/relationships/image" Target="../media/image28.emf"/></Relationships>
</file>

<file path=ppt/slides/_rels/slide47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01.xml"/><Relationship Id="rId5" Type="http://schemas.openxmlformats.org/officeDocument/2006/relationships/chart" Target="../charts/chart653.xml"/><Relationship Id="rId4" Type="http://schemas.openxmlformats.org/officeDocument/2006/relationships/image" Target="../media/image28.emf"/></Relationships>
</file>

<file path=ppt/slides/_rels/slide47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02.xml"/><Relationship Id="rId5" Type="http://schemas.openxmlformats.org/officeDocument/2006/relationships/chart" Target="../charts/chart654.xml"/><Relationship Id="rId4" Type="http://schemas.openxmlformats.org/officeDocument/2006/relationships/image" Target="../media/image28.emf"/></Relationships>
</file>

<file path=ppt/slides/_rels/slide47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03.xml"/><Relationship Id="rId5" Type="http://schemas.openxmlformats.org/officeDocument/2006/relationships/chart" Target="../charts/chart655.xml"/><Relationship Id="rId4" Type="http://schemas.openxmlformats.org/officeDocument/2006/relationships/image" Target="../media/image28.emf"/></Relationships>
</file>

<file path=ppt/slides/_rels/slide47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04.xml"/><Relationship Id="rId5" Type="http://schemas.openxmlformats.org/officeDocument/2006/relationships/chart" Target="../charts/chart656.xml"/><Relationship Id="rId4" Type="http://schemas.openxmlformats.org/officeDocument/2006/relationships/image" Target="../media/image28.emf"/></Relationships>
</file>

<file path=ppt/slides/_rels/slide47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05.xml"/><Relationship Id="rId5" Type="http://schemas.openxmlformats.org/officeDocument/2006/relationships/chart" Target="../charts/chart657.xml"/><Relationship Id="rId4" Type="http://schemas.openxmlformats.org/officeDocument/2006/relationships/image" Target="../media/image28.emf"/></Relationships>
</file>

<file path=ppt/slides/_rels/slide47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06.xml"/><Relationship Id="rId5" Type="http://schemas.openxmlformats.org/officeDocument/2006/relationships/chart" Target="../charts/chart658.xml"/><Relationship Id="rId4" Type="http://schemas.openxmlformats.org/officeDocument/2006/relationships/image" Target="../media/image28.emf"/></Relationships>
</file>

<file path=ppt/slides/_rels/slide48.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15.xml"/><Relationship Id="rId2" Type="http://schemas.openxmlformats.org/officeDocument/2006/relationships/slideLayout" Target="../slideLayouts/slideLayout7.xml"/><Relationship Id="rId1" Type="http://schemas.openxmlformats.org/officeDocument/2006/relationships/tags" Target="../tags/tag75.xml"/><Relationship Id="rId6" Type="http://schemas.openxmlformats.org/officeDocument/2006/relationships/chart" Target="../charts/chart114.xml"/><Relationship Id="rId5" Type="http://schemas.openxmlformats.org/officeDocument/2006/relationships/chart" Target="../charts/chart113.xml"/><Relationship Id="rId4" Type="http://schemas.openxmlformats.org/officeDocument/2006/relationships/image" Target="../media/image28.emf"/></Relationships>
</file>

<file path=ppt/slides/_rels/slide48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07.xml"/><Relationship Id="rId5" Type="http://schemas.openxmlformats.org/officeDocument/2006/relationships/chart" Target="../charts/chart659.xml"/><Relationship Id="rId4" Type="http://schemas.openxmlformats.org/officeDocument/2006/relationships/image" Target="../media/image28.emf"/></Relationships>
</file>

<file path=ppt/slides/_rels/slide48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08.xml"/><Relationship Id="rId5" Type="http://schemas.openxmlformats.org/officeDocument/2006/relationships/chart" Target="../charts/chart660.xml"/><Relationship Id="rId4" Type="http://schemas.openxmlformats.org/officeDocument/2006/relationships/image" Target="../media/image28.emf"/></Relationships>
</file>

<file path=ppt/slides/_rels/slide48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09.xml"/><Relationship Id="rId5" Type="http://schemas.openxmlformats.org/officeDocument/2006/relationships/chart" Target="../charts/chart661.xml"/><Relationship Id="rId4" Type="http://schemas.openxmlformats.org/officeDocument/2006/relationships/image" Target="../media/image28.emf"/></Relationships>
</file>

<file path=ppt/slides/_rels/slide48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10.xml"/><Relationship Id="rId5" Type="http://schemas.openxmlformats.org/officeDocument/2006/relationships/chart" Target="../charts/chart662.xml"/><Relationship Id="rId4" Type="http://schemas.openxmlformats.org/officeDocument/2006/relationships/image" Target="../media/image28.emf"/></Relationships>
</file>

<file path=ppt/slides/_rels/slide48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11.xml"/><Relationship Id="rId5" Type="http://schemas.openxmlformats.org/officeDocument/2006/relationships/chart" Target="../charts/chart663.xml"/><Relationship Id="rId4" Type="http://schemas.openxmlformats.org/officeDocument/2006/relationships/image" Target="../media/image28.emf"/></Relationships>
</file>

<file path=ppt/slides/_rels/slide48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12.xml"/><Relationship Id="rId5" Type="http://schemas.openxmlformats.org/officeDocument/2006/relationships/chart" Target="../charts/chart664.xml"/><Relationship Id="rId4" Type="http://schemas.openxmlformats.org/officeDocument/2006/relationships/image" Target="../media/image28.emf"/></Relationships>
</file>

<file path=ppt/slides/_rels/slide48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13.xml"/><Relationship Id="rId5" Type="http://schemas.openxmlformats.org/officeDocument/2006/relationships/chart" Target="../charts/chart665.xml"/><Relationship Id="rId4" Type="http://schemas.openxmlformats.org/officeDocument/2006/relationships/image" Target="../media/image28.emf"/></Relationships>
</file>

<file path=ppt/slides/_rels/slide48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14.xml"/><Relationship Id="rId5" Type="http://schemas.openxmlformats.org/officeDocument/2006/relationships/chart" Target="../charts/chart666.xml"/><Relationship Id="rId4" Type="http://schemas.openxmlformats.org/officeDocument/2006/relationships/image" Target="../media/image28.emf"/></Relationships>
</file>

<file path=ppt/slides/_rels/slide48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15.xml"/><Relationship Id="rId5" Type="http://schemas.openxmlformats.org/officeDocument/2006/relationships/chart" Target="../charts/chart667.xml"/><Relationship Id="rId4" Type="http://schemas.openxmlformats.org/officeDocument/2006/relationships/image" Target="../media/image28.emf"/></Relationships>
</file>

<file path=ppt/slides/_rels/slide48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16.xml"/><Relationship Id="rId5" Type="http://schemas.openxmlformats.org/officeDocument/2006/relationships/chart" Target="../charts/chart668.xml"/><Relationship Id="rId4" Type="http://schemas.openxmlformats.org/officeDocument/2006/relationships/image" Target="../media/image28.emf"/></Relationships>
</file>

<file path=ppt/slides/_rels/slide49.xml.rels><?xml version="1.0" encoding="UTF-8" standalone="yes"?>
<Relationships xmlns="http://schemas.openxmlformats.org/package/2006/relationships"><Relationship Id="rId8" Type="http://schemas.openxmlformats.org/officeDocument/2006/relationships/chart" Target="../charts/chart119.xml"/><Relationship Id="rId3" Type="http://schemas.openxmlformats.org/officeDocument/2006/relationships/oleObject" Target="../embeddings/oleObject27.bin"/><Relationship Id="rId7" Type="http://schemas.openxmlformats.org/officeDocument/2006/relationships/chart" Target="../charts/chart118.xml"/><Relationship Id="rId2" Type="http://schemas.openxmlformats.org/officeDocument/2006/relationships/slideLayout" Target="../slideLayouts/slideLayout7.xml"/><Relationship Id="rId1" Type="http://schemas.openxmlformats.org/officeDocument/2006/relationships/tags" Target="../tags/tag76.xml"/><Relationship Id="rId6" Type="http://schemas.openxmlformats.org/officeDocument/2006/relationships/chart" Target="../charts/chart117.xml"/><Relationship Id="rId5" Type="http://schemas.openxmlformats.org/officeDocument/2006/relationships/chart" Target="../charts/chart116.xml"/><Relationship Id="rId4" Type="http://schemas.openxmlformats.org/officeDocument/2006/relationships/image" Target="../media/image28.emf"/></Relationships>
</file>

<file path=ppt/slides/_rels/slide49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17.xml"/><Relationship Id="rId5" Type="http://schemas.openxmlformats.org/officeDocument/2006/relationships/chart" Target="../charts/chart669.xml"/><Relationship Id="rId4" Type="http://schemas.openxmlformats.org/officeDocument/2006/relationships/image" Target="../media/image28.emf"/></Relationships>
</file>

<file path=ppt/slides/_rels/slide49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18.xml"/><Relationship Id="rId5" Type="http://schemas.openxmlformats.org/officeDocument/2006/relationships/chart" Target="../charts/chart670.xml"/><Relationship Id="rId4" Type="http://schemas.openxmlformats.org/officeDocument/2006/relationships/image" Target="../media/image28.emf"/></Relationships>
</file>

<file path=ppt/slides/_rels/slide49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19.xml"/><Relationship Id="rId5" Type="http://schemas.openxmlformats.org/officeDocument/2006/relationships/chart" Target="../charts/chart671.xml"/><Relationship Id="rId4" Type="http://schemas.openxmlformats.org/officeDocument/2006/relationships/image" Target="../media/image28.emf"/></Relationships>
</file>

<file path=ppt/slides/_rels/slide49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20.xml"/><Relationship Id="rId5" Type="http://schemas.openxmlformats.org/officeDocument/2006/relationships/chart" Target="../charts/chart672.xml"/><Relationship Id="rId4" Type="http://schemas.openxmlformats.org/officeDocument/2006/relationships/image" Target="../media/image28.emf"/></Relationships>
</file>

<file path=ppt/slides/_rels/slide49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21.xml"/><Relationship Id="rId5" Type="http://schemas.openxmlformats.org/officeDocument/2006/relationships/chart" Target="../charts/chart673.xml"/><Relationship Id="rId4" Type="http://schemas.openxmlformats.org/officeDocument/2006/relationships/image" Target="../media/image28.emf"/></Relationships>
</file>

<file path=ppt/slides/_rels/slide49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22.xml"/><Relationship Id="rId5" Type="http://schemas.openxmlformats.org/officeDocument/2006/relationships/chart" Target="../charts/chart674.xml"/><Relationship Id="rId4" Type="http://schemas.openxmlformats.org/officeDocument/2006/relationships/image" Target="../media/image28.emf"/></Relationships>
</file>

<file path=ppt/slides/_rels/slide49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23.xml"/><Relationship Id="rId5" Type="http://schemas.openxmlformats.org/officeDocument/2006/relationships/chart" Target="../charts/chart675.xml"/><Relationship Id="rId4" Type="http://schemas.openxmlformats.org/officeDocument/2006/relationships/image" Target="../media/image28.emf"/></Relationships>
</file>

<file path=ppt/slides/_rels/slide49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24.xml"/><Relationship Id="rId5" Type="http://schemas.openxmlformats.org/officeDocument/2006/relationships/chart" Target="../charts/chart676.xml"/><Relationship Id="rId4" Type="http://schemas.openxmlformats.org/officeDocument/2006/relationships/image" Target="../media/image28.emf"/></Relationships>
</file>

<file path=ppt/slides/_rels/slide49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25.xml"/><Relationship Id="rId5" Type="http://schemas.openxmlformats.org/officeDocument/2006/relationships/chart" Target="../charts/chart677.xml"/><Relationship Id="rId4" Type="http://schemas.openxmlformats.org/officeDocument/2006/relationships/image" Target="../media/image28.emf"/></Relationships>
</file>

<file path=ppt/slides/_rels/slide49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26.xml"/><Relationship Id="rId5" Type="http://schemas.openxmlformats.org/officeDocument/2006/relationships/chart" Target="../charts/chart678.xml"/><Relationship Id="rId4" Type="http://schemas.openxmlformats.org/officeDocument/2006/relationships/image" Target="../media/image28.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xml"/><Relationship Id="rId5" Type="http://schemas.openxmlformats.org/officeDocument/2006/relationships/chart" Target="../charts/chart5.xml"/><Relationship Id="rId4" Type="http://schemas.openxmlformats.org/officeDocument/2006/relationships/image" Target="../media/image28.emf"/></Relationships>
</file>

<file path=ppt/slides/_rels/slide50.xml.rels><?xml version="1.0" encoding="UTF-8" standalone="yes"?>
<Relationships xmlns="http://schemas.openxmlformats.org/package/2006/relationships"><Relationship Id="rId8" Type="http://schemas.openxmlformats.org/officeDocument/2006/relationships/chart" Target="../charts/chart123.xml"/><Relationship Id="rId3" Type="http://schemas.openxmlformats.org/officeDocument/2006/relationships/oleObject" Target="../embeddings/oleObject27.bin"/><Relationship Id="rId7" Type="http://schemas.openxmlformats.org/officeDocument/2006/relationships/chart" Target="../charts/chart122.xml"/><Relationship Id="rId2" Type="http://schemas.openxmlformats.org/officeDocument/2006/relationships/slideLayout" Target="../slideLayouts/slideLayout7.xml"/><Relationship Id="rId1" Type="http://schemas.openxmlformats.org/officeDocument/2006/relationships/tags" Target="../tags/tag77.xml"/><Relationship Id="rId6" Type="http://schemas.openxmlformats.org/officeDocument/2006/relationships/chart" Target="../charts/chart121.xml"/><Relationship Id="rId5" Type="http://schemas.openxmlformats.org/officeDocument/2006/relationships/chart" Target="../charts/chart120.xml"/><Relationship Id="rId4" Type="http://schemas.openxmlformats.org/officeDocument/2006/relationships/image" Target="../media/image28.emf"/></Relationships>
</file>

<file path=ppt/slides/_rels/slide50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27.xml"/><Relationship Id="rId5" Type="http://schemas.openxmlformats.org/officeDocument/2006/relationships/chart" Target="../charts/chart679.xml"/><Relationship Id="rId4" Type="http://schemas.openxmlformats.org/officeDocument/2006/relationships/image" Target="../media/image28.emf"/></Relationships>
</file>

<file path=ppt/slides/_rels/slide50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28.xml"/><Relationship Id="rId5" Type="http://schemas.openxmlformats.org/officeDocument/2006/relationships/chart" Target="../charts/chart680.xml"/><Relationship Id="rId4" Type="http://schemas.openxmlformats.org/officeDocument/2006/relationships/image" Target="../media/image28.emf"/></Relationships>
</file>

<file path=ppt/slides/_rels/slide50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29.xml"/><Relationship Id="rId5" Type="http://schemas.openxmlformats.org/officeDocument/2006/relationships/chart" Target="../charts/chart681.xml"/><Relationship Id="rId4" Type="http://schemas.openxmlformats.org/officeDocument/2006/relationships/image" Target="../media/image28.emf"/></Relationships>
</file>

<file path=ppt/slides/_rels/slide50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30.xml"/><Relationship Id="rId5" Type="http://schemas.openxmlformats.org/officeDocument/2006/relationships/chart" Target="../charts/chart682.xml"/><Relationship Id="rId4" Type="http://schemas.openxmlformats.org/officeDocument/2006/relationships/image" Target="../media/image28.emf"/></Relationships>
</file>

<file path=ppt/slides/_rels/slide50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31.xml"/><Relationship Id="rId5" Type="http://schemas.openxmlformats.org/officeDocument/2006/relationships/chart" Target="../charts/chart683.xml"/><Relationship Id="rId4" Type="http://schemas.openxmlformats.org/officeDocument/2006/relationships/image" Target="../media/image28.emf"/></Relationships>
</file>

<file path=ppt/slides/_rels/slide50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32.xml"/><Relationship Id="rId5" Type="http://schemas.openxmlformats.org/officeDocument/2006/relationships/chart" Target="../charts/chart684.xml"/><Relationship Id="rId4" Type="http://schemas.openxmlformats.org/officeDocument/2006/relationships/image" Target="../media/image28.emf"/></Relationships>
</file>

<file path=ppt/slides/_rels/slide50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33.xml"/><Relationship Id="rId5" Type="http://schemas.openxmlformats.org/officeDocument/2006/relationships/chart" Target="../charts/chart685.xml"/><Relationship Id="rId4" Type="http://schemas.openxmlformats.org/officeDocument/2006/relationships/image" Target="../media/image28.emf"/></Relationships>
</file>

<file path=ppt/slides/_rels/slide50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34.xml"/><Relationship Id="rId5" Type="http://schemas.openxmlformats.org/officeDocument/2006/relationships/chart" Target="../charts/chart686.xml"/><Relationship Id="rId4" Type="http://schemas.openxmlformats.org/officeDocument/2006/relationships/image" Target="../media/image28.emf"/></Relationships>
</file>

<file path=ppt/slides/_rels/slide50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35.xml"/><Relationship Id="rId5" Type="http://schemas.openxmlformats.org/officeDocument/2006/relationships/chart" Target="../charts/chart687.xml"/><Relationship Id="rId4" Type="http://schemas.openxmlformats.org/officeDocument/2006/relationships/image" Target="../media/image28.emf"/></Relationships>
</file>

<file path=ppt/slides/_rels/slide50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36.xml"/><Relationship Id="rId5" Type="http://schemas.openxmlformats.org/officeDocument/2006/relationships/chart" Target="../charts/chart688.xml"/><Relationship Id="rId4" Type="http://schemas.openxmlformats.org/officeDocument/2006/relationships/image" Target="../media/image28.emf"/></Relationships>
</file>

<file path=ppt/slides/_rels/slide5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26.xml"/><Relationship Id="rId2" Type="http://schemas.openxmlformats.org/officeDocument/2006/relationships/slideLayout" Target="../slideLayouts/slideLayout7.xml"/><Relationship Id="rId1" Type="http://schemas.openxmlformats.org/officeDocument/2006/relationships/tags" Target="../tags/tag78.xml"/><Relationship Id="rId6" Type="http://schemas.openxmlformats.org/officeDocument/2006/relationships/chart" Target="../charts/chart125.xml"/><Relationship Id="rId5" Type="http://schemas.openxmlformats.org/officeDocument/2006/relationships/chart" Target="../charts/chart124.xml"/><Relationship Id="rId4" Type="http://schemas.openxmlformats.org/officeDocument/2006/relationships/image" Target="../media/image28.emf"/></Relationships>
</file>

<file path=ppt/slides/_rels/slide5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37.xml"/><Relationship Id="rId5" Type="http://schemas.openxmlformats.org/officeDocument/2006/relationships/chart" Target="../charts/chart689.xml"/><Relationship Id="rId4" Type="http://schemas.openxmlformats.org/officeDocument/2006/relationships/image" Target="../media/image28.emf"/></Relationships>
</file>

<file path=ppt/slides/_rels/slide51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38.xml"/><Relationship Id="rId5" Type="http://schemas.openxmlformats.org/officeDocument/2006/relationships/chart" Target="../charts/chart690.xml"/><Relationship Id="rId4" Type="http://schemas.openxmlformats.org/officeDocument/2006/relationships/image" Target="../media/image28.emf"/></Relationships>
</file>

<file path=ppt/slides/_rels/slide51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39.xml"/><Relationship Id="rId5" Type="http://schemas.openxmlformats.org/officeDocument/2006/relationships/chart" Target="../charts/chart691.xml"/><Relationship Id="rId4" Type="http://schemas.openxmlformats.org/officeDocument/2006/relationships/image" Target="../media/image28.emf"/></Relationships>
</file>

<file path=ppt/slides/_rels/slide51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40.xml"/><Relationship Id="rId5" Type="http://schemas.openxmlformats.org/officeDocument/2006/relationships/chart" Target="../charts/chart692.xml"/><Relationship Id="rId4" Type="http://schemas.openxmlformats.org/officeDocument/2006/relationships/image" Target="../media/image28.emf"/></Relationships>
</file>

<file path=ppt/slides/_rels/slide51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41.xml"/><Relationship Id="rId5" Type="http://schemas.openxmlformats.org/officeDocument/2006/relationships/chart" Target="../charts/chart693.xml"/><Relationship Id="rId4" Type="http://schemas.openxmlformats.org/officeDocument/2006/relationships/image" Target="../media/image28.emf"/></Relationships>
</file>

<file path=ppt/slides/_rels/slide51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42.xml"/><Relationship Id="rId5" Type="http://schemas.openxmlformats.org/officeDocument/2006/relationships/chart" Target="../charts/chart694.xml"/><Relationship Id="rId4" Type="http://schemas.openxmlformats.org/officeDocument/2006/relationships/image" Target="../media/image28.emf"/></Relationships>
</file>

<file path=ppt/slides/_rels/slide51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43.xml"/><Relationship Id="rId5" Type="http://schemas.openxmlformats.org/officeDocument/2006/relationships/chart" Target="../charts/chart695.xml"/><Relationship Id="rId4" Type="http://schemas.openxmlformats.org/officeDocument/2006/relationships/image" Target="../media/image28.emf"/></Relationships>
</file>

<file path=ppt/slides/_rels/slide51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44.xml"/><Relationship Id="rId5" Type="http://schemas.openxmlformats.org/officeDocument/2006/relationships/chart" Target="../charts/chart696.xml"/><Relationship Id="rId4" Type="http://schemas.openxmlformats.org/officeDocument/2006/relationships/image" Target="../media/image28.emf"/></Relationships>
</file>

<file path=ppt/slides/_rels/slide51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45.xml"/><Relationship Id="rId5" Type="http://schemas.openxmlformats.org/officeDocument/2006/relationships/chart" Target="../charts/chart697.xml"/><Relationship Id="rId4" Type="http://schemas.openxmlformats.org/officeDocument/2006/relationships/image" Target="../media/image28.emf"/></Relationships>
</file>

<file path=ppt/slides/_rels/slide51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46.xml"/><Relationship Id="rId5" Type="http://schemas.openxmlformats.org/officeDocument/2006/relationships/chart" Target="../charts/chart698.xml"/><Relationship Id="rId4" Type="http://schemas.openxmlformats.org/officeDocument/2006/relationships/image" Target="../media/image28.emf"/></Relationships>
</file>

<file path=ppt/slides/_rels/slide52.xml.rels><?xml version="1.0" encoding="UTF-8" standalone="yes"?>
<Relationships xmlns="http://schemas.openxmlformats.org/package/2006/relationships"><Relationship Id="rId8" Type="http://schemas.openxmlformats.org/officeDocument/2006/relationships/chart" Target="../charts/chart130.xml"/><Relationship Id="rId3" Type="http://schemas.openxmlformats.org/officeDocument/2006/relationships/oleObject" Target="../embeddings/oleObject27.bin"/><Relationship Id="rId7" Type="http://schemas.openxmlformats.org/officeDocument/2006/relationships/chart" Target="../charts/chart129.xml"/><Relationship Id="rId2" Type="http://schemas.openxmlformats.org/officeDocument/2006/relationships/slideLayout" Target="../slideLayouts/slideLayout7.xml"/><Relationship Id="rId1" Type="http://schemas.openxmlformats.org/officeDocument/2006/relationships/tags" Target="../tags/tag79.xml"/><Relationship Id="rId6" Type="http://schemas.openxmlformats.org/officeDocument/2006/relationships/chart" Target="../charts/chart128.xml"/><Relationship Id="rId5" Type="http://schemas.openxmlformats.org/officeDocument/2006/relationships/chart" Target="../charts/chart127.xml"/><Relationship Id="rId4" Type="http://schemas.openxmlformats.org/officeDocument/2006/relationships/image" Target="../media/image28.emf"/></Relationships>
</file>

<file path=ppt/slides/_rels/slide52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47.xml"/><Relationship Id="rId5" Type="http://schemas.openxmlformats.org/officeDocument/2006/relationships/chart" Target="../charts/chart699.xml"/><Relationship Id="rId4" Type="http://schemas.openxmlformats.org/officeDocument/2006/relationships/image" Target="../media/image28.emf"/></Relationships>
</file>

<file path=ppt/slides/_rels/slide52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48.xml"/><Relationship Id="rId5" Type="http://schemas.openxmlformats.org/officeDocument/2006/relationships/chart" Target="../charts/chart700.xml"/><Relationship Id="rId4" Type="http://schemas.openxmlformats.org/officeDocument/2006/relationships/image" Target="../media/image28.emf"/></Relationships>
</file>

<file path=ppt/slides/_rels/slide52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49.xml"/><Relationship Id="rId5" Type="http://schemas.openxmlformats.org/officeDocument/2006/relationships/chart" Target="../charts/chart701.xml"/><Relationship Id="rId4" Type="http://schemas.openxmlformats.org/officeDocument/2006/relationships/image" Target="../media/image28.emf"/></Relationships>
</file>

<file path=ppt/slides/_rels/slide52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50.xml"/><Relationship Id="rId5" Type="http://schemas.openxmlformats.org/officeDocument/2006/relationships/chart" Target="../charts/chart702.xml"/><Relationship Id="rId4" Type="http://schemas.openxmlformats.org/officeDocument/2006/relationships/image" Target="../media/image28.emf"/></Relationships>
</file>

<file path=ppt/slides/_rels/slide52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51.xml"/><Relationship Id="rId5" Type="http://schemas.openxmlformats.org/officeDocument/2006/relationships/chart" Target="../charts/chart703.xml"/><Relationship Id="rId4" Type="http://schemas.openxmlformats.org/officeDocument/2006/relationships/image" Target="../media/image28.emf"/></Relationships>
</file>

<file path=ppt/slides/_rels/slide52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52.xml"/><Relationship Id="rId5" Type="http://schemas.openxmlformats.org/officeDocument/2006/relationships/chart" Target="../charts/chart704.xml"/><Relationship Id="rId4" Type="http://schemas.openxmlformats.org/officeDocument/2006/relationships/image" Target="../media/image28.emf"/></Relationships>
</file>

<file path=ppt/slides/_rels/slide5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53.xml"/><Relationship Id="rId5" Type="http://schemas.openxmlformats.org/officeDocument/2006/relationships/chart" Target="../charts/chart705.xml"/><Relationship Id="rId4" Type="http://schemas.openxmlformats.org/officeDocument/2006/relationships/image" Target="../media/image28.emf"/></Relationships>
</file>

<file path=ppt/slides/_rels/slide52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54.xml"/><Relationship Id="rId5" Type="http://schemas.openxmlformats.org/officeDocument/2006/relationships/chart" Target="../charts/chart706.xml"/><Relationship Id="rId4" Type="http://schemas.openxmlformats.org/officeDocument/2006/relationships/image" Target="../media/image28.emf"/></Relationships>
</file>

<file path=ppt/slides/_rels/slide52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55.xml"/><Relationship Id="rId5" Type="http://schemas.openxmlformats.org/officeDocument/2006/relationships/chart" Target="../charts/chart707.xml"/><Relationship Id="rId4" Type="http://schemas.openxmlformats.org/officeDocument/2006/relationships/image" Target="../media/image28.emf"/></Relationships>
</file>

<file path=ppt/slides/_rels/slide52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56.xml"/><Relationship Id="rId5" Type="http://schemas.openxmlformats.org/officeDocument/2006/relationships/chart" Target="../charts/chart708.xml"/><Relationship Id="rId4" Type="http://schemas.openxmlformats.org/officeDocument/2006/relationships/image" Target="../media/image28.emf"/></Relationships>
</file>

<file path=ppt/slides/_rels/slide53.xml.rels><?xml version="1.0" encoding="UTF-8" standalone="yes"?>
<Relationships xmlns="http://schemas.openxmlformats.org/package/2006/relationships"><Relationship Id="rId8" Type="http://schemas.openxmlformats.org/officeDocument/2006/relationships/chart" Target="../charts/chart134.xml"/><Relationship Id="rId3" Type="http://schemas.openxmlformats.org/officeDocument/2006/relationships/oleObject" Target="../embeddings/oleObject27.bin"/><Relationship Id="rId7" Type="http://schemas.openxmlformats.org/officeDocument/2006/relationships/chart" Target="../charts/chart133.xml"/><Relationship Id="rId2" Type="http://schemas.openxmlformats.org/officeDocument/2006/relationships/slideLayout" Target="../slideLayouts/slideLayout7.xml"/><Relationship Id="rId1" Type="http://schemas.openxmlformats.org/officeDocument/2006/relationships/tags" Target="../tags/tag80.xml"/><Relationship Id="rId6" Type="http://schemas.openxmlformats.org/officeDocument/2006/relationships/chart" Target="../charts/chart132.xml"/><Relationship Id="rId5" Type="http://schemas.openxmlformats.org/officeDocument/2006/relationships/chart" Target="../charts/chart131.xml"/><Relationship Id="rId4" Type="http://schemas.openxmlformats.org/officeDocument/2006/relationships/image" Target="../media/image28.emf"/></Relationships>
</file>

<file path=ppt/slides/_rels/slide53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57.xml"/><Relationship Id="rId5" Type="http://schemas.openxmlformats.org/officeDocument/2006/relationships/chart" Target="../charts/chart709.xml"/><Relationship Id="rId4" Type="http://schemas.openxmlformats.org/officeDocument/2006/relationships/image" Target="../media/image28.emf"/></Relationships>
</file>

<file path=ppt/slides/_rels/slide53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58.xml"/><Relationship Id="rId5" Type="http://schemas.openxmlformats.org/officeDocument/2006/relationships/chart" Target="../charts/chart710.xml"/><Relationship Id="rId4" Type="http://schemas.openxmlformats.org/officeDocument/2006/relationships/image" Target="../media/image28.emf"/></Relationships>
</file>

<file path=ppt/slides/_rels/slide53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59.xml"/><Relationship Id="rId5" Type="http://schemas.openxmlformats.org/officeDocument/2006/relationships/chart" Target="../charts/chart711.xml"/><Relationship Id="rId4" Type="http://schemas.openxmlformats.org/officeDocument/2006/relationships/image" Target="../media/image28.emf"/></Relationships>
</file>

<file path=ppt/slides/_rels/slide53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60.xml"/><Relationship Id="rId5" Type="http://schemas.openxmlformats.org/officeDocument/2006/relationships/chart" Target="../charts/chart712.xml"/><Relationship Id="rId4" Type="http://schemas.openxmlformats.org/officeDocument/2006/relationships/image" Target="../media/image28.emf"/></Relationships>
</file>

<file path=ppt/slides/_rels/slide53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61.xml"/><Relationship Id="rId5" Type="http://schemas.openxmlformats.org/officeDocument/2006/relationships/chart" Target="../charts/chart713.xml"/><Relationship Id="rId4" Type="http://schemas.openxmlformats.org/officeDocument/2006/relationships/image" Target="../media/image28.emf"/></Relationships>
</file>

<file path=ppt/slides/_rels/slide53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62.xml"/><Relationship Id="rId5" Type="http://schemas.openxmlformats.org/officeDocument/2006/relationships/chart" Target="../charts/chart714.xml"/><Relationship Id="rId4" Type="http://schemas.openxmlformats.org/officeDocument/2006/relationships/image" Target="../media/image28.emf"/></Relationships>
</file>

<file path=ppt/slides/_rels/slide53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63.xml"/><Relationship Id="rId5" Type="http://schemas.openxmlformats.org/officeDocument/2006/relationships/chart" Target="../charts/chart715.xml"/><Relationship Id="rId4" Type="http://schemas.openxmlformats.org/officeDocument/2006/relationships/image" Target="../media/image28.emf"/></Relationships>
</file>

<file path=ppt/slides/_rels/slide53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64.xml"/><Relationship Id="rId5" Type="http://schemas.openxmlformats.org/officeDocument/2006/relationships/chart" Target="../charts/chart716.xml"/><Relationship Id="rId4" Type="http://schemas.openxmlformats.org/officeDocument/2006/relationships/image" Target="../media/image28.emf"/></Relationships>
</file>

<file path=ppt/slides/_rels/slide53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65.xml"/><Relationship Id="rId5" Type="http://schemas.openxmlformats.org/officeDocument/2006/relationships/chart" Target="../charts/chart717.xml"/><Relationship Id="rId4" Type="http://schemas.openxmlformats.org/officeDocument/2006/relationships/image" Target="../media/image28.emf"/></Relationships>
</file>

<file path=ppt/slides/_rels/slide53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66.xml"/><Relationship Id="rId5" Type="http://schemas.openxmlformats.org/officeDocument/2006/relationships/chart" Target="../charts/chart718.xml"/><Relationship Id="rId4" Type="http://schemas.openxmlformats.org/officeDocument/2006/relationships/image" Target="../media/image28.emf"/></Relationships>
</file>

<file path=ppt/slides/_rels/slide5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37.xml"/><Relationship Id="rId2" Type="http://schemas.openxmlformats.org/officeDocument/2006/relationships/slideLayout" Target="../slideLayouts/slideLayout7.xml"/><Relationship Id="rId1" Type="http://schemas.openxmlformats.org/officeDocument/2006/relationships/tags" Target="../tags/tag81.xml"/><Relationship Id="rId6" Type="http://schemas.openxmlformats.org/officeDocument/2006/relationships/chart" Target="../charts/chart136.xml"/><Relationship Id="rId5" Type="http://schemas.openxmlformats.org/officeDocument/2006/relationships/chart" Target="../charts/chart135.xml"/><Relationship Id="rId4" Type="http://schemas.openxmlformats.org/officeDocument/2006/relationships/image" Target="../media/image28.emf"/></Relationships>
</file>

<file path=ppt/slides/_rels/slide54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67.xml"/><Relationship Id="rId5" Type="http://schemas.openxmlformats.org/officeDocument/2006/relationships/chart" Target="../charts/chart719.xml"/><Relationship Id="rId4" Type="http://schemas.openxmlformats.org/officeDocument/2006/relationships/image" Target="../media/image28.emf"/></Relationships>
</file>

<file path=ppt/slides/_rels/slide54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68.xml"/><Relationship Id="rId5" Type="http://schemas.openxmlformats.org/officeDocument/2006/relationships/chart" Target="../charts/chart720.xml"/><Relationship Id="rId4" Type="http://schemas.openxmlformats.org/officeDocument/2006/relationships/image" Target="../media/image28.emf"/></Relationships>
</file>

<file path=ppt/slides/_rels/slide54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69.xml"/><Relationship Id="rId5" Type="http://schemas.openxmlformats.org/officeDocument/2006/relationships/chart" Target="../charts/chart721.xml"/><Relationship Id="rId4" Type="http://schemas.openxmlformats.org/officeDocument/2006/relationships/image" Target="../media/image28.emf"/></Relationships>
</file>

<file path=ppt/slides/_rels/slide54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70.xml"/><Relationship Id="rId5" Type="http://schemas.openxmlformats.org/officeDocument/2006/relationships/chart" Target="../charts/chart722.xml"/><Relationship Id="rId4" Type="http://schemas.openxmlformats.org/officeDocument/2006/relationships/image" Target="../media/image28.emf"/></Relationships>
</file>

<file path=ppt/slides/_rels/slide54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71.xml"/><Relationship Id="rId5" Type="http://schemas.openxmlformats.org/officeDocument/2006/relationships/chart" Target="../charts/chart723.xml"/><Relationship Id="rId4" Type="http://schemas.openxmlformats.org/officeDocument/2006/relationships/image" Target="../media/image28.emf"/></Relationships>
</file>

<file path=ppt/slides/_rels/slide54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72.xml"/><Relationship Id="rId5" Type="http://schemas.openxmlformats.org/officeDocument/2006/relationships/chart" Target="../charts/chart724.xml"/><Relationship Id="rId4" Type="http://schemas.openxmlformats.org/officeDocument/2006/relationships/image" Target="../media/image28.emf"/></Relationships>
</file>

<file path=ppt/slides/_rels/slide54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73.xml"/><Relationship Id="rId5" Type="http://schemas.openxmlformats.org/officeDocument/2006/relationships/chart" Target="../charts/chart725.xml"/><Relationship Id="rId4" Type="http://schemas.openxmlformats.org/officeDocument/2006/relationships/image" Target="../media/image28.emf"/></Relationships>
</file>

<file path=ppt/slides/_rels/slide54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74.xml"/><Relationship Id="rId5" Type="http://schemas.openxmlformats.org/officeDocument/2006/relationships/chart" Target="../charts/chart726.xml"/><Relationship Id="rId4" Type="http://schemas.openxmlformats.org/officeDocument/2006/relationships/image" Target="../media/image28.emf"/></Relationships>
</file>

<file path=ppt/slides/_rels/slide54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75.xml"/><Relationship Id="rId5" Type="http://schemas.openxmlformats.org/officeDocument/2006/relationships/chart" Target="../charts/chart727.xml"/><Relationship Id="rId4" Type="http://schemas.openxmlformats.org/officeDocument/2006/relationships/image" Target="../media/image28.emf"/></Relationships>
</file>

<file path=ppt/slides/_rels/slide54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76.xml"/><Relationship Id="rId5" Type="http://schemas.openxmlformats.org/officeDocument/2006/relationships/chart" Target="../charts/chart728.xml"/><Relationship Id="rId4" Type="http://schemas.openxmlformats.org/officeDocument/2006/relationships/image" Target="../media/image28.emf"/></Relationships>
</file>

<file path=ppt/slides/_rels/slide55.xml.rels><?xml version="1.0" encoding="UTF-8" standalone="yes"?>
<Relationships xmlns="http://schemas.openxmlformats.org/package/2006/relationships"><Relationship Id="rId8" Type="http://schemas.openxmlformats.org/officeDocument/2006/relationships/chart" Target="../charts/chart141.xml"/><Relationship Id="rId3" Type="http://schemas.openxmlformats.org/officeDocument/2006/relationships/oleObject" Target="../embeddings/oleObject27.bin"/><Relationship Id="rId7" Type="http://schemas.openxmlformats.org/officeDocument/2006/relationships/chart" Target="../charts/chart140.xml"/><Relationship Id="rId2" Type="http://schemas.openxmlformats.org/officeDocument/2006/relationships/slideLayout" Target="../slideLayouts/slideLayout7.xml"/><Relationship Id="rId1" Type="http://schemas.openxmlformats.org/officeDocument/2006/relationships/tags" Target="../tags/tag82.xml"/><Relationship Id="rId6" Type="http://schemas.openxmlformats.org/officeDocument/2006/relationships/chart" Target="../charts/chart139.xml"/><Relationship Id="rId5" Type="http://schemas.openxmlformats.org/officeDocument/2006/relationships/chart" Target="../charts/chart138.xml"/><Relationship Id="rId4" Type="http://schemas.openxmlformats.org/officeDocument/2006/relationships/image" Target="../media/image28.emf"/></Relationships>
</file>

<file path=ppt/slides/_rels/slide55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77.xml"/><Relationship Id="rId5" Type="http://schemas.openxmlformats.org/officeDocument/2006/relationships/chart" Target="../charts/chart729.xml"/><Relationship Id="rId4" Type="http://schemas.openxmlformats.org/officeDocument/2006/relationships/image" Target="../media/image28.emf"/></Relationships>
</file>

<file path=ppt/slides/_rels/slide55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78.xml"/><Relationship Id="rId5" Type="http://schemas.openxmlformats.org/officeDocument/2006/relationships/chart" Target="../charts/chart730.xml"/><Relationship Id="rId4" Type="http://schemas.openxmlformats.org/officeDocument/2006/relationships/image" Target="../media/image28.emf"/></Relationships>
</file>

<file path=ppt/slides/_rels/slide55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79.xml"/><Relationship Id="rId5" Type="http://schemas.openxmlformats.org/officeDocument/2006/relationships/chart" Target="../charts/chart731.xml"/><Relationship Id="rId4" Type="http://schemas.openxmlformats.org/officeDocument/2006/relationships/image" Target="../media/image28.emf"/></Relationships>
</file>

<file path=ppt/slides/_rels/slide55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80.xml"/><Relationship Id="rId5" Type="http://schemas.openxmlformats.org/officeDocument/2006/relationships/chart" Target="../charts/chart732.xml"/><Relationship Id="rId4" Type="http://schemas.openxmlformats.org/officeDocument/2006/relationships/image" Target="../media/image28.emf"/></Relationships>
</file>

<file path=ppt/slides/_rels/slide55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81.xml"/><Relationship Id="rId5" Type="http://schemas.openxmlformats.org/officeDocument/2006/relationships/chart" Target="../charts/chart733.xml"/><Relationship Id="rId4" Type="http://schemas.openxmlformats.org/officeDocument/2006/relationships/image" Target="../media/image28.emf"/></Relationships>
</file>

<file path=ppt/slides/_rels/slide55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82.xml"/><Relationship Id="rId5" Type="http://schemas.openxmlformats.org/officeDocument/2006/relationships/chart" Target="../charts/chart734.xml"/><Relationship Id="rId4" Type="http://schemas.openxmlformats.org/officeDocument/2006/relationships/image" Target="../media/image28.emf"/></Relationships>
</file>

<file path=ppt/slides/_rels/slide55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83.xml"/><Relationship Id="rId5" Type="http://schemas.openxmlformats.org/officeDocument/2006/relationships/chart" Target="../charts/chart735.xml"/><Relationship Id="rId4" Type="http://schemas.openxmlformats.org/officeDocument/2006/relationships/image" Target="../media/image28.emf"/></Relationships>
</file>

<file path=ppt/slides/_rels/slide55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84.xml"/><Relationship Id="rId5" Type="http://schemas.openxmlformats.org/officeDocument/2006/relationships/chart" Target="../charts/chart736.xml"/><Relationship Id="rId4" Type="http://schemas.openxmlformats.org/officeDocument/2006/relationships/image" Target="../media/image28.emf"/></Relationships>
</file>

<file path=ppt/slides/_rels/slide55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85.xml"/><Relationship Id="rId5" Type="http://schemas.openxmlformats.org/officeDocument/2006/relationships/chart" Target="../charts/chart737.xml"/><Relationship Id="rId4" Type="http://schemas.openxmlformats.org/officeDocument/2006/relationships/image" Target="../media/image28.emf"/></Relationships>
</file>

<file path=ppt/slides/_rels/slide55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86.xml"/><Relationship Id="rId5" Type="http://schemas.openxmlformats.org/officeDocument/2006/relationships/chart" Target="../charts/chart738.xml"/><Relationship Id="rId4" Type="http://schemas.openxmlformats.org/officeDocument/2006/relationships/image" Target="../media/image28.emf"/></Relationships>
</file>

<file path=ppt/slides/_rels/slide56.xml.rels><?xml version="1.0" encoding="UTF-8" standalone="yes"?>
<Relationships xmlns="http://schemas.openxmlformats.org/package/2006/relationships"><Relationship Id="rId8" Type="http://schemas.openxmlformats.org/officeDocument/2006/relationships/chart" Target="../charts/chart145.xml"/><Relationship Id="rId3" Type="http://schemas.openxmlformats.org/officeDocument/2006/relationships/oleObject" Target="../embeddings/oleObject27.bin"/><Relationship Id="rId7" Type="http://schemas.openxmlformats.org/officeDocument/2006/relationships/chart" Target="../charts/chart144.xml"/><Relationship Id="rId2" Type="http://schemas.openxmlformats.org/officeDocument/2006/relationships/slideLayout" Target="../slideLayouts/slideLayout7.xml"/><Relationship Id="rId1" Type="http://schemas.openxmlformats.org/officeDocument/2006/relationships/tags" Target="../tags/tag83.xml"/><Relationship Id="rId6" Type="http://schemas.openxmlformats.org/officeDocument/2006/relationships/chart" Target="../charts/chart143.xml"/><Relationship Id="rId5" Type="http://schemas.openxmlformats.org/officeDocument/2006/relationships/chart" Target="../charts/chart142.xml"/><Relationship Id="rId4" Type="http://schemas.openxmlformats.org/officeDocument/2006/relationships/image" Target="../media/image28.emf"/></Relationships>
</file>

<file path=ppt/slides/_rels/slide56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87.xml"/><Relationship Id="rId5" Type="http://schemas.openxmlformats.org/officeDocument/2006/relationships/chart" Target="../charts/chart739.xml"/><Relationship Id="rId4" Type="http://schemas.openxmlformats.org/officeDocument/2006/relationships/image" Target="../media/image28.emf"/></Relationships>
</file>

<file path=ppt/slides/_rels/slide56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88.xml"/><Relationship Id="rId5" Type="http://schemas.openxmlformats.org/officeDocument/2006/relationships/chart" Target="../charts/chart740.xml"/><Relationship Id="rId4" Type="http://schemas.openxmlformats.org/officeDocument/2006/relationships/image" Target="../media/image28.emf"/></Relationships>
</file>

<file path=ppt/slides/_rels/slide56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89.xml"/><Relationship Id="rId5" Type="http://schemas.openxmlformats.org/officeDocument/2006/relationships/chart" Target="../charts/chart741.xml"/><Relationship Id="rId4" Type="http://schemas.openxmlformats.org/officeDocument/2006/relationships/image" Target="../media/image28.emf"/></Relationships>
</file>

<file path=ppt/slides/_rels/slide56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90.xml"/><Relationship Id="rId5" Type="http://schemas.openxmlformats.org/officeDocument/2006/relationships/chart" Target="../charts/chart742.xml"/><Relationship Id="rId4" Type="http://schemas.openxmlformats.org/officeDocument/2006/relationships/image" Target="../media/image28.emf"/></Relationships>
</file>

<file path=ppt/slides/_rels/slide56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91.xml"/><Relationship Id="rId5" Type="http://schemas.openxmlformats.org/officeDocument/2006/relationships/chart" Target="../charts/chart743.xml"/><Relationship Id="rId4" Type="http://schemas.openxmlformats.org/officeDocument/2006/relationships/image" Target="../media/image28.emf"/></Relationships>
</file>

<file path=ppt/slides/_rels/slide56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92.xml"/><Relationship Id="rId5" Type="http://schemas.openxmlformats.org/officeDocument/2006/relationships/chart" Target="../charts/chart744.xml"/><Relationship Id="rId4" Type="http://schemas.openxmlformats.org/officeDocument/2006/relationships/image" Target="../media/image28.emf"/></Relationships>
</file>

<file path=ppt/slides/_rels/slide56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93.xml"/><Relationship Id="rId5" Type="http://schemas.openxmlformats.org/officeDocument/2006/relationships/chart" Target="../charts/chart745.xml"/><Relationship Id="rId4" Type="http://schemas.openxmlformats.org/officeDocument/2006/relationships/image" Target="../media/image28.emf"/></Relationships>
</file>

<file path=ppt/slides/_rels/slide56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94.xml"/><Relationship Id="rId5" Type="http://schemas.openxmlformats.org/officeDocument/2006/relationships/chart" Target="../charts/chart746.xml"/><Relationship Id="rId4" Type="http://schemas.openxmlformats.org/officeDocument/2006/relationships/image" Target="../media/image28.emf"/></Relationships>
</file>

<file path=ppt/slides/_rels/slide56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95.xml"/><Relationship Id="rId5" Type="http://schemas.openxmlformats.org/officeDocument/2006/relationships/chart" Target="../charts/chart747.xml"/><Relationship Id="rId4" Type="http://schemas.openxmlformats.org/officeDocument/2006/relationships/image" Target="../media/image28.emf"/></Relationships>
</file>

<file path=ppt/slides/_rels/slide56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96.xml"/><Relationship Id="rId5" Type="http://schemas.openxmlformats.org/officeDocument/2006/relationships/chart" Target="../charts/chart748.xml"/><Relationship Id="rId4" Type="http://schemas.openxmlformats.org/officeDocument/2006/relationships/image" Target="../media/image28.emf"/></Relationships>
</file>

<file path=ppt/slides/_rels/slide57.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48.xml"/><Relationship Id="rId2" Type="http://schemas.openxmlformats.org/officeDocument/2006/relationships/slideLayout" Target="../slideLayouts/slideLayout7.xml"/><Relationship Id="rId1" Type="http://schemas.openxmlformats.org/officeDocument/2006/relationships/tags" Target="../tags/tag84.xml"/><Relationship Id="rId6" Type="http://schemas.openxmlformats.org/officeDocument/2006/relationships/chart" Target="../charts/chart147.xml"/><Relationship Id="rId5" Type="http://schemas.openxmlformats.org/officeDocument/2006/relationships/chart" Target="../charts/chart146.xml"/><Relationship Id="rId4" Type="http://schemas.openxmlformats.org/officeDocument/2006/relationships/image" Target="../media/image28.emf"/></Relationships>
</file>

<file path=ppt/slides/_rels/slide57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97.xml"/><Relationship Id="rId5" Type="http://schemas.openxmlformats.org/officeDocument/2006/relationships/chart" Target="../charts/chart749.xml"/><Relationship Id="rId4" Type="http://schemas.openxmlformats.org/officeDocument/2006/relationships/image" Target="../media/image28.emf"/></Relationships>
</file>

<file path=ppt/slides/_rels/slide57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98.xml"/><Relationship Id="rId5" Type="http://schemas.openxmlformats.org/officeDocument/2006/relationships/chart" Target="../charts/chart750.xml"/><Relationship Id="rId4" Type="http://schemas.openxmlformats.org/officeDocument/2006/relationships/image" Target="../media/image28.emf"/></Relationships>
</file>

<file path=ppt/slides/_rels/slide57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99.xml"/><Relationship Id="rId5" Type="http://schemas.openxmlformats.org/officeDocument/2006/relationships/chart" Target="../charts/chart751.xml"/><Relationship Id="rId4" Type="http://schemas.openxmlformats.org/officeDocument/2006/relationships/image" Target="../media/image28.emf"/></Relationships>
</file>

<file path=ppt/slides/_rels/slide57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00.xml"/><Relationship Id="rId5" Type="http://schemas.openxmlformats.org/officeDocument/2006/relationships/chart" Target="../charts/chart752.xml"/><Relationship Id="rId4" Type="http://schemas.openxmlformats.org/officeDocument/2006/relationships/image" Target="../media/image28.emf"/></Relationships>
</file>

<file path=ppt/slides/_rels/slide57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01.xml"/><Relationship Id="rId5" Type="http://schemas.openxmlformats.org/officeDocument/2006/relationships/chart" Target="../charts/chart753.xml"/><Relationship Id="rId4" Type="http://schemas.openxmlformats.org/officeDocument/2006/relationships/image" Target="../media/image28.emf"/></Relationships>
</file>

<file path=ppt/slides/_rels/slide57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02.xml"/><Relationship Id="rId5" Type="http://schemas.openxmlformats.org/officeDocument/2006/relationships/chart" Target="../charts/chart754.xml"/><Relationship Id="rId4" Type="http://schemas.openxmlformats.org/officeDocument/2006/relationships/image" Target="../media/image28.emf"/></Relationships>
</file>

<file path=ppt/slides/_rels/slide57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03.xml"/><Relationship Id="rId5" Type="http://schemas.openxmlformats.org/officeDocument/2006/relationships/chart" Target="../charts/chart755.xml"/><Relationship Id="rId4" Type="http://schemas.openxmlformats.org/officeDocument/2006/relationships/image" Target="../media/image28.emf"/></Relationships>
</file>

<file path=ppt/slides/_rels/slide57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04.xml"/><Relationship Id="rId5" Type="http://schemas.openxmlformats.org/officeDocument/2006/relationships/chart" Target="../charts/chart756.xml"/><Relationship Id="rId4" Type="http://schemas.openxmlformats.org/officeDocument/2006/relationships/image" Target="../media/image28.emf"/></Relationships>
</file>

<file path=ppt/slides/_rels/slide57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05.xml"/><Relationship Id="rId5" Type="http://schemas.openxmlformats.org/officeDocument/2006/relationships/chart" Target="../charts/chart757.xml"/><Relationship Id="rId4" Type="http://schemas.openxmlformats.org/officeDocument/2006/relationships/image" Target="../media/image28.emf"/></Relationships>
</file>

<file path=ppt/slides/_rels/slide57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06.xml"/><Relationship Id="rId5" Type="http://schemas.openxmlformats.org/officeDocument/2006/relationships/chart" Target="../charts/chart758.xml"/><Relationship Id="rId4" Type="http://schemas.openxmlformats.org/officeDocument/2006/relationships/image" Target="../media/image28.emf"/></Relationships>
</file>

<file path=ppt/slides/_rels/slide58.xml.rels><?xml version="1.0" encoding="UTF-8" standalone="yes"?>
<Relationships xmlns="http://schemas.openxmlformats.org/package/2006/relationships"><Relationship Id="rId8" Type="http://schemas.openxmlformats.org/officeDocument/2006/relationships/chart" Target="../charts/chart152.xml"/><Relationship Id="rId3" Type="http://schemas.openxmlformats.org/officeDocument/2006/relationships/oleObject" Target="../embeddings/oleObject27.bin"/><Relationship Id="rId7" Type="http://schemas.openxmlformats.org/officeDocument/2006/relationships/chart" Target="../charts/chart151.xml"/><Relationship Id="rId2" Type="http://schemas.openxmlformats.org/officeDocument/2006/relationships/slideLayout" Target="../slideLayouts/slideLayout7.xml"/><Relationship Id="rId1" Type="http://schemas.openxmlformats.org/officeDocument/2006/relationships/tags" Target="../tags/tag85.xml"/><Relationship Id="rId6" Type="http://schemas.openxmlformats.org/officeDocument/2006/relationships/chart" Target="../charts/chart150.xml"/><Relationship Id="rId5" Type="http://schemas.openxmlformats.org/officeDocument/2006/relationships/chart" Target="../charts/chart149.xml"/><Relationship Id="rId4" Type="http://schemas.openxmlformats.org/officeDocument/2006/relationships/image" Target="../media/image28.emf"/></Relationships>
</file>

<file path=ppt/slides/_rels/slide58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07.xml"/><Relationship Id="rId5" Type="http://schemas.openxmlformats.org/officeDocument/2006/relationships/chart" Target="../charts/chart759.xml"/><Relationship Id="rId4" Type="http://schemas.openxmlformats.org/officeDocument/2006/relationships/image" Target="../media/image28.emf"/></Relationships>
</file>

<file path=ppt/slides/_rels/slide58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08.xml"/><Relationship Id="rId5" Type="http://schemas.openxmlformats.org/officeDocument/2006/relationships/chart" Target="../charts/chart760.xml"/><Relationship Id="rId4" Type="http://schemas.openxmlformats.org/officeDocument/2006/relationships/image" Target="../media/image28.emf"/></Relationships>
</file>

<file path=ppt/slides/_rels/slide58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09.xml"/><Relationship Id="rId5" Type="http://schemas.openxmlformats.org/officeDocument/2006/relationships/chart" Target="../charts/chart761.xml"/><Relationship Id="rId4" Type="http://schemas.openxmlformats.org/officeDocument/2006/relationships/image" Target="../media/image28.emf"/></Relationships>
</file>

<file path=ppt/slides/_rels/slide58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10.xml"/><Relationship Id="rId5" Type="http://schemas.openxmlformats.org/officeDocument/2006/relationships/chart" Target="../charts/chart762.xml"/><Relationship Id="rId4" Type="http://schemas.openxmlformats.org/officeDocument/2006/relationships/image" Target="../media/image28.emf"/></Relationships>
</file>

<file path=ppt/slides/_rels/slide58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11.xml"/><Relationship Id="rId5" Type="http://schemas.openxmlformats.org/officeDocument/2006/relationships/chart" Target="../charts/chart763.xml"/><Relationship Id="rId4" Type="http://schemas.openxmlformats.org/officeDocument/2006/relationships/image" Target="../media/image28.emf"/></Relationships>
</file>

<file path=ppt/slides/_rels/slide58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12.xml"/><Relationship Id="rId5" Type="http://schemas.openxmlformats.org/officeDocument/2006/relationships/chart" Target="../charts/chart764.xml"/><Relationship Id="rId4" Type="http://schemas.openxmlformats.org/officeDocument/2006/relationships/image" Target="../media/image28.emf"/></Relationships>
</file>

<file path=ppt/slides/_rels/slide58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13.xml"/><Relationship Id="rId5" Type="http://schemas.openxmlformats.org/officeDocument/2006/relationships/chart" Target="../charts/chart765.xml"/><Relationship Id="rId4" Type="http://schemas.openxmlformats.org/officeDocument/2006/relationships/image" Target="../media/image28.emf"/></Relationships>
</file>

<file path=ppt/slides/_rels/slide58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14.xml"/><Relationship Id="rId5" Type="http://schemas.openxmlformats.org/officeDocument/2006/relationships/chart" Target="../charts/chart766.xml"/><Relationship Id="rId4" Type="http://schemas.openxmlformats.org/officeDocument/2006/relationships/image" Target="../media/image28.emf"/></Relationships>
</file>

<file path=ppt/slides/_rels/slide58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15.xml"/><Relationship Id="rId5" Type="http://schemas.openxmlformats.org/officeDocument/2006/relationships/chart" Target="../charts/chart767.xml"/><Relationship Id="rId4" Type="http://schemas.openxmlformats.org/officeDocument/2006/relationships/image" Target="../media/image28.emf"/></Relationships>
</file>

<file path=ppt/slides/_rels/slide58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16.xml"/><Relationship Id="rId5" Type="http://schemas.openxmlformats.org/officeDocument/2006/relationships/chart" Target="../charts/chart768.xml"/><Relationship Id="rId4" Type="http://schemas.openxmlformats.org/officeDocument/2006/relationships/image" Target="../media/image28.emf"/></Relationships>
</file>

<file path=ppt/slides/_rels/slide59.xml.rels><?xml version="1.0" encoding="UTF-8" standalone="yes"?>
<Relationships xmlns="http://schemas.openxmlformats.org/package/2006/relationships"><Relationship Id="rId8" Type="http://schemas.openxmlformats.org/officeDocument/2006/relationships/chart" Target="../charts/chart156.xml"/><Relationship Id="rId3" Type="http://schemas.openxmlformats.org/officeDocument/2006/relationships/oleObject" Target="../embeddings/oleObject27.bin"/><Relationship Id="rId7" Type="http://schemas.openxmlformats.org/officeDocument/2006/relationships/chart" Target="../charts/chart155.xml"/><Relationship Id="rId2" Type="http://schemas.openxmlformats.org/officeDocument/2006/relationships/slideLayout" Target="../slideLayouts/slideLayout7.xml"/><Relationship Id="rId1" Type="http://schemas.openxmlformats.org/officeDocument/2006/relationships/tags" Target="../tags/tag86.xml"/><Relationship Id="rId6" Type="http://schemas.openxmlformats.org/officeDocument/2006/relationships/chart" Target="../charts/chart154.xml"/><Relationship Id="rId5" Type="http://schemas.openxmlformats.org/officeDocument/2006/relationships/chart" Target="../charts/chart153.xml"/><Relationship Id="rId4" Type="http://schemas.openxmlformats.org/officeDocument/2006/relationships/image" Target="../media/image28.emf"/></Relationships>
</file>

<file path=ppt/slides/_rels/slide59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17.xml"/><Relationship Id="rId5" Type="http://schemas.openxmlformats.org/officeDocument/2006/relationships/chart" Target="../charts/chart769.xml"/><Relationship Id="rId4" Type="http://schemas.openxmlformats.org/officeDocument/2006/relationships/image" Target="../media/image28.emf"/></Relationships>
</file>

<file path=ppt/slides/_rels/slide59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18.xml"/><Relationship Id="rId5" Type="http://schemas.openxmlformats.org/officeDocument/2006/relationships/chart" Target="../charts/chart770.xml"/><Relationship Id="rId4" Type="http://schemas.openxmlformats.org/officeDocument/2006/relationships/image" Target="../media/image28.emf"/></Relationships>
</file>

<file path=ppt/slides/_rels/slide59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19.xml"/><Relationship Id="rId5" Type="http://schemas.openxmlformats.org/officeDocument/2006/relationships/chart" Target="../charts/chart771.xml"/><Relationship Id="rId4" Type="http://schemas.openxmlformats.org/officeDocument/2006/relationships/image" Target="../media/image28.emf"/></Relationships>
</file>

<file path=ppt/slides/_rels/slide59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20.xml"/><Relationship Id="rId5" Type="http://schemas.openxmlformats.org/officeDocument/2006/relationships/chart" Target="../charts/chart772.xml"/><Relationship Id="rId4" Type="http://schemas.openxmlformats.org/officeDocument/2006/relationships/image" Target="../media/image28.emf"/></Relationships>
</file>

<file path=ppt/slides/_rels/slide59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21.xml"/><Relationship Id="rId5" Type="http://schemas.openxmlformats.org/officeDocument/2006/relationships/chart" Target="../charts/chart773.xml"/><Relationship Id="rId4" Type="http://schemas.openxmlformats.org/officeDocument/2006/relationships/image" Target="../media/image28.emf"/></Relationships>
</file>

<file path=ppt/slides/_rels/slide59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22.xml"/><Relationship Id="rId5" Type="http://schemas.openxmlformats.org/officeDocument/2006/relationships/chart" Target="../charts/chart774.xml"/><Relationship Id="rId4" Type="http://schemas.openxmlformats.org/officeDocument/2006/relationships/image" Target="../media/image28.emf"/></Relationships>
</file>

<file path=ppt/slides/_rels/slide59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23.xml"/><Relationship Id="rId5" Type="http://schemas.openxmlformats.org/officeDocument/2006/relationships/chart" Target="../charts/chart775.xml"/><Relationship Id="rId4" Type="http://schemas.openxmlformats.org/officeDocument/2006/relationships/image" Target="../media/image28.emf"/></Relationships>
</file>

<file path=ppt/slides/_rels/slide59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24.xml"/><Relationship Id="rId5" Type="http://schemas.openxmlformats.org/officeDocument/2006/relationships/chart" Target="../charts/chart776.xml"/><Relationship Id="rId4" Type="http://schemas.openxmlformats.org/officeDocument/2006/relationships/image" Target="../media/image28.emf"/></Relationships>
</file>

<file path=ppt/slides/_rels/slide59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25.xml"/><Relationship Id="rId5" Type="http://schemas.openxmlformats.org/officeDocument/2006/relationships/chart" Target="../charts/chart777.xml"/><Relationship Id="rId4" Type="http://schemas.openxmlformats.org/officeDocument/2006/relationships/image" Target="../media/image28.emf"/></Relationships>
</file>

<file path=ppt/slides/_rels/slide59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26.xml"/><Relationship Id="rId5" Type="http://schemas.openxmlformats.org/officeDocument/2006/relationships/chart" Target="../charts/chart778.xml"/><Relationship Id="rId4" Type="http://schemas.openxmlformats.org/officeDocument/2006/relationships/image" Target="../media/image28.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xml"/><Relationship Id="rId5" Type="http://schemas.openxmlformats.org/officeDocument/2006/relationships/chart" Target="../charts/chart6.xml"/><Relationship Id="rId4" Type="http://schemas.openxmlformats.org/officeDocument/2006/relationships/image" Target="../media/image28.emf"/></Relationships>
</file>

<file path=ppt/slides/_rels/slide60.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59.xml"/><Relationship Id="rId2" Type="http://schemas.openxmlformats.org/officeDocument/2006/relationships/slideLayout" Target="../slideLayouts/slideLayout7.xml"/><Relationship Id="rId1" Type="http://schemas.openxmlformats.org/officeDocument/2006/relationships/tags" Target="../tags/tag87.xml"/><Relationship Id="rId6" Type="http://schemas.openxmlformats.org/officeDocument/2006/relationships/chart" Target="../charts/chart158.xml"/><Relationship Id="rId5" Type="http://schemas.openxmlformats.org/officeDocument/2006/relationships/chart" Target="../charts/chart157.xml"/><Relationship Id="rId4" Type="http://schemas.openxmlformats.org/officeDocument/2006/relationships/image" Target="../media/image28.emf"/></Relationships>
</file>

<file path=ppt/slides/_rels/slide60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27.xml"/><Relationship Id="rId5" Type="http://schemas.openxmlformats.org/officeDocument/2006/relationships/chart" Target="../charts/chart779.xml"/><Relationship Id="rId4" Type="http://schemas.openxmlformats.org/officeDocument/2006/relationships/image" Target="../media/image28.emf"/></Relationships>
</file>

<file path=ppt/slides/_rels/slide60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28.xml"/><Relationship Id="rId5" Type="http://schemas.openxmlformats.org/officeDocument/2006/relationships/chart" Target="../charts/chart780.xml"/><Relationship Id="rId4" Type="http://schemas.openxmlformats.org/officeDocument/2006/relationships/image" Target="../media/image28.emf"/></Relationships>
</file>

<file path=ppt/slides/_rels/slide60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29.xml"/><Relationship Id="rId5" Type="http://schemas.openxmlformats.org/officeDocument/2006/relationships/chart" Target="../charts/chart781.xml"/><Relationship Id="rId4" Type="http://schemas.openxmlformats.org/officeDocument/2006/relationships/image" Target="../media/image28.emf"/></Relationships>
</file>

<file path=ppt/slides/_rels/slide60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30.xml"/><Relationship Id="rId5" Type="http://schemas.openxmlformats.org/officeDocument/2006/relationships/chart" Target="../charts/chart782.xml"/><Relationship Id="rId4" Type="http://schemas.openxmlformats.org/officeDocument/2006/relationships/image" Target="../media/image28.emf"/></Relationships>
</file>

<file path=ppt/slides/_rels/slide60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31.xml"/><Relationship Id="rId5" Type="http://schemas.openxmlformats.org/officeDocument/2006/relationships/chart" Target="../charts/chart783.xml"/><Relationship Id="rId4" Type="http://schemas.openxmlformats.org/officeDocument/2006/relationships/image" Target="../media/image28.emf"/></Relationships>
</file>

<file path=ppt/slides/_rels/slide60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32.xml"/><Relationship Id="rId5" Type="http://schemas.openxmlformats.org/officeDocument/2006/relationships/chart" Target="../charts/chart784.xml"/><Relationship Id="rId4" Type="http://schemas.openxmlformats.org/officeDocument/2006/relationships/image" Target="../media/image28.emf"/></Relationships>
</file>

<file path=ppt/slides/_rels/slide60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33.xml"/><Relationship Id="rId5" Type="http://schemas.openxmlformats.org/officeDocument/2006/relationships/chart" Target="../charts/chart785.xml"/><Relationship Id="rId4" Type="http://schemas.openxmlformats.org/officeDocument/2006/relationships/image" Target="../media/image28.emf"/></Relationships>
</file>

<file path=ppt/slides/_rels/slide60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34.xml"/><Relationship Id="rId5" Type="http://schemas.openxmlformats.org/officeDocument/2006/relationships/chart" Target="../charts/chart786.xml"/><Relationship Id="rId4" Type="http://schemas.openxmlformats.org/officeDocument/2006/relationships/image" Target="../media/image28.emf"/></Relationships>
</file>

<file path=ppt/slides/_rels/slide60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35.xml"/><Relationship Id="rId5" Type="http://schemas.openxmlformats.org/officeDocument/2006/relationships/chart" Target="../charts/chart787.xml"/><Relationship Id="rId4" Type="http://schemas.openxmlformats.org/officeDocument/2006/relationships/image" Target="../media/image28.emf"/></Relationships>
</file>

<file path=ppt/slides/_rels/slide60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36.xml"/><Relationship Id="rId5" Type="http://schemas.openxmlformats.org/officeDocument/2006/relationships/chart" Target="../charts/chart788.xml"/><Relationship Id="rId4" Type="http://schemas.openxmlformats.org/officeDocument/2006/relationships/image" Target="../media/image28.emf"/></Relationships>
</file>

<file path=ppt/slides/_rels/slide61.xml.rels><?xml version="1.0" encoding="UTF-8" standalone="yes"?>
<Relationships xmlns="http://schemas.openxmlformats.org/package/2006/relationships"><Relationship Id="rId8" Type="http://schemas.openxmlformats.org/officeDocument/2006/relationships/chart" Target="../charts/chart163.xml"/><Relationship Id="rId3" Type="http://schemas.openxmlformats.org/officeDocument/2006/relationships/oleObject" Target="../embeddings/oleObject27.bin"/><Relationship Id="rId7" Type="http://schemas.openxmlformats.org/officeDocument/2006/relationships/chart" Target="../charts/chart162.xml"/><Relationship Id="rId2" Type="http://schemas.openxmlformats.org/officeDocument/2006/relationships/slideLayout" Target="../slideLayouts/slideLayout7.xml"/><Relationship Id="rId1" Type="http://schemas.openxmlformats.org/officeDocument/2006/relationships/tags" Target="../tags/tag88.xml"/><Relationship Id="rId6" Type="http://schemas.openxmlformats.org/officeDocument/2006/relationships/chart" Target="../charts/chart161.xml"/><Relationship Id="rId5" Type="http://schemas.openxmlformats.org/officeDocument/2006/relationships/chart" Target="../charts/chart160.xml"/><Relationship Id="rId4" Type="http://schemas.openxmlformats.org/officeDocument/2006/relationships/image" Target="../media/image28.emf"/></Relationships>
</file>

<file path=ppt/slides/_rels/slide6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37.xml"/><Relationship Id="rId5" Type="http://schemas.openxmlformats.org/officeDocument/2006/relationships/chart" Target="../charts/chart789.xml"/><Relationship Id="rId4" Type="http://schemas.openxmlformats.org/officeDocument/2006/relationships/image" Target="../media/image28.emf"/></Relationships>
</file>

<file path=ppt/slides/_rels/slide61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38.xml"/><Relationship Id="rId5" Type="http://schemas.openxmlformats.org/officeDocument/2006/relationships/chart" Target="../charts/chart790.xml"/><Relationship Id="rId4" Type="http://schemas.openxmlformats.org/officeDocument/2006/relationships/image" Target="../media/image28.emf"/></Relationships>
</file>

<file path=ppt/slides/_rels/slide61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39.xml"/><Relationship Id="rId5" Type="http://schemas.openxmlformats.org/officeDocument/2006/relationships/chart" Target="../charts/chart791.xml"/><Relationship Id="rId4" Type="http://schemas.openxmlformats.org/officeDocument/2006/relationships/image" Target="../media/image28.emf"/></Relationships>
</file>

<file path=ppt/slides/_rels/slide61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40.xml"/><Relationship Id="rId5" Type="http://schemas.openxmlformats.org/officeDocument/2006/relationships/chart" Target="../charts/chart792.xml"/><Relationship Id="rId4" Type="http://schemas.openxmlformats.org/officeDocument/2006/relationships/image" Target="../media/image28.emf"/></Relationships>
</file>

<file path=ppt/slides/_rels/slide61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41.xml"/><Relationship Id="rId5" Type="http://schemas.openxmlformats.org/officeDocument/2006/relationships/chart" Target="../charts/chart793.xml"/><Relationship Id="rId4" Type="http://schemas.openxmlformats.org/officeDocument/2006/relationships/image" Target="../media/image28.emf"/></Relationships>
</file>

<file path=ppt/slides/_rels/slide61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42.xml"/><Relationship Id="rId5" Type="http://schemas.openxmlformats.org/officeDocument/2006/relationships/chart" Target="../charts/chart794.xml"/><Relationship Id="rId4" Type="http://schemas.openxmlformats.org/officeDocument/2006/relationships/image" Target="../media/image28.emf"/></Relationships>
</file>

<file path=ppt/slides/_rels/slide61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43.xml"/><Relationship Id="rId5" Type="http://schemas.openxmlformats.org/officeDocument/2006/relationships/chart" Target="../charts/chart795.xml"/><Relationship Id="rId4" Type="http://schemas.openxmlformats.org/officeDocument/2006/relationships/image" Target="../media/image28.emf"/></Relationships>
</file>

<file path=ppt/slides/_rels/slide61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44.xml"/><Relationship Id="rId5" Type="http://schemas.openxmlformats.org/officeDocument/2006/relationships/chart" Target="../charts/chart796.xml"/><Relationship Id="rId4" Type="http://schemas.openxmlformats.org/officeDocument/2006/relationships/image" Target="../media/image28.emf"/></Relationships>
</file>

<file path=ppt/slides/_rels/slide61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45.xml"/><Relationship Id="rId5" Type="http://schemas.openxmlformats.org/officeDocument/2006/relationships/chart" Target="../charts/chart797.xml"/><Relationship Id="rId4" Type="http://schemas.openxmlformats.org/officeDocument/2006/relationships/image" Target="../media/image28.emf"/></Relationships>
</file>

<file path=ppt/slides/_rels/slide61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46.xml"/><Relationship Id="rId5" Type="http://schemas.openxmlformats.org/officeDocument/2006/relationships/chart" Target="../charts/chart798.xml"/><Relationship Id="rId4" Type="http://schemas.openxmlformats.org/officeDocument/2006/relationships/image" Target="../media/image28.emf"/></Relationships>
</file>

<file path=ppt/slides/_rels/slide62.xml.rels><?xml version="1.0" encoding="UTF-8" standalone="yes"?>
<Relationships xmlns="http://schemas.openxmlformats.org/package/2006/relationships"><Relationship Id="rId8" Type="http://schemas.openxmlformats.org/officeDocument/2006/relationships/chart" Target="../charts/chart167.xml"/><Relationship Id="rId3" Type="http://schemas.openxmlformats.org/officeDocument/2006/relationships/oleObject" Target="../embeddings/oleObject27.bin"/><Relationship Id="rId7" Type="http://schemas.openxmlformats.org/officeDocument/2006/relationships/chart" Target="../charts/chart166.xml"/><Relationship Id="rId2" Type="http://schemas.openxmlformats.org/officeDocument/2006/relationships/slideLayout" Target="../slideLayouts/slideLayout7.xml"/><Relationship Id="rId1" Type="http://schemas.openxmlformats.org/officeDocument/2006/relationships/tags" Target="../tags/tag89.xml"/><Relationship Id="rId6" Type="http://schemas.openxmlformats.org/officeDocument/2006/relationships/chart" Target="../charts/chart165.xml"/><Relationship Id="rId5" Type="http://schemas.openxmlformats.org/officeDocument/2006/relationships/chart" Target="../charts/chart164.xml"/><Relationship Id="rId4" Type="http://schemas.openxmlformats.org/officeDocument/2006/relationships/image" Target="../media/image28.emf"/></Relationships>
</file>

<file path=ppt/slides/_rels/slide62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47.xml"/><Relationship Id="rId5" Type="http://schemas.openxmlformats.org/officeDocument/2006/relationships/chart" Target="../charts/chart799.xml"/><Relationship Id="rId4" Type="http://schemas.openxmlformats.org/officeDocument/2006/relationships/image" Target="../media/image28.emf"/></Relationships>
</file>

<file path=ppt/slides/_rels/slide62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48.xml"/><Relationship Id="rId5" Type="http://schemas.openxmlformats.org/officeDocument/2006/relationships/chart" Target="../charts/chart800.xml"/><Relationship Id="rId4" Type="http://schemas.openxmlformats.org/officeDocument/2006/relationships/image" Target="../media/image28.emf"/></Relationships>
</file>

<file path=ppt/slides/_rels/slide62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49.xml"/><Relationship Id="rId5" Type="http://schemas.openxmlformats.org/officeDocument/2006/relationships/chart" Target="../charts/chart801.xml"/><Relationship Id="rId4" Type="http://schemas.openxmlformats.org/officeDocument/2006/relationships/image" Target="../media/image28.emf"/></Relationships>
</file>

<file path=ppt/slides/_rels/slide62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50.xml"/><Relationship Id="rId5" Type="http://schemas.openxmlformats.org/officeDocument/2006/relationships/chart" Target="../charts/chart802.xml"/><Relationship Id="rId4" Type="http://schemas.openxmlformats.org/officeDocument/2006/relationships/image" Target="../media/image28.emf"/></Relationships>
</file>

<file path=ppt/slides/_rels/slide62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51.xml"/><Relationship Id="rId5" Type="http://schemas.openxmlformats.org/officeDocument/2006/relationships/chart" Target="../charts/chart803.xml"/><Relationship Id="rId4" Type="http://schemas.openxmlformats.org/officeDocument/2006/relationships/image" Target="../media/image28.emf"/></Relationships>
</file>

<file path=ppt/slides/_rels/slide62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52.xml"/><Relationship Id="rId5" Type="http://schemas.openxmlformats.org/officeDocument/2006/relationships/chart" Target="../charts/chart804.xml"/><Relationship Id="rId4" Type="http://schemas.openxmlformats.org/officeDocument/2006/relationships/image" Target="../media/image28.emf"/></Relationships>
</file>

<file path=ppt/slides/_rels/slide6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53.xml"/><Relationship Id="rId5" Type="http://schemas.openxmlformats.org/officeDocument/2006/relationships/chart" Target="../charts/chart805.xml"/><Relationship Id="rId4" Type="http://schemas.openxmlformats.org/officeDocument/2006/relationships/image" Target="../media/image28.emf"/></Relationships>
</file>

<file path=ppt/slides/_rels/slide62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54.xml"/><Relationship Id="rId5" Type="http://schemas.openxmlformats.org/officeDocument/2006/relationships/chart" Target="../charts/chart806.xml"/><Relationship Id="rId4" Type="http://schemas.openxmlformats.org/officeDocument/2006/relationships/image" Target="../media/image28.emf"/></Relationships>
</file>

<file path=ppt/slides/_rels/slide62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55.xml"/><Relationship Id="rId5" Type="http://schemas.openxmlformats.org/officeDocument/2006/relationships/chart" Target="../charts/chart807.xml"/><Relationship Id="rId4" Type="http://schemas.openxmlformats.org/officeDocument/2006/relationships/image" Target="../media/image28.emf"/></Relationships>
</file>

<file path=ppt/slides/_rels/slide629.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7.xml"/><Relationship Id="rId1" Type="http://schemas.openxmlformats.org/officeDocument/2006/relationships/tags" Target="../tags/tag65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6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70.xml"/><Relationship Id="rId2" Type="http://schemas.openxmlformats.org/officeDocument/2006/relationships/slideLayout" Target="../slideLayouts/slideLayout7.xml"/><Relationship Id="rId1" Type="http://schemas.openxmlformats.org/officeDocument/2006/relationships/tags" Target="../tags/tag90.xml"/><Relationship Id="rId6" Type="http://schemas.openxmlformats.org/officeDocument/2006/relationships/chart" Target="../charts/chart169.xml"/><Relationship Id="rId5" Type="http://schemas.openxmlformats.org/officeDocument/2006/relationships/chart" Target="../charts/chart168.xml"/><Relationship Id="rId4" Type="http://schemas.openxmlformats.org/officeDocument/2006/relationships/image" Target="../media/image28.emf"/></Relationships>
</file>

<file path=ppt/slides/_rels/slide630.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7.xml"/><Relationship Id="rId1" Type="http://schemas.openxmlformats.org/officeDocument/2006/relationships/tags" Target="../tags/tag65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631.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7.xml"/><Relationship Id="rId1" Type="http://schemas.openxmlformats.org/officeDocument/2006/relationships/tags" Target="../tags/tag65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632.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7.xml"/><Relationship Id="rId1" Type="http://schemas.openxmlformats.org/officeDocument/2006/relationships/tags" Target="../tags/tag65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633.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7.xml"/><Relationship Id="rId1" Type="http://schemas.openxmlformats.org/officeDocument/2006/relationships/tags" Target="../tags/tag66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634.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7.xml"/><Relationship Id="rId1" Type="http://schemas.openxmlformats.org/officeDocument/2006/relationships/tags" Target="../tags/tag66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635.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7.xml"/><Relationship Id="rId1" Type="http://schemas.openxmlformats.org/officeDocument/2006/relationships/tags" Target="../tags/tag66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636.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7.xml"/><Relationship Id="rId1" Type="http://schemas.openxmlformats.org/officeDocument/2006/relationships/tags" Target="../tags/tag66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637.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7.xml"/><Relationship Id="rId1" Type="http://schemas.openxmlformats.org/officeDocument/2006/relationships/tags" Target="../tags/tag66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638.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7.xml"/><Relationship Id="rId1" Type="http://schemas.openxmlformats.org/officeDocument/2006/relationships/tags" Target="../tags/tag66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639.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7.xml"/><Relationship Id="rId1" Type="http://schemas.openxmlformats.org/officeDocument/2006/relationships/tags" Target="../tags/tag66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64.xml.rels><?xml version="1.0" encoding="UTF-8" standalone="yes"?>
<Relationships xmlns="http://schemas.openxmlformats.org/package/2006/relationships"><Relationship Id="rId8" Type="http://schemas.openxmlformats.org/officeDocument/2006/relationships/chart" Target="../charts/chart174.xml"/><Relationship Id="rId3" Type="http://schemas.openxmlformats.org/officeDocument/2006/relationships/oleObject" Target="../embeddings/oleObject27.bin"/><Relationship Id="rId7" Type="http://schemas.openxmlformats.org/officeDocument/2006/relationships/chart" Target="../charts/chart173.xml"/><Relationship Id="rId2" Type="http://schemas.openxmlformats.org/officeDocument/2006/relationships/slideLayout" Target="../slideLayouts/slideLayout7.xml"/><Relationship Id="rId1" Type="http://schemas.openxmlformats.org/officeDocument/2006/relationships/tags" Target="../tags/tag91.xml"/><Relationship Id="rId6" Type="http://schemas.openxmlformats.org/officeDocument/2006/relationships/chart" Target="../charts/chart172.xml"/><Relationship Id="rId5" Type="http://schemas.openxmlformats.org/officeDocument/2006/relationships/chart" Target="../charts/chart171.xml"/><Relationship Id="rId4" Type="http://schemas.openxmlformats.org/officeDocument/2006/relationships/image" Target="../media/image28.emf"/></Relationships>
</file>

<file path=ppt/slides/_rels/slide640.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7.xml"/><Relationship Id="rId1" Type="http://schemas.openxmlformats.org/officeDocument/2006/relationships/tags" Target="../tags/tag66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641.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7.xml"/><Relationship Id="rId1" Type="http://schemas.openxmlformats.org/officeDocument/2006/relationships/tags" Target="../tags/tag66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642.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7.xml"/><Relationship Id="rId1" Type="http://schemas.openxmlformats.org/officeDocument/2006/relationships/tags" Target="../tags/tag66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643.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7.xml"/><Relationship Id="rId1" Type="http://schemas.openxmlformats.org/officeDocument/2006/relationships/tags" Target="../tags/tag67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644.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7.xml"/><Relationship Id="rId1" Type="http://schemas.openxmlformats.org/officeDocument/2006/relationships/tags" Target="../tags/tag67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645.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7.xml"/><Relationship Id="rId1" Type="http://schemas.openxmlformats.org/officeDocument/2006/relationships/tags" Target="../tags/tag67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646.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7.xml"/><Relationship Id="rId1" Type="http://schemas.openxmlformats.org/officeDocument/2006/relationships/tags" Target="../tags/tag67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647.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7.xml"/><Relationship Id="rId1" Type="http://schemas.openxmlformats.org/officeDocument/2006/relationships/tags" Target="../tags/tag67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648.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7.xml"/><Relationship Id="rId1" Type="http://schemas.openxmlformats.org/officeDocument/2006/relationships/tags" Target="../tags/tag67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649.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7.xml"/><Relationship Id="rId1" Type="http://schemas.openxmlformats.org/officeDocument/2006/relationships/tags" Target="../tags/tag67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65.xml.rels><?xml version="1.0" encoding="UTF-8" standalone="yes"?>
<Relationships xmlns="http://schemas.openxmlformats.org/package/2006/relationships"><Relationship Id="rId8" Type="http://schemas.openxmlformats.org/officeDocument/2006/relationships/chart" Target="../charts/chart178.xml"/><Relationship Id="rId3" Type="http://schemas.openxmlformats.org/officeDocument/2006/relationships/oleObject" Target="../embeddings/oleObject27.bin"/><Relationship Id="rId7" Type="http://schemas.openxmlformats.org/officeDocument/2006/relationships/chart" Target="../charts/chart177.xml"/><Relationship Id="rId2" Type="http://schemas.openxmlformats.org/officeDocument/2006/relationships/slideLayout" Target="../slideLayouts/slideLayout7.xml"/><Relationship Id="rId1" Type="http://schemas.openxmlformats.org/officeDocument/2006/relationships/tags" Target="../tags/tag92.xml"/><Relationship Id="rId6" Type="http://schemas.openxmlformats.org/officeDocument/2006/relationships/chart" Target="../charts/chart176.xml"/><Relationship Id="rId5" Type="http://schemas.openxmlformats.org/officeDocument/2006/relationships/chart" Target="../charts/chart175.xml"/><Relationship Id="rId4" Type="http://schemas.openxmlformats.org/officeDocument/2006/relationships/image" Target="../media/image28.emf"/></Relationships>
</file>

<file path=ppt/slides/_rels/slide650.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7.xml"/><Relationship Id="rId1" Type="http://schemas.openxmlformats.org/officeDocument/2006/relationships/tags" Target="../tags/tag67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651.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7.xml"/><Relationship Id="rId1" Type="http://schemas.openxmlformats.org/officeDocument/2006/relationships/tags" Target="../tags/tag67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652.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7.xml"/><Relationship Id="rId1" Type="http://schemas.openxmlformats.org/officeDocument/2006/relationships/tags" Target="../tags/tag67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653.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7.xml"/><Relationship Id="rId1" Type="http://schemas.openxmlformats.org/officeDocument/2006/relationships/tags" Target="../tags/tag68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654.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7.xml"/><Relationship Id="rId1" Type="http://schemas.openxmlformats.org/officeDocument/2006/relationships/tags" Target="../tags/tag68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655.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7.xml"/><Relationship Id="rId1" Type="http://schemas.openxmlformats.org/officeDocument/2006/relationships/tags" Target="../tags/tag68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656.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7.xml"/><Relationship Id="rId1" Type="http://schemas.openxmlformats.org/officeDocument/2006/relationships/tags" Target="../tags/tag68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657.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7.xml"/><Relationship Id="rId1" Type="http://schemas.openxmlformats.org/officeDocument/2006/relationships/tags" Target="../tags/tag68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658.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7.xml"/><Relationship Id="rId1" Type="http://schemas.openxmlformats.org/officeDocument/2006/relationships/tags" Target="../tags/tag68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659.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7.xml"/><Relationship Id="rId1" Type="http://schemas.openxmlformats.org/officeDocument/2006/relationships/tags" Target="../tags/tag68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66.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81.xml"/><Relationship Id="rId2" Type="http://schemas.openxmlformats.org/officeDocument/2006/relationships/slideLayout" Target="../slideLayouts/slideLayout7.xml"/><Relationship Id="rId1" Type="http://schemas.openxmlformats.org/officeDocument/2006/relationships/tags" Target="../tags/tag93.xml"/><Relationship Id="rId6" Type="http://schemas.openxmlformats.org/officeDocument/2006/relationships/chart" Target="../charts/chart180.xml"/><Relationship Id="rId5" Type="http://schemas.openxmlformats.org/officeDocument/2006/relationships/chart" Target="../charts/chart179.xml"/><Relationship Id="rId4" Type="http://schemas.openxmlformats.org/officeDocument/2006/relationships/image" Target="../media/image28.emf"/></Relationships>
</file>

<file path=ppt/slides/_rels/slide660.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7.xml"/><Relationship Id="rId1" Type="http://schemas.openxmlformats.org/officeDocument/2006/relationships/tags" Target="../tags/tag68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661.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7.xml"/><Relationship Id="rId1" Type="http://schemas.openxmlformats.org/officeDocument/2006/relationships/tags" Target="../tags/tag68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662.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7.xml"/><Relationship Id="rId1" Type="http://schemas.openxmlformats.org/officeDocument/2006/relationships/tags" Target="../tags/tag68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663.xml.rels><?xml version="1.0" encoding="UTF-8" standalone="yes"?>
<Relationships xmlns="http://schemas.openxmlformats.org/package/2006/relationships"><Relationship Id="rId3" Type="http://schemas.openxmlformats.org/officeDocument/2006/relationships/notesSlide" Target="../notesSlides/notesSlide35.xml"/><Relationship Id="rId2" Type="http://schemas.openxmlformats.org/officeDocument/2006/relationships/slideLayout" Target="../slideLayouts/slideLayout7.xml"/><Relationship Id="rId1" Type="http://schemas.openxmlformats.org/officeDocument/2006/relationships/tags" Target="../tags/tag69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664.xml.rels><?xml version="1.0" encoding="UTF-8" standalone="yes"?>
<Relationships xmlns="http://schemas.openxmlformats.org/package/2006/relationships"><Relationship Id="rId3" Type="http://schemas.openxmlformats.org/officeDocument/2006/relationships/notesSlide" Target="../notesSlides/notesSlide36.xml"/><Relationship Id="rId2" Type="http://schemas.openxmlformats.org/officeDocument/2006/relationships/slideLayout" Target="../slideLayouts/slideLayout7.xml"/><Relationship Id="rId1" Type="http://schemas.openxmlformats.org/officeDocument/2006/relationships/tags" Target="../tags/tag69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665.xml.rels><?xml version="1.0" encoding="UTF-8" standalone="yes"?>
<Relationships xmlns="http://schemas.openxmlformats.org/package/2006/relationships"><Relationship Id="rId3" Type="http://schemas.openxmlformats.org/officeDocument/2006/relationships/notesSlide" Target="../notesSlides/notesSlide37.xml"/><Relationship Id="rId2" Type="http://schemas.openxmlformats.org/officeDocument/2006/relationships/slideLayout" Target="../slideLayouts/slideLayout7.xml"/><Relationship Id="rId1" Type="http://schemas.openxmlformats.org/officeDocument/2006/relationships/tags" Target="../tags/tag69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666.xml.rels><?xml version="1.0" encoding="UTF-8" standalone="yes"?>
<Relationships xmlns="http://schemas.openxmlformats.org/package/2006/relationships"><Relationship Id="rId3" Type="http://schemas.openxmlformats.org/officeDocument/2006/relationships/notesSlide" Target="../notesSlides/notesSlide38.xml"/><Relationship Id="rId2" Type="http://schemas.openxmlformats.org/officeDocument/2006/relationships/slideLayout" Target="../slideLayouts/slideLayout7.xml"/><Relationship Id="rId1" Type="http://schemas.openxmlformats.org/officeDocument/2006/relationships/tags" Target="../tags/tag69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667.xml.rels><?xml version="1.0" encoding="UTF-8" standalone="yes"?>
<Relationships xmlns="http://schemas.openxmlformats.org/package/2006/relationships"><Relationship Id="rId3" Type="http://schemas.openxmlformats.org/officeDocument/2006/relationships/notesSlide" Target="../notesSlides/notesSlide39.xml"/><Relationship Id="rId2" Type="http://schemas.openxmlformats.org/officeDocument/2006/relationships/slideLayout" Target="../slideLayouts/slideLayout7.xml"/><Relationship Id="rId1" Type="http://schemas.openxmlformats.org/officeDocument/2006/relationships/tags" Target="../tags/tag69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668.xml.rels><?xml version="1.0" encoding="UTF-8" standalone="yes"?>
<Relationships xmlns="http://schemas.openxmlformats.org/package/2006/relationships"><Relationship Id="rId3" Type="http://schemas.openxmlformats.org/officeDocument/2006/relationships/notesSlide" Target="../notesSlides/notesSlide40.xml"/><Relationship Id="rId2" Type="http://schemas.openxmlformats.org/officeDocument/2006/relationships/slideLayout" Target="../slideLayouts/slideLayout7.xml"/><Relationship Id="rId1" Type="http://schemas.openxmlformats.org/officeDocument/2006/relationships/tags" Target="../tags/tag69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669.xml.rels><?xml version="1.0" encoding="UTF-8" standalone="yes"?>
<Relationships xmlns="http://schemas.openxmlformats.org/package/2006/relationships"><Relationship Id="rId3" Type="http://schemas.openxmlformats.org/officeDocument/2006/relationships/notesSlide" Target="../notesSlides/notesSlide41.xml"/><Relationship Id="rId2" Type="http://schemas.openxmlformats.org/officeDocument/2006/relationships/slideLayout" Target="../slideLayouts/slideLayout7.xml"/><Relationship Id="rId1" Type="http://schemas.openxmlformats.org/officeDocument/2006/relationships/tags" Target="../tags/tag69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67.xml.rels><?xml version="1.0" encoding="UTF-8" standalone="yes"?>
<Relationships xmlns="http://schemas.openxmlformats.org/package/2006/relationships"><Relationship Id="rId8" Type="http://schemas.openxmlformats.org/officeDocument/2006/relationships/chart" Target="../charts/chart185.xml"/><Relationship Id="rId3" Type="http://schemas.openxmlformats.org/officeDocument/2006/relationships/oleObject" Target="../embeddings/oleObject27.bin"/><Relationship Id="rId7" Type="http://schemas.openxmlformats.org/officeDocument/2006/relationships/chart" Target="../charts/chart184.xml"/><Relationship Id="rId2" Type="http://schemas.openxmlformats.org/officeDocument/2006/relationships/slideLayout" Target="../slideLayouts/slideLayout7.xml"/><Relationship Id="rId1" Type="http://schemas.openxmlformats.org/officeDocument/2006/relationships/tags" Target="../tags/tag94.xml"/><Relationship Id="rId6" Type="http://schemas.openxmlformats.org/officeDocument/2006/relationships/chart" Target="../charts/chart183.xml"/><Relationship Id="rId5" Type="http://schemas.openxmlformats.org/officeDocument/2006/relationships/chart" Target="../charts/chart182.xml"/><Relationship Id="rId4" Type="http://schemas.openxmlformats.org/officeDocument/2006/relationships/image" Target="../media/image28.emf"/></Relationships>
</file>

<file path=ppt/slides/_rels/slide670.xml.rels><?xml version="1.0" encoding="UTF-8" standalone="yes"?>
<Relationships xmlns="http://schemas.openxmlformats.org/package/2006/relationships"><Relationship Id="rId3" Type="http://schemas.openxmlformats.org/officeDocument/2006/relationships/notesSlide" Target="../notesSlides/notesSlide42.xml"/><Relationship Id="rId2" Type="http://schemas.openxmlformats.org/officeDocument/2006/relationships/slideLayout" Target="../slideLayouts/slideLayout7.xml"/><Relationship Id="rId1" Type="http://schemas.openxmlformats.org/officeDocument/2006/relationships/tags" Target="../tags/tag69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671.xml.rels><?xml version="1.0" encoding="UTF-8" standalone="yes"?>
<Relationships xmlns="http://schemas.openxmlformats.org/package/2006/relationships"><Relationship Id="rId3" Type="http://schemas.openxmlformats.org/officeDocument/2006/relationships/notesSlide" Target="../notesSlides/notesSlide43.xml"/><Relationship Id="rId2" Type="http://schemas.openxmlformats.org/officeDocument/2006/relationships/slideLayout" Target="../slideLayouts/slideLayout7.xml"/><Relationship Id="rId1" Type="http://schemas.openxmlformats.org/officeDocument/2006/relationships/tags" Target="../tags/tag69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672.xml.rels><?xml version="1.0" encoding="UTF-8" standalone="yes"?>
<Relationships xmlns="http://schemas.openxmlformats.org/package/2006/relationships"><Relationship Id="rId3" Type="http://schemas.openxmlformats.org/officeDocument/2006/relationships/notesSlide" Target="../notesSlides/notesSlide44.xml"/><Relationship Id="rId2" Type="http://schemas.openxmlformats.org/officeDocument/2006/relationships/slideLayout" Target="../slideLayouts/slideLayout7.xml"/><Relationship Id="rId1" Type="http://schemas.openxmlformats.org/officeDocument/2006/relationships/tags" Target="../tags/tag69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673.xml.rels><?xml version="1.0" encoding="UTF-8" standalone="yes"?>
<Relationships xmlns="http://schemas.openxmlformats.org/package/2006/relationships"><Relationship Id="rId3" Type="http://schemas.openxmlformats.org/officeDocument/2006/relationships/notesSlide" Target="../notesSlides/notesSlide45.xml"/><Relationship Id="rId2" Type="http://schemas.openxmlformats.org/officeDocument/2006/relationships/slideLayout" Target="../slideLayouts/slideLayout7.xml"/><Relationship Id="rId1" Type="http://schemas.openxmlformats.org/officeDocument/2006/relationships/tags" Target="../tags/tag70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674.xml.rels><?xml version="1.0" encoding="UTF-8" standalone="yes"?>
<Relationships xmlns="http://schemas.openxmlformats.org/package/2006/relationships"><Relationship Id="rId3" Type="http://schemas.openxmlformats.org/officeDocument/2006/relationships/notesSlide" Target="../notesSlides/notesSlide46.xml"/><Relationship Id="rId2" Type="http://schemas.openxmlformats.org/officeDocument/2006/relationships/slideLayout" Target="../slideLayouts/slideLayout7.xml"/><Relationship Id="rId1" Type="http://schemas.openxmlformats.org/officeDocument/2006/relationships/tags" Target="../tags/tag70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675.xml.rels><?xml version="1.0" encoding="UTF-8" standalone="yes"?>
<Relationships xmlns="http://schemas.openxmlformats.org/package/2006/relationships"><Relationship Id="rId3" Type="http://schemas.openxmlformats.org/officeDocument/2006/relationships/notesSlide" Target="../notesSlides/notesSlide47.xml"/><Relationship Id="rId2" Type="http://schemas.openxmlformats.org/officeDocument/2006/relationships/slideLayout" Target="../slideLayouts/slideLayout7.xml"/><Relationship Id="rId1" Type="http://schemas.openxmlformats.org/officeDocument/2006/relationships/tags" Target="../tags/tag70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676.xml.rels><?xml version="1.0" encoding="UTF-8" standalone="yes"?>
<Relationships xmlns="http://schemas.openxmlformats.org/package/2006/relationships"><Relationship Id="rId3" Type="http://schemas.openxmlformats.org/officeDocument/2006/relationships/notesSlide" Target="../notesSlides/notesSlide48.xml"/><Relationship Id="rId2" Type="http://schemas.openxmlformats.org/officeDocument/2006/relationships/slideLayout" Target="../slideLayouts/slideLayout7.xml"/><Relationship Id="rId1" Type="http://schemas.openxmlformats.org/officeDocument/2006/relationships/tags" Target="../tags/tag70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677.xml.rels><?xml version="1.0" encoding="UTF-8" standalone="yes"?>
<Relationships xmlns="http://schemas.openxmlformats.org/package/2006/relationships"><Relationship Id="rId3" Type="http://schemas.openxmlformats.org/officeDocument/2006/relationships/notesSlide" Target="../notesSlides/notesSlide49.xml"/><Relationship Id="rId2" Type="http://schemas.openxmlformats.org/officeDocument/2006/relationships/slideLayout" Target="../slideLayouts/slideLayout7.xml"/><Relationship Id="rId1" Type="http://schemas.openxmlformats.org/officeDocument/2006/relationships/tags" Target="../tags/tag70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678.xml.rels><?xml version="1.0" encoding="UTF-8" standalone="yes"?>
<Relationships xmlns="http://schemas.openxmlformats.org/package/2006/relationships"><Relationship Id="rId3" Type="http://schemas.openxmlformats.org/officeDocument/2006/relationships/notesSlide" Target="../notesSlides/notesSlide50.xml"/><Relationship Id="rId2" Type="http://schemas.openxmlformats.org/officeDocument/2006/relationships/slideLayout" Target="../slideLayouts/slideLayout7.xml"/><Relationship Id="rId1" Type="http://schemas.openxmlformats.org/officeDocument/2006/relationships/tags" Target="../tags/tag70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679.xml.rels><?xml version="1.0" encoding="UTF-8" standalone="yes"?>
<Relationships xmlns="http://schemas.openxmlformats.org/package/2006/relationships"><Relationship Id="rId3" Type="http://schemas.openxmlformats.org/officeDocument/2006/relationships/notesSlide" Target="../notesSlides/notesSlide51.xml"/><Relationship Id="rId2" Type="http://schemas.openxmlformats.org/officeDocument/2006/relationships/slideLayout" Target="../slideLayouts/slideLayout7.xml"/><Relationship Id="rId1" Type="http://schemas.openxmlformats.org/officeDocument/2006/relationships/tags" Target="../tags/tag70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68.xml.rels><?xml version="1.0" encoding="UTF-8" standalone="yes"?>
<Relationships xmlns="http://schemas.openxmlformats.org/package/2006/relationships"><Relationship Id="rId8" Type="http://schemas.openxmlformats.org/officeDocument/2006/relationships/chart" Target="../charts/chart189.xml"/><Relationship Id="rId3" Type="http://schemas.openxmlformats.org/officeDocument/2006/relationships/oleObject" Target="../embeddings/oleObject27.bin"/><Relationship Id="rId7" Type="http://schemas.openxmlformats.org/officeDocument/2006/relationships/chart" Target="../charts/chart188.xml"/><Relationship Id="rId2" Type="http://schemas.openxmlformats.org/officeDocument/2006/relationships/slideLayout" Target="../slideLayouts/slideLayout7.xml"/><Relationship Id="rId1" Type="http://schemas.openxmlformats.org/officeDocument/2006/relationships/tags" Target="../tags/tag95.xml"/><Relationship Id="rId6" Type="http://schemas.openxmlformats.org/officeDocument/2006/relationships/chart" Target="../charts/chart187.xml"/><Relationship Id="rId5" Type="http://schemas.openxmlformats.org/officeDocument/2006/relationships/chart" Target="../charts/chart186.xml"/><Relationship Id="rId4" Type="http://schemas.openxmlformats.org/officeDocument/2006/relationships/image" Target="../media/image28.emf"/></Relationships>
</file>

<file path=ppt/slides/_rels/slide680.xml.rels><?xml version="1.0" encoding="UTF-8" standalone="yes"?>
<Relationships xmlns="http://schemas.openxmlformats.org/package/2006/relationships"><Relationship Id="rId3" Type="http://schemas.openxmlformats.org/officeDocument/2006/relationships/notesSlide" Target="../notesSlides/notesSlide52.xml"/><Relationship Id="rId2" Type="http://schemas.openxmlformats.org/officeDocument/2006/relationships/slideLayout" Target="../slideLayouts/slideLayout7.xml"/><Relationship Id="rId1" Type="http://schemas.openxmlformats.org/officeDocument/2006/relationships/tags" Target="../tags/tag70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681.xml.rels><?xml version="1.0" encoding="UTF-8" standalone="yes"?>
<Relationships xmlns="http://schemas.openxmlformats.org/package/2006/relationships"><Relationship Id="rId3" Type="http://schemas.openxmlformats.org/officeDocument/2006/relationships/notesSlide" Target="../notesSlides/notesSlide53.xml"/><Relationship Id="rId2" Type="http://schemas.openxmlformats.org/officeDocument/2006/relationships/slideLayout" Target="../slideLayouts/slideLayout7.xml"/><Relationship Id="rId1" Type="http://schemas.openxmlformats.org/officeDocument/2006/relationships/tags" Target="../tags/tag70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682.xml.rels><?xml version="1.0" encoding="UTF-8" standalone="yes"?>
<Relationships xmlns="http://schemas.openxmlformats.org/package/2006/relationships"><Relationship Id="rId3" Type="http://schemas.openxmlformats.org/officeDocument/2006/relationships/notesSlide" Target="../notesSlides/notesSlide54.xml"/><Relationship Id="rId2" Type="http://schemas.openxmlformats.org/officeDocument/2006/relationships/slideLayout" Target="../slideLayouts/slideLayout7.xml"/><Relationship Id="rId1" Type="http://schemas.openxmlformats.org/officeDocument/2006/relationships/tags" Target="../tags/tag70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683.xml.rels><?xml version="1.0" encoding="UTF-8" standalone="yes"?>
<Relationships xmlns="http://schemas.openxmlformats.org/package/2006/relationships"><Relationship Id="rId3" Type="http://schemas.openxmlformats.org/officeDocument/2006/relationships/notesSlide" Target="../notesSlides/notesSlide55.xml"/><Relationship Id="rId2" Type="http://schemas.openxmlformats.org/officeDocument/2006/relationships/slideLayout" Target="../slideLayouts/slideLayout7.xml"/><Relationship Id="rId1" Type="http://schemas.openxmlformats.org/officeDocument/2006/relationships/tags" Target="../tags/tag71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684.xml.rels><?xml version="1.0" encoding="UTF-8" standalone="yes"?>
<Relationships xmlns="http://schemas.openxmlformats.org/package/2006/relationships"><Relationship Id="rId3" Type="http://schemas.openxmlformats.org/officeDocument/2006/relationships/notesSlide" Target="../notesSlides/notesSlide56.xml"/><Relationship Id="rId2" Type="http://schemas.openxmlformats.org/officeDocument/2006/relationships/slideLayout" Target="../slideLayouts/slideLayout7.xml"/><Relationship Id="rId1" Type="http://schemas.openxmlformats.org/officeDocument/2006/relationships/tags" Target="../tags/tag71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685.xml.rels><?xml version="1.0" encoding="UTF-8" standalone="yes"?>
<Relationships xmlns="http://schemas.openxmlformats.org/package/2006/relationships"><Relationship Id="rId3" Type="http://schemas.openxmlformats.org/officeDocument/2006/relationships/notesSlide" Target="../notesSlides/notesSlide57.xml"/><Relationship Id="rId2" Type="http://schemas.openxmlformats.org/officeDocument/2006/relationships/slideLayout" Target="../slideLayouts/slideLayout7.xml"/><Relationship Id="rId1" Type="http://schemas.openxmlformats.org/officeDocument/2006/relationships/tags" Target="../tags/tag71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686.xml.rels><?xml version="1.0" encoding="UTF-8" standalone="yes"?>
<Relationships xmlns="http://schemas.openxmlformats.org/package/2006/relationships"><Relationship Id="rId3" Type="http://schemas.openxmlformats.org/officeDocument/2006/relationships/notesSlide" Target="../notesSlides/notesSlide58.xml"/><Relationship Id="rId2" Type="http://schemas.openxmlformats.org/officeDocument/2006/relationships/slideLayout" Target="../slideLayouts/slideLayout7.xml"/><Relationship Id="rId1" Type="http://schemas.openxmlformats.org/officeDocument/2006/relationships/tags" Target="../tags/tag71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687.xml.rels><?xml version="1.0" encoding="UTF-8" standalone="yes"?>
<Relationships xmlns="http://schemas.openxmlformats.org/package/2006/relationships"><Relationship Id="rId3" Type="http://schemas.openxmlformats.org/officeDocument/2006/relationships/notesSlide" Target="../notesSlides/notesSlide59.xml"/><Relationship Id="rId2" Type="http://schemas.openxmlformats.org/officeDocument/2006/relationships/slideLayout" Target="../slideLayouts/slideLayout7.xml"/><Relationship Id="rId1" Type="http://schemas.openxmlformats.org/officeDocument/2006/relationships/tags" Target="../tags/tag71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688.xml.rels><?xml version="1.0" encoding="UTF-8" standalone="yes"?>
<Relationships xmlns="http://schemas.openxmlformats.org/package/2006/relationships"><Relationship Id="rId3" Type="http://schemas.openxmlformats.org/officeDocument/2006/relationships/notesSlide" Target="../notesSlides/notesSlide60.xml"/><Relationship Id="rId2" Type="http://schemas.openxmlformats.org/officeDocument/2006/relationships/slideLayout" Target="../slideLayouts/slideLayout7.xml"/><Relationship Id="rId1" Type="http://schemas.openxmlformats.org/officeDocument/2006/relationships/tags" Target="../tags/tag71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689.xml.rels><?xml version="1.0" encoding="UTF-8" standalone="yes"?>
<Relationships xmlns="http://schemas.openxmlformats.org/package/2006/relationships"><Relationship Id="rId3" Type="http://schemas.openxmlformats.org/officeDocument/2006/relationships/notesSlide" Target="../notesSlides/notesSlide61.xml"/><Relationship Id="rId2" Type="http://schemas.openxmlformats.org/officeDocument/2006/relationships/slideLayout" Target="../slideLayouts/slideLayout7.xml"/><Relationship Id="rId1" Type="http://schemas.openxmlformats.org/officeDocument/2006/relationships/tags" Target="../tags/tag71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6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92.xml"/><Relationship Id="rId2" Type="http://schemas.openxmlformats.org/officeDocument/2006/relationships/slideLayout" Target="../slideLayouts/slideLayout7.xml"/><Relationship Id="rId1" Type="http://schemas.openxmlformats.org/officeDocument/2006/relationships/tags" Target="../tags/tag96.xml"/><Relationship Id="rId6" Type="http://schemas.openxmlformats.org/officeDocument/2006/relationships/chart" Target="../charts/chart191.xml"/><Relationship Id="rId5" Type="http://schemas.openxmlformats.org/officeDocument/2006/relationships/chart" Target="../charts/chart190.xml"/><Relationship Id="rId4" Type="http://schemas.openxmlformats.org/officeDocument/2006/relationships/image" Target="../media/image28.emf"/></Relationships>
</file>

<file path=ppt/slides/_rels/slide690.xml.rels><?xml version="1.0" encoding="UTF-8" standalone="yes"?>
<Relationships xmlns="http://schemas.openxmlformats.org/package/2006/relationships"><Relationship Id="rId3" Type="http://schemas.openxmlformats.org/officeDocument/2006/relationships/notesSlide" Target="../notesSlides/notesSlide62.xml"/><Relationship Id="rId2" Type="http://schemas.openxmlformats.org/officeDocument/2006/relationships/slideLayout" Target="../slideLayouts/slideLayout7.xml"/><Relationship Id="rId1" Type="http://schemas.openxmlformats.org/officeDocument/2006/relationships/tags" Target="../tags/tag71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691.xml.rels><?xml version="1.0" encoding="UTF-8" standalone="yes"?>
<Relationships xmlns="http://schemas.openxmlformats.org/package/2006/relationships"><Relationship Id="rId3" Type="http://schemas.openxmlformats.org/officeDocument/2006/relationships/notesSlide" Target="../notesSlides/notesSlide63.xml"/><Relationship Id="rId2" Type="http://schemas.openxmlformats.org/officeDocument/2006/relationships/slideLayout" Target="../slideLayouts/slideLayout7.xml"/><Relationship Id="rId1" Type="http://schemas.openxmlformats.org/officeDocument/2006/relationships/tags" Target="../tags/tag71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692.xml.rels><?xml version="1.0" encoding="UTF-8" standalone="yes"?>
<Relationships xmlns="http://schemas.openxmlformats.org/package/2006/relationships"><Relationship Id="rId3" Type="http://schemas.openxmlformats.org/officeDocument/2006/relationships/notesSlide" Target="../notesSlides/notesSlide64.xml"/><Relationship Id="rId2" Type="http://schemas.openxmlformats.org/officeDocument/2006/relationships/slideLayout" Target="../slideLayouts/slideLayout7.xml"/><Relationship Id="rId1" Type="http://schemas.openxmlformats.org/officeDocument/2006/relationships/tags" Target="../tags/tag71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693.xml.rels><?xml version="1.0" encoding="UTF-8" standalone="yes"?>
<Relationships xmlns="http://schemas.openxmlformats.org/package/2006/relationships"><Relationship Id="rId3" Type="http://schemas.openxmlformats.org/officeDocument/2006/relationships/notesSlide" Target="../notesSlides/notesSlide65.xml"/><Relationship Id="rId2" Type="http://schemas.openxmlformats.org/officeDocument/2006/relationships/slideLayout" Target="../slideLayouts/slideLayout7.xml"/><Relationship Id="rId1" Type="http://schemas.openxmlformats.org/officeDocument/2006/relationships/tags" Target="../tags/tag72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694.xml.rels><?xml version="1.0" encoding="UTF-8" standalone="yes"?>
<Relationships xmlns="http://schemas.openxmlformats.org/package/2006/relationships"><Relationship Id="rId3" Type="http://schemas.openxmlformats.org/officeDocument/2006/relationships/notesSlide" Target="../notesSlides/notesSlide66.xml"/><Relationship Id="rId2" Type="http://schemas.openxmlformats.org/officeDocument/2006/relationships/slideLayout" Target="../slideLayouts/slideLayout7.xml"/><Relationship Id="rId1" Type="http://schemas.openxmlformats.org/officeDocument/2006/relationships/tags" Target="../tags/tag72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695.xml.rels><?xml version="1.0" encoding="UTF-8" standalone="yes"?>
<Relationships xmlns="http://schemas.openxmlformats.org/package/2006/relationships"><Relationship Id="rId3" Type="http://schemas.openxmlformats.org/officeDocument/2006/relationships/notesSlide" Target="../notesSlides/notesSlide67.xml"/><Relationship Id="rId2" Type="http://schemas.openxmlformats.org/officeDocument/2006/relationships/slideLayout" Target="../slideLayouts/slideLayout7.xml"/><Relationship Id="rId1" Type="http://schemas.openxmlformats.org/officeDocument/2006/relationships/tags" Target="../tags/tag722.xml"/><Relationship Id="rId6" Type="http://schemas.openxmlformats.org/officeDocument/2006/relationships/chart" Target="../charts/chart80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696.xml.rels><?xml version="1.0" encoding="UTF-8" standalone="yes"?>
<Relationships xmlns="http://schemas.openxmlformats.org/package/2006/relationships"><Relationship Id="rId3" Type="http://schemas.openxmlformats.org/officeDocument/2006/relationships/notesSlide" Target="../notesSlides/notesSlide68.xml"/><Relationship Id="rId2" Type="http://schemas.openxmlformats.org/officeDocument/2006/relationships/slideLayout" Target="../slideLayouts/slideLayout7.xml"/><Relationship Id="rId1" Type="http://schemas.openxmlformats.org/officeDocument/2006/relationships/tags" Target="../tags/tag723.xml"/><Relationship Id="rId6" Type="http://schemas.openxmlformats.org/officeDocument/2006/relationships/chart" Target="../charts/chart80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697.xml.rels><?xml version="1.0" encoding="UTF-8" standalone="yes"?>
<Relationships xmlns="http://schemas.openxmlformats.org/package/2006/relationships"><Relationship Id="rId3" Type="http://schemas.openxmlformats.org/officeDocument/2006/relationships/notesSlide" Target="../notesSlides/notesSlide69.xml"/><Relationship Id="rId2" Type="http://schemas.openxmlformats.org/officeDocument/2006/relationships/slideLayout" Target="../slideLayouts/slideLayout7.xml"/><Relationship Id="rId1" Type="http://schemas.openxmlformats.org/officeDocument/2006/relationships/tags" Target="../tags/tag724.xml"/><Relationship Id="rId6" Type="http://schemas.openxmlformats.org/officeDocument/2006/relationships/chart" Target="../charts/chart81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698.xml.rels><?xml version="1.0" encoding="UTF-8" standalone="yes"?>
<Relationships xmlns="http://schemas.openxmlformats.org/package/2006/relationships"><Relationship Id="rId3" Type="http://schemas.openxmlformats.org/officeDocument/2006/relationships/notesSlide" Target="../notesSlides/notesSlide70.xml"/><Relationship Id="rId2" Type="http://schemas.openxmlformats.org/officeDocument/2006/relationships/slideLayout" Target="../slideLayouts/slideLayout7.xml"/><Relationship Id="rId1" Type="http://schemas.openxmlformats.org/officeDocument/2006/relationships/tags" Target="../tags/tag725.xml"/><Relationship Id="rId6" Type="http://schemas.openxmlformats.org/officeDocument/2006/relationships/chart" Target="../charts/chart81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699.xml.rels><?xml version="1.0" encoding="UTF-8" standalone="yes"?>
<Relationships xmlns="http://schemas.openxmlformats.org/package/2006/relationships"><Relationship Id="rId3" Type="http://schemas.openxmlformats.org/officeDocument/2006/relationships/notesSlide" Target="../notesSlides/notesSlide71.xml"/><Relationship Id="rId2" Type="http://schemas.openxmlformats.org/officeDocument/2006/relationships/slideLayout" Target="../slideLayouts/slideLayout7.xml"/><Relationship Id="rId1" Type="http://schemas.openxmlformats.org/officeDocument/2006/relationships/tags" Target="../tags/tag726.xml"/><Relationship Id="rId6" Type="http://schemas.openxmlformats.org/officeDocument/2006/relationships/chart" Target="../charts/chart81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xml"/><Relationship Id="rId5" Type="http://schemas.openxmlformats.org/officeDocument/2006/relationships/chart" Target="../charts/chart7.xml"/><Relationship Id="rId4" Type="http://schemas.openxmlformats.org/officeDocument/2006/relationships/image" Target="../media/image28.emf"/></Relationships>
</file>

<file path=ppt/slides/_rels/slide70.xml.rels><?xml version="1.0" encoding="UTF-8" standalone="yes"?>
<Relationships xmlns="http://schemas.openxmlformats.org/package/2006/relationships"><Relationship Id="rId8" Type="http://schemas.openxmlformats.org/officeDocument/2006/relationships/chart" Target="../charts/chart196.xml"/><Relationship Id="rId3" Type="http://schemas.openxmlformats.org/officeDocument/2006/relationships/oleObject" Target="../embeddings/oleObject27.bin"/><Relationship Id="rId7" Type="http://schemas.openxmlformats.org/officeDocument/2006/relationships/chart" Target="../charts/chart195.xml"/><Relationship Id="rId2" Type="http://schemas.openxmlformats.org/officeDocument/2006/relationships/slideLayout" Target="../slideLayouts/slideLayout7.xml"/><Relationship Id="rId1" Type="http://schemas.openxmlformats.org/officeDocument/2006/relationships/tags" Target="../tags/tag97.xml"/><Relationship Id="rId6" Type="http://schemas.openxmlformats.org/officeDocument/2006/relationships/chart" Target="../charts/chart194.xml"/><Relationship Id="rId5" Type="http://schemas.openxmlformats.org/officeDocument/2006/relationships/chart" Target="../charts/chart193.xml"/><Relationship Id="rId4" Type="http://schemas.openxmlformats.org/officeDocument/2006/relationships/image" Target="../media/image28.emf"/></Relationships>
</file>

<file path=ppt/slides/_rels/slide700.xml.rels><?xml version="1.0" encoding="UTF-8" standalone="yes"?>
<Relationships xmlns="http://schemas.openxmlformats.org/package/2006/relationships"><Relationship Id="rId3" Type="http://schemas.openxmlformats.org/officeDocument/2006/relationships/notesSlide" Target="../notesSlides/notesSlide72.xml"/><Relationship Id="rId2" Type="http://schemas.openxmlformats.org/officeDocument/2006/relationships/slideLayout" Target="../slideLayouts/slideLayout7.xml"/><Relationship Id="rId1" Type="http://schemas.openxmlformats.org/officeDocument/2006/relationships/tags" Target="../tags/tag727.xml"/><Relationship Id="rId6" Type="http://schemas.openxmlformats.org/officeDocument/2006/relationships/chart" Target="../charts/chart81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01.xml.rels><?xml version="1.0" encoding="UTF-8" standalone="yes"?>
<Relationships xmlns="http://schemas.openxmlformats.org/package/2006/relationships"><Relationship Id="rId3" Type="http://schemas.openxmlformats.org/officeDocument/2006/relationships/notesSlide" Target="../notesSlides/notesSlide73.xml"/><Relationship Id="rId2" Type="http://schemas.openxmlformats.org/officeDocument/2006/relationships/slideLayout" Target="../slideLayouts/slideLayout7.xml"/><Relationship Id="rId1" Type="http://schemas.openxmlformats.org/officeDocument/2006/relationships/tags" Target="../tags/tag728.xml"/><Relationship Id="rId6" Type="http://schemas.openxmlformats.org/officeDocument/2006/relationships/chart" Target="../charts/chart81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02.xml.rels><?xml version="1.0" encoding="UTF-8" standalone="yes"?>
<Relationships xmlns="http://schemas.openxmlformats.org/package/2006/relationships"><Relationship Id="rId3" Type="http://schemas.openxmlformats.org/officeDocument/2006/relationships/notesSlide" Target="../notesSlides/notesSlide74.xml"/><Relationship Id="rId2" Type="http://schemas.openxmlformats.org/officeDocument/2006/relationships/slideLayout" Target="../slideLayouts/slideLayout7.xml"/><Relationship Id="rId1" Type="http://schemas.openxmlformats.org/officeDocument/2006/relationships/tags" Target="../tags/tag729.xml"/><Relationship Id="rId6" Type="http://schemas.openxmlformats.org/officeDocument/2006/relationships/chart" Target="../charts/chart81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03.xml.rels><?xml version="1.0" encoding="UTF-8" standalone="yes"?>
<Relationships xmlns="http://schemas.openxmlformats.org/package/2006/relationships"><Relationship Id="rId3" Type="http://schemas.openxmlformats.org/officeDocument/2006/relationships/notesSlide" Target="../notesSlides/notesSlide75.xml"/><Relationship Id="rId2" Type="http://schemas.openxmlformats.org/officeDocument/2006/relationships/slideLayout" Target="../slideLayouts/slideLayout7.xml"/><Relationship Id="rId1" Type="http://schemas.openxmlformats.org/officeDocument/2006/relationships/tags" Target="../tags/tag730.xml"/><Relationship Id="rId6" Type="http://schemas.openxmlformats.org/officeDocument/2006/relationships/chart" Target="../charts/chart81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04.xml.rels><?xml version="1.0" encoding="UTF-8" standalone="yes"?>
<Relationships xmlns="http://schemas.openxmlformats.org/package/2006/relationships"><Relationship Id="rId3" Type="http://schemas.openxmlformats.org/officeDocument/2006/relationships/notesSlide" Target="../notesSlides/notesSlide76.xml"/><Relationship Id="rId2" Type="http://schemas.openxmlformats.org/officeDocument/2006/relationships/slideLayout" Target="../slideLayouts/slideLayout7.xml"/><Relationship Id="rId1" Type="http://schemas.openxmlformats.org/officeDocument/2006/relationships/tags" Target="../tags/tag731.xml"/><Relationship Id="rId6" Type="http://schemas.openxmlformats.org/officeDocument/2006/relationships/chart" Target="../charts/chart81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05.xml.rels><?xml version="1.0" encoding="UTF-8" standalone="yes"?>
<Relationships xmlns="http://schemas.openxmlformats.org/package/2006/relationships"><Relationship Id="rId3" Type="http://schemas.openxmlformats.org/officeDocument/2006/relationships/notesSlide" Target="../notesSlides/notesSlide77.xml"/><Relationship Id="rId2" Type="http://schemas.openxmlformats.org/officeDocument/2006/relationships/slideLayout" Target="../slideLayouts/slideLayout7.xml"/><Relationship Id="rId1" Type="http://schemas.openxmlformats.org/officeDocument/2006/relationships/tags" Target="../tags/tag732.xml"/><Relationship Id="rId6" Type="http://schemas.openxmlformats.org/officeDocument/2006/relationships/chart" Target="../charts/chart81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06.xml.rels><?xml version="1.0" encoding="UTF-8" standalone="yes"?>
<Relationships xmlns="http://schemas.openxmlformats.org/package/2006/relationships"><Relationship Id="rId3" Type="http://schemas.openxmlformats.org/officeDocument/2006/relationships/notesSlide" Target="../notesSlides/notesSlide78.xml"/><Relationship Id="rId2" Type="http://schemas.openxmlformats.org/officeDocument/2006/relationships/slideLayout" Target="../slideLayouts/slideLayout7.xml"/><Relationship Id="rId1" Type="http://schemas.openxmlformats.org/officeDocument/2006/relationships/tags" Target="../tags/tag733.xml"/><Relationship Id="rId6" Type="http://schemas.openxmlformats.org/officeDocument/2006/relationships/chart" Target="../charts/chart81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07.xml.rels><?xml version="1.0" encoding="UTF-8" standalone="yes"?>
<Relationships xmlns="http://schemas.openxmlformats.org/package/2006/relationships"><Relationship Id="rId3" Type="http://schemas.openxmlformats.org/officeDocument/2006/relationships/notesSlide" Target="../notesSlides/notesSlide79.xml"/><Relationship Id="rId2" Type="http://schemas.openxmlformats.org/officeDocument/2006/relationships/slideLayout" Target="../slideLayouts/slideLayout7.xml"/><Relationship Id="rId1" Type="http://schemas.openxmlformats.org/officeDocument/2006/relationships/tags" Target="../tags/tag734.xml"/><Relationship Id="rId6" Type="http://schemas.openxmlformats.org/officeDocument/2006/relationships/chart" Target="../charts/chart82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08.xml.rels><?xml version="1.0" encoding="UTF-8" standalone="yes"?>
<Relationships xmlns="http://schemas.openxmlformats.org/package/2006/relationships"><Relationship Id="rId3" Type="http://schemas.openxmlformats.org/officeDocument/2006/relationships/notesSlide" Target="../notesSlides/notesSlide80.xml"/><Relationship Id="rId2" Type="http://schemas.openxmlformats.org/officeDocument/2006/relationships/slideLayout" Target="../slideLayouts/slideLayout7.xml"/><Relationship Id="rId1" Type="http://schemas.openxmlformats.org/officeDocument/2006/relationships/tags" Target="../tags/tag735.xml"/><Relationship Id="rId6" Type="http://schemas.openxmlformats.org/officeDocument/2006/relationships/chart" Target="../charts/chart82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09.xml.rels><?xml version="1.0" encoding="UTF-8" standalone="yes"?>
<Relationships xmlns="http://schemas.openxmlformats.org/package/2006/relationships"><Relationship Id="rId3" Type="http://schemas.openxmlformats.org/officeDocument/2006/relationships/notesSlide" Target="../notesSlides/notesSlide81.xml"/><Relationship Id="rId2" Type="http://schemas.openxmlformats.org/officeDocument/2006/relationships/slideLayout" Target="../slideLayouts/slideLayout7.xml"/><Relationship Id="rId1" Type="http://schemas.openxmlformats.org/officeDocument/2006/relationships/tags" Target="../tags/tag736.xml"/><Relationship Id="rId6" Type="http://schemas.openxmlformats.org/officeDocument/2006/relationships/chart" Target="../charts/chart82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1.xml.rels><?xml version="1.0" encoding="UTF-8" standalone="yes"?>
<Relationships xmlns="http://schemas.openxmlformats.org/package/2006/relationships"><Relationship Id="rId8" Type="http://schemas.openxmlformats.org/officeDocument/2006/relationships/chart" Target="../charts/chart200.xml"/><Relationship Id="rId3" Type="http://schemas.openxmlformats.org/officeDocument/2006/relationships/oleObject" Target="../embeddings/oleObject27.bin"/><Relationship Id="rId7" Type="http://schemas.openxmlformats.org/officeDocument/2006/relationships/chart" Target="../charts/chart199.xml"/><Relationship Id="rId2" Type="http://schemas.openxmlformats.org/officeDocument/2006/relationships/slideLayout" Target="../slideLayouts/slideLayout7.xml"/><Relationship Id="rId1" Type="http://schemas.openxmlformats.org/officeDocument/2006/relationships/tags" Target="../tags/tag98.xml"/><Relationship Id="rId6" Type="http://schemas.openxmlformats.org/officeDocument/2006/relationships/chart" Target="../charts/chart198.xml"/><Relationship Id="rId5" Type="http://schemas.openxmlformats.org/officeDocument/2006/relationships/chart" Target="../charts/chart197.xml"/><Relationship Id="rId4" Type="http://schemas.openxmlformats.org/officeDocument/2006/relationships/image" Target="../media/image28.emf"/></Relationships>
</file>

<file path=ppt/slides/_rels/slide710.xml.rels><?xml version="1.0" encoding="UTF-8" standalone="yes"?>
<Relationships xmlns="http://schemas.openxmlformats.org/package/2006/relationships"><Relationship Id="rId3" Type="http://schemas.openxmlformats.org/officeDocument/2006/relationships/notesSlide" Target="../notesSlides/notesSlide82.xml"/><Relationship Id="rId2" Type="http://schemas.openxmlformats.org/officeDocument/2006/relationships/slideLayout" Target="../slideLayouts/slideLayout7.xml"/><Relationship Id="rId1" Type="http://schemas.openxmlformats.org/officeDocument/2006/relationships/tags" Target="../tags/tag737.xml"/><Relationship Id="rId6" Type="http://schemas.openxmlformats.org/officeDocument/2006/relationships/chart" Target="../charts/chart82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11.xml.rels><?xml version="1.0" encoding="UTF-8" standalone="yes"?>
<Relationships xmlns="http://schemas.openxmlformats.org/package/2006/relationships"><Relationship Id="rId3" Type="http://schemas.openxmlformats.org/officeDocument/2006/relationships/notesSlide" Target="../notesSlides/notesSlide83.xml"/><Relationship Id="rId2" Type="http://schemas.openxmlformats.org/officeDocument/2006/relationships/slideLayout" Target="../slideLayouts/slideLayout7.xml"/><Relationship Id="rId1" Type="http://schemas.openxmlformats.org/officeDocument/2006/relationships/tags" Target="../tags/tag738.xml"/><Relationship Id="rId6" Type="http://schemas.openxmlformats.org/officeDocument/2006/relationships/chart" Target="../charts/chart82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12.xml.rels><?xml version="1.0" encoding="UTF-8" standalone="yes"?>
<Relationships xmlns="http://schemas.openxmlformats.org/package/2006/relationships"><Relationship Id="rId3" Type="http://schemas.openxmlformats.org/officeDocument/2006/relationships/notesSlide" Target="../notesSlides/notesSlide84.xml"/><Relationship Id="rId2" Type="http://schemas.openxmlformats.org/officeDocument/2006/relationships/slideLayout" Target="../slideLayouts/slideLayout7.xml"/><Relationship Id="rId1" Type="http://schemas.openxmlformats.org/officeDocument/2006/relationships/tags" Target="../tags/tag739.xml"/><Relationship Id="rId6" Type="http://schemas.openxmlformats.org/officeDocument/2006/relationships/chart" Target="../charts/chart82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13.xml.rels><?xml version="1.0" encoding="UTF-8" standalone="yes"?>
<Relationships xmlns="http://schemas.openxmlformats.org/package/2006/relationships"><Relationship Id="rId3" Type="http://schemas.openxmlformats.org/officeDocument/2006/relationships/notesSlide" Target="../notesSlides/notesSlide85.xml"/><Relationship Id="rId2" Type="http://schemas.openxmlformats.org/officeDocument/2006/relationships/slideLayout" Target="../slideLayouts/slideLayout7.xml"/><Relationship Id="rId1" Type="http://schemas.openxmlformats.org/officeDocument/2006/relationships/tags" Target="../tags/tag740.xml"/><Relationship Id="rId6" Type="http://schemas.openxmlformats.org/officeDocument/2006/relationships/chart" Target="../charts/chart82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14.xml.rels><?xml version="1.0" encoding="UTF-8" standalone="yes"?>
<Relationships xmlns="http://schemas.openxmlformats.org/package/2006/relationships"><Relationship Id="rId3" Type="http://schemas.openxmlformats.org/officeDocument/2006/relationships/notesSlide" Target="../notesSlides/notesSlide86.xml"/><Relationship Id="rId2" Type="http://schemas.openxmlformats.org/officeDocument/2006/relationships/slideLayout" Target="../slideLayouts/slideLayout7.xml"/><Relationship Id="rId1" Type="http://schemas.openxmlformats.org/officeDocument/2006/relationships/tags" Target="../tags/tag741.xml"/><Relationship Id="rId6" Type="http://schemas.openxmlformats.org/officeDocument/2006/relationships/chart" Target="../charts/chart82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15.xml.rels><?xml version="1.0" encoding="UTF-8" standalone="yes"?>
<Relationships xmlns="http://schemas.openxmlformats.org/package/2006/relationships"><Relationship Id="rId3" Type="http://schemas.openxmlformats.org/officeDocument/2006/relationships/notesSlide" Target="../notesSlides/notesSlide87.xml"/><Relationship Id="rId2" Type="http://schemas.openxmlformats.org/officeDocument/2006/relationships/slideLayout" Target="../slideLayouts/slideLayout7.xml"/><Relationship Id="rId1" Type="http://schemas.openxmlformats.org/officeDocument/2006/relationships/tags" Target="../tags/tag742.xml"/><Relationship Id="rId6" Type="http://schemas.openxmlformats.org/officeDocument/2006/relationships/chart" Target="../charts/chart82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16.xml.rels><?xml version="1.0" encoding="UTF-8" standalone="yes"?>
<Relationships xmlns="http://schemas.openxmlformats.org/package/2006/relationships"><Relationship Id="rId3" Type="http://schemas.openxmlformats.org/officeDocument/2006/relationships/notesSlide" Target="../notesSlides/notesSlide88.xml"/><Relationship Id="rId2" Type="http://schemas.openxmlformats.org/officeDocument/2006/relationships/slideLayout" Target="../slideLayouts/slideLayout7.xml"/><Relationship Id="rId1" Type="http://schemas.openxmlformats.org/officeDocument/2006/relationships/tags" Target="../tags/tag743.xml"/><Relationship Id="rId6" Type="http://schemas.openxmlformats.org/officeDocument/2006/relationships/chart" Target="../charts/chart82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17.xml.rels><?xml version="1.0" encoding="UTF-8" standalone="yes"?>
<Relationships xmlns="http://schemas.openxmlformats.org/package/2006/relationships"><Relationship Id="rId3" Type="http://schemas.openxmlformats.org/officeDocument/2006/relationships/notesSlide" Target="../notesSlides/notesSlide89.xml"/><Relationship Id="rId2" Type="http://schemas.openxmlformats.org/officeDocument/2006/relationships/slideLayout" Target="../slideLayouts/slideLayout7.xml"/><Relationship Id="rId1" Type="http://schemas.openxmlformats.org/officeDocument/2006/relationships/tags" Target="../tags/tag744.xml"/><Relationship Id="rId6" Type="http://schemas.openxmlformats.org/officeDocument/2006/relationships/chart" Target="../charts/chart83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18.xml.rels><?xml version="1.0" encoding="UTF-8" standalone="yes"?>
<Relationships xmlns="http://schemas.openxmlformats.org/package/2006/relationships"><Relationship Id="rId3" Type="http://schemas.openxmlformats.org/officeDocument/2006/relationships/notesSlide" Target="../notesSlides/notesSlide90.xml"/><Relationship Id="rId2" Type="http://schemas.openxmlformats.org/officeDocument/2006/relationships/slideLayout" Target="../slideLayouts/slideLayout7.xml"/><Relationship Id="rId1" Type="http://schemas.openxmlformats.org/officeDocument/2006/relationships/tags" Target="../tags/tag745.xml"/><Relationship Id="rId6" Type="http://schemas.openxmlformats.org/officeDocument/2006/relationships/chart" Target="../charts/chart83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19.xml.rels><?xml version="1.0" encoding="UTF-8" standalone="yes"?>
<Relationships xmlns="http://schemas.openxmlformats.org/package/2006/relationships"><Relationship Id="rId3" Type="http://schemas.openxmlformats.org/officeDocument/2006/relationships/notesSlide" Target="../notesSlides/notesSlide91.xml"/><Relationship Id="rId2" Type="http://schemas.openxmlformats.org/officeDocument/2006/relationships/slideLayout" Target="../slideLayouts/slideLayout7.xml"/><Relationship Id="rId1" Type="http://schemas.openxmlformats.org/officeDocument/2006/relationships/tags" Target="../tags/tag746.xml"/><Relationship Id="rId6" Type="http://schemas.openxmlformats.org/officeDocument/2006/relationships/chart" Target="../charts/chart83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03.xml"/><Relationship Id="rId2" Type="http://schemas.openxmlformats.org/officeDocument/2006/relationships/slideLayout" Target="../slideLayouts/slideLayout7.xml"/><Relationship Id="rId1" Type="http://schemas.openxmlformats.org/officeDocument/2006/relationships/tags" Target="../tags/tag99.xml"/><Relationship Id="rId6" Type="http://schemas.openxmlformats.org/officeDocument/2006/relationships/chart" Target="../charts/chart202.xml"/><Relationship Id="rId5" Type="http://schemas.openxmlformats.org/officeDocument/2006/relationships/chart" Target="../charts/chart201.xml"/><Relationship Id="rId4" Type="http://schemas.openxmlformats.org/officeDocument/2006/relationships/image" Target="../media/image28.emf"/></Relationships>
</file>

<file path=ppt/slides/_rels/slide720.xml.rels><?xml version="1.0" encoding="UTF-8" standalone="yes"?>
<Relationships xmlns="http://schemas.openxmlformats.org/package/2006/relationships"><Relationship Id="rId3" Type="http://schemas.openxmlformats.org/officeDocument/2006/relationships/notesSlide" Target="../notesSlides/notesSlide92.xml"/><Relationship Id="rId2" Type="http://schemas.openxmlformats.org/officeDocument/2006/relationships/slideLayout" Target="../slideLayouts/slideLayout7.xml"/><Relationship Id="rId1" Type="http://schemas.openxmlformats.org/officeDocument/2006/relationships/tags" Target="../tags/tag747.xml"/><Relationship Id="rId6" Type="http://schemas.openxmlformats.org/officeDocument/2006/relationships/chart" Target="../charts/chart83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21.xml.rels><?xml version="1.0" encoding="UTF-8" standalone="yes"?>
<Relationships xmlns="http://schemas.openxmlformats.org/package/2006/relationships"><Relationship Id="rId3" Type="http://schemas.openxmlformats.org/officeDocument/2006/relationships/notesSlide" Target="../notesSlides/notesSlide93.xml"/><Relationship Id="rId2" Type="http://schemas.openxmlformats.org/officeDocument/2006/relationships/slideLayout" Target="../slideLayouts/slideLayout7.xml"/><Relationship Id="rId1" Type="http://schemas.openxmlformats.org/officeDocument/2006/relationships/tags" Target="../tags/tag748.xml"/><Relationship Id="rId6" Type="http://schemas.openxmlformats.org/officeDocument/2006/relationships/chart" Target="../charts/chart83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22.xml.rels><?xml version="1.0" encoding="UTF-8" standalone="yes"?>
<Relationships xmlns="http://schemas.openxmlformats.org/package/2006/relationships"><Relationship Id="rId3" Type="http://schemas.openxmlformats.org/officeDocument/2006/relationships/notesSlide" Target="../notesSlides/notesSlide94.xml"/><Relationship Id="rId2" Type="http://schemas.openxmlformats.org/officeDocument/2006/relationships/slideLayout" Target="../slideLayouts/slideLayout7.xml"/><Relationship Id="rId1" Type="http://schemas.openxmlformats.org/officeDocument/2006/relationships/tags" Target="../tags/tag749.xml"/><Relationship Id="rId6" Type="http://schemas.openxmlformats.org/officeDocument/2006/relationships/chart" Target="../charts/chart83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23.xml.rels><?xml version="1.0" encoding="UTF-8" standalone="yes"?>
<Relationships xmlns="http://schemas.openxmlformats.org/package/2006/relationships"><Relationship Id="rId3" Type="http://schemas.openxmlformats.org/officeDocument/2006/relationships/notesSlide" Target="../notesSlides/notesSlide95.xml"/><Relationship Id="rId2" Type="http://schemas.openxmlformats.org/officeDocument/2006/relationships/slideLayout" Target="../slideLayouts/slideLayout7.xml"/><Relationship Id="rId1" Type="http://schemas.openxmlformats.org/officeDocument/2006/relationships/tags" Target="../tags/tag750.xml"/><Relationship Id="rId6" Type="http://schemas.openxmlformats.org/officeDocument/2006/relationships/chart" Target="../charts/chart83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24.xml.rels><?xml version="1.0" encoding="UTF-8" standalone="yes"?>
<Relationships xmlns="http://schemas.openxmlformats.org/package/2006/relationships"><Relationship Id="rId3" Type="http://schemas.openxmlformats.org/officeDocument/2006/relationships/notesSlide" Target="../notesSlides/notesSlide96.xml"/><Relationship Id="rId2" Type="http://schemas.openxmlformats.org/officeDocument/2006/relationships/slideLayout" Target="../slideLayouts/slideLayout7.xml"/><Relationship Id="rId1" Type="http://schemas.openxmlformats.org/officeDocument/2006/relationships/tags" Target="../tags/tag751.xml"/><Relationship Id="rId6" Type="http://schemas.openxmlformats.org/officeDocument/2006/relationships/chart" Target="../charts/chart83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25.xml.rels><?xml version="1.0" encoding="UTF-8" standalone="yes"?>
<Relationships xmlns="http://schemas.openxmlformats.org/package/2006/relationships"><Relationship Id="rId3" Type="http://schemas.openxmlformats.org/officeDocument/2006/relationships/notesSlide" Target="../notesSlides/notesSlide97.xml"/><Relationship Id="rId2" Type="http://schemas.openxmlformats.org/officeDocument/2006/relationships/slideLayout" Target="../slideLayouts/slideLayout7.xml"/><Relationship Id="rId1" Type="http://schemas.openxmlformats.org/officeDocument/2006/relationships/tags" Target="../tags/tag752.xml"/><Relationship Id="rId6" Type="http://schemas.openxmlformats.org/officeDocument/2006/relationships/chart" Target="../charts/chart83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26.xml.rels><?xml version="1.0" encoding="UTF-8" standalone="yes"?>
<Relationships xmlns="http://schemas.openxmlformats.org/package/2006/relationships"><Relationship Id="rId3" Type="http://schemas.openxmlformats.org/officeDocument/2006/relationships/notesSlide" Target="../notesSlides/notesSlide98.xml"/><Relationship Id="rId2" Type="http://schemas.openxmlformats.org/officeDocument/2006/relationships/slideLayout" Target="../slideLayouts/slideLayout7.xml"/><Relationship Id="rId1" Type="http://schemas.openxmlformats.org/officeDocument/2006/relationships/tags" Target="../tags/tag753.xml"/><Relationship Id="rId6" Type="http://schemas.openxmlformats.org/officeDocument/2006/relationships/chart" Target="../charts/chart83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27.xml.rels><?xml version="1.0" encoding="UTF-8" standalone="yes"?>
<Relationships xmlns="http://schemas.openxmlformats.org/package/2006/relationships"><Relationship Id="rId3" Type="http://schemas.openxmlformats.org/officeDocument/2006/relationships/notesSlide" Target="../notesSlides/notesSlide99.xml"/><Relationship Id="rId2" Type="http://schemas.openxmlformats.org/officeDocument/2006/relationships/slideLayout" Target="../slideLayouts/slideLayout7.xml"/><Relationship Id="rId1" Type="http://schemas.openxmlformats.org/officeDocument/2006/relationships/tags" Target="../tags/tag754.xml"/><Relationship Id="rId6" Type="http://schemas.openxmlformats.org/officeDocument/2006/relationships/chart" Target="../charts/chart84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28.xml.rels><?xml version="1.0" encoding="UTF-8" standalone="yes"?>
<Relationships xmlns="http://schemas.openxmlformats.org/package/2006/relationships"><Relationship Id="rId3" Type="http://schemas.openxmlformats.org/officeDocument/2006/relationships/notesSlide" Target="../notesSlides/notesSlide100.xml"/><Relationship Id="rId2" Type="http://schemas.openxmlformats.org/officeDocument/2006/relationships/slideLayout" Target="../slideLayouts/slideLayout7.xml"/><Relationship Id="rId1" Type="http://schemas.openxmlformats.org/officeDocument/2006/relationships/tags" Target="../tags/tag755.xml"/><Relationship Id="rId6" Type="http://schemas.openxmlformats.org/officeDocument/2006/relationships/chart" Target="../charts/chart84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29.xml.rels><?xml version="1.0" encoding="UTF-8" standalone="yes"?>
<Relationships xmlns="http://schemas.openxmlformats.org/package/2006/relationships"><Relationship Id="rId3" Type="http://schemas.openxmlformats.org/officeDocument/2006/relationships/notesSlide" Target="../notesSlides/notesSlide101.xml"/><Relationship Id="rId2" Type="http://schemas.openxmlformats.org/officeDocument/2006/relationships/slideLayout" Target="../slideLayouts/slideLayout7.xml"/><Relationship Id="rId1" Type="http://schemas.openxmlformats.org/officeDocument/2006/relationships/tags" Target="../tags/tag756.xml"/><Relationship Id="rId6" Type="http://schemas.openxmlformats.org/officeDocument/2006/relationships/chart" Target="../charts/chart84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3.xml.rels><?xml version="1.0" encoding="UTF-8" standalone="yes"?>
<Relationships xmlns="http://schemas.openxmlformats.org/package/2006/relationships"><Relationship Id="rId8" Type="http://schemas.openxmlformats.org/officeDocument/2006/relationships/chart" Target="../charts/chart207.xml"/><Relationship Id="rId3" Type="http://schemas.openxmlformats.org/officeDocument/2006/relationships/oleObject" Target="../embeddings/oleObject27.bin"/><Relationship Id="rId7" Type="http://schemas.openxmlformats.org/officeDocument/2006/relationships/chart" Target="../charts/chart206.xml"/><Relationship Id="rId2" Type="http://schemas.openxmlformats.org/officeDocument/2006/relationships/slideLayout" Target="../slideLayouts/slideLayout7.xml"/><Relationship Id="rId1" Type="http://schemas.openxmlformats.org/officeDocument/2006/relationships/tags" Target="../tags/tag100.xml"/><Relationship Id="rId6" Type="http://schemas.openxmlformats.org/officeDocument/2006/relationships/chart" Target="../charts/chart205.xml"/><Relationship Id="rId5" Type="http://schemas.openxmlformats.org/officeDocument/2006/relationships/chart" Target="../charts/chart204.xml"/><Relationship Id="rId4" Type="http://schemas.openxmlformats.org/officeDocument/2006/relationships/image" Target="../media/image28.emf"/></Relationships>
</file>

<file path=ppt/slides/_rels/slide730.xml.rels><?xml version="1.0" encoding="UTF-8" standalone="yes"?>
<Relationships xmlns="http://schemas.openxmlformats.org/package/2006/relationships"><Relationship Id="rId3" Type="http://schemas.openxmlformats.org/officeDocument/2006/relationships/notesSlide" Target="../notesSlides/notesSlide102.xml"/><Relationship Id="rId2" Type="http://schemas.openxmlformats.org/officeDocument/2006/relationships/slideLayout" Target="../slideLayouts/slideLayout7.xml"/><Relationship Id="rId1" Type="http://schemas.openxmlformats.org/officeDocument/2006/relationships/tags" Target="../tags/tag757.xml"/><Relationship Id="rId6" Type="http://schemas.openxmlformats.org/officeDocument/2006/relationships/chart" Target="../charts/chart84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31.xml.rels><?xml version="1.0" encoding="UTF-8" standalone="yes"?>
<Relationships xmlns="http://schemas.openxmlformats.org/package/2006/relationships"><Relationship Id="rId3" Type="http://schemas.openxmlformats.org/officeDocument/2006/relationships/notesSlide" Target="../notesSlides/notesSlide103.xml"/><Relationship Id="rId2" Type="http://schemas.openxmlformats.org/officeDocument/2006/relationships/slideLayout" Target="../slideLayouts/slideLayout7.xml"/><Relationship Id="rId1" Type="http://schemas.openxmlformats.org/officeDocument/2006/relationships/tags" Target="../tags/tag758.xml"/><Relationship Id="rId6" Type="http://schemas.openxmlformats.org/officeDocument/2006/relationships/chart" Target="../charts/chart84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32.xml.rels><?xml version="1.0" encoding="UTF-8" standalone="yes"?>
<Relationships xmlns="http://schemas.openxmlformats.org/package/2006/relationships"><Relationship Id="rId3" Type="http://schemas.openxmlformats.org/officeDocument/2006/relationships/notesSlide" Target="../notesSlides/notesSlide104.xml"/><Relationship Id="rId2" Type="http://schemas.openxmlformats.org/officeDocument/2006/relationships/slideLayout" Target="../slideLayouts/slideLayout7.xml"/><Relationship Id="rId1" Type="http://schemas.openxmlformats.org/officeDocument/2006/relationships/tags" Target="../tags/tag759.xml"/><Relationship Id="rId6" Type="http://schemas.openxmlformats.org/officeDocument/2006/relationships/chart" Target="../charts/chart84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33.xml.rels><?xml version="1.0" encoding="UTF-8" standalone="yes"?>
<Relationships xmlns="http://schemas.openxmlformats.org/package/2006/relationships"><Relationship Id="rId3" Type="http://schemas.openxmlformats.org/officeDocument/2006/relationships/notesSlide" Target="../notesSlides/notesSlide105.xml"/><Relationship Id="rId2" Type="http://schemas.openxmlformats.org/officeDocument/2006/relationships/slideLayout" Target="../slideLayouts/slideLayout7.xml"/><Relationship Id="rId1" Type="http://schemas.openxmlformats.org/officeDocument/2006/relationships/tags" Target="../tags/tag760.xml"/><Relationship Id="rId6" Type="http://schemas.openxmlformats.org/officeDocument/2006/relationships/chart" Target="../charts/chart84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34.xml.rels><?xml version="1.0" encoding="UTF-8" standalone="yes"?>
<Relationships xmlns="http://schemas.openxmlformats.org/package/2006/relationships"><Relationship Id="rId3" Type="http://schemas.openxmlformats.org/officeDocument/2006/relationships/notesSlide" Target="../notesSlides/notesSlide106.xml"/><Relationship Id="rId2" Type="http://schemas.openxmlformats.org/officeDocument/2006/relationships/slideLayout" Target="../slideLayouts/slideLayout7.xml"/><Relationship Id="rId1" Type="http://schemas.openxmlformats.org/officeDocument/2006/relationships/tags" Target="../tags/tag761.xml"/><Relationship Id="rId6" Type="http://schemas.openxmlformats.org/officeDocument/2006/relationships/chart" Target="../charts/chart84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35.xml.rels><?xml version="1.0" encoding="UTF-8" standalone="yes"?>
<Relationships xmlns="http://schemas.openxmlformats.org/package/2006/relationships"><Relationship Id="rId3" Type="http://schemas.openxmlformats.org/officeDocument/2006/relationships/notesSlide" Target="../notesSlides/notesSlide107.xml"/><Relationship Id="rId2" Type="http://schemas.openxmlformats.org/officeDocument/2006/relationships/slideLayout" Target="../slideLayouts/slideLayout7.xml"/><Relationship Id="rId1" Type="http://schemas.openxmlformats.org/officeDocument/2006/relationships/tags" Target="../tags/tag762.xml"/><Relationship Id="rId6" Type="http://schemas.openxmlformats.org/officeDocument/2006/relationships/chart" Target="../charts/chart84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36.xml.rels><?xml version="1.0" encoding="UTF-8" standalone="yes"?>
<Relationships xmlns="http://schemas.openxmlformats.org/package/2006/relationships"><Relationship Id="rId3" Type="http://schemas.openxmlformats.org/officeDocument/2006/relationships/notesSlide" Target="../notesSlides/notesSlide108.xml"/><Relationship Id="rId2" Type="http://schemas.openxmlformats.org/officeDocument/2006/relationships/slideLayout" Target="../slideLayouts/slideLayout7.xml"/><Relationship Id="rId1" Type="http://schemas.openxmlformats.org/officeDocument/2006/relationships/tags" Target="../tags/tag763.xml"/><Relationship Id="rId6" Type="http://schemas.openxmlformats.org/officeDocument/2006/relationships/chart" Target="../charts/chart84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37.xml.rels><?xml version="1.0" encoding="UTF-8" standalone="yes"?>
<Relationships xmlns="http://schemas.openxmlformats.org/package/2006/relationships"><Relationship Id="rId3" Type="http://schemas.openxmlformats.org/officeDocument/2006/relationships/notesSlide" Target="../notesSlides/notesSlide109.xml"/><Relationship Id="rId2" Type="http://schemas.openxmlformats.org/officeDocument/2006/relationships/slideLayout" Target="../slideLayouts/slideLayout7.xml"/><Relationship Id="rId1" Type="http://schemas.openxmlformats.org/officeDocument/2006/relationships/tags" Target="../tags/tag764.xml"/><Relationship Id="rId6" Type="http://schemas.openxmlformats.org/officeDocument/2006/relationships/chart" Target="../charts/chart85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38.xml.rels><?xml version="1.0" encoding="UTF-8" standalone="yes"?>
<Relationships xmlns="http://schemas.openxmlformats.org/package/2006/relationships"><Relationship Id="rId3" Type="http://schemas.openxmlformats.org/officeDocument/2006/relationships/notesSlide" Target="../notesSlides/notesSlide110.xml"/><Relationship Id="rId2" Type="http://schemas.openxmlformats.org/officeDocument/2006/relationships/slideLayout" Target="../slideLayouts/slideLayout7.xml"/><Relationship Id="rId1" Type="http://schemas.openxmlformats.org/officeDocument/2006/relationships/tags" Target="../tags/tag765.xml"/><Relationship Id="rId6" Type="http://schemas.openxmlformats.org/officeDocument/2006/relationships/chart" Target="../charts/chart85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39.xml.rels><?xml version="1.0" encoding="UTF-8" standalone="yes"?>
<Relationships xmlns="http://schemas.openxmlformats.org/package/2006/relationships"><Relationship Id="rId3" Type="http://schemas.openxmlformats.org/officeDocument/2006/relationships/notesSlide" Target="../notesSlides/notesSlide111.xml"/><Relationship Id="rId2" Type="http://schemas.openxmlformats.org/officeDocument/2006/relationships/slideLayout" Target="../slideLayouts/slideLayout7.xml"/><Relationship Id="rId1" Type="http://schemas.openxmlformats.org/officeDocument/2006/relationships/tags" Target="../tags/tag766.xml"/><Relationship Id="rId6" Type="http://schemas.openxmlformats.org/officeDocument/2006/relationships/chart" Target="../charts/chart85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4.xml.rels><?xml version="1.0" encoding="UTF-8" standalone="yes"?>
<Relationships xmlns="http://schemas.openxmlformats.org/package/2006/relationships"><Relationship Id="rId8" Type="http://schemas.openxmlformats.org/officeDocument/2006/relationships/chart" Target="../charts/chart211.xml"/><Relationship Id="rId3" Type="http://schemas.openxmlformats.org/officeDocument/2006/relationships/oleObject" Target="../embeddings/oleObject27.bin"/><Relationship Id="rId7" Type="http://schemas.openxmlformats.org/officeDocument/2006/relationships/chart" Target="../charts/chart210.xml"/><Relationship Id="rId2" Type="http://schemas.openxmlformats.org/officeDocument/2006/relationships/slideLayout" Target="../slideLayouts/slideLayout7.xml"/><Relationship Id="rId1" Type="http://schemas.openxmlformats.org/officeDocument/2006/relationships/tags" Target="../tags/tag101.xml"/><Relationship Id="rId6" Type="http://schemas.openxmlformats.org/officeDocument/2006/relationships/chart" Target="../charts/chart209.xml"/><Relationship Id="rId5" Type="http://schemas.openxmlformats.org/officeDocument/2006/relationships/chart" Target="../charts/chart208.xml"/><Relationship Id="rId4" Type="http://schemas.openxmlformats.org/officeDocument/2006/relationships/image" Target="../media/image28.emf"/></Relationships>
</file>

<file path=ppt/slides/_rels/slide740.xml.rels><?xml version="1.0" encoding="UTF-8" standalone="yes"?>
<Relationships xmlns="http://schemas.openxmlformats.org/package/2006/relationships"><Relationship Id="rId3" Type="http://schemas.openxmlformats.org/officeDocument/2006/relationships/notesSlide" Target="../notesSlides/notesSlide112.xml"/><Relationship Id="rId2" Type="http://schemas.openxmlformats.org/officeDocument/2006/relationships/slideLayout" Target="../slideLayouts/slideLayout7.xml"/><Relationship Id="rId1" Type="http://schemas.openxmlformats.org/officeDocument/2006/relationships/tags" Target="../tags/tag767.xml"/><Relationship Id="rId6" Type="http://schemas.openxmlformats.org/officeDocument/2006/relationships/chart" Target="../charts/chart85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41.xml.rels><?xml version="1.0" encoding="UTF-8" standalone="yes"?>
<Relationships xmlns="http://schemas.openxmlformats.org/package/2006/relationships"><Relationship Id="rId3" Type="http://schemas.openxmlformats.org/officeDocument/2006/relationships/notesSlide" Target="../notesSlides/notesSlide113.xml"/><Relationship Id="rId2" Type="http://schemas.openxmlformats.org/officeDocument/2006/relationships/slideLayout" Target="../slideLayouts/slideLayout7.xml"/><Relationship Id="rId1" Type="http://schemas.openxmlformats.org/officeDocument/2006/relationships/tags" Target="../tags/tag768.xml"/><Relationship Id="rId6" Type="http://schemas.openxmlformats.org/officeDocument/2006/relationships/chart" Target="../charts/chart85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42.xml.rels><?xml version="1.0" encoding="UTF-8" standalone="yes"?>
<Relationships xmlns="http://schemas.openxmlformats.org/package/2006/relationships"><Relationship Id="rId3" Type="http://schemas.openxmlformats.org/officeDocument/2006/relationships/notesSlide" Target="../notesSlides/notesSlide114.xml"/><Relationship Id="rId2" Type="http://schemas.openxmlformats.org/officeDocument/2006/relationships/slideLayout" Target="../slideLayouts/slideLayout7.xml"/><Relationship Id="rId1" Type="http://schemas.openxmlformats.org/officeDocument/2006/relationships/tags" Target="../tags/tag769.xml"/><Relationship Id="rId6" Type="http://schemas.openxmlformats.org/officeDocument/2006/relationships/chart" Target="../charts/chart85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43.xml.rels><?xml version="1.0" encoding="UTF-8" standalone="yes"?>
<Relationships xmlns="http://schemas.openxmlformats.org/package/2006/relationships"><Relationship Id="rId3" Type="http://schemas.openxmlformats.org/officeDocument/2006/relationships/notesSlide" Target="../notesSlides/notesSlide115.xml"/><Relationship Id="rId2" Type="http://schemas.openxmlformats.org/officeDocument/2006/relationships/slideLayout" Target="../slideLayouts/slideLayout7.xml"/><Relationship Id="rId1" Type="http://schemas.openxmlformats.org/officeDocument/2006/relationships/tags" Target="../tags/tag770.xml"/><Relationship Id="rId6" Type="http://schemas.openxmlformats.org/officeDocument/2006/relationships/chart" Target="../charts/chart85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44.xml.rels><?xml version="1.0" encoding="UTF-8" standalone="yes"?>
<Relationships xmlns="http://schemas.openxmlformats.org/package/2006/relationships"><Relationship Id="rId3" Type="http://schemas.openxmlformats.org/officeDocument/2006/relationships/notesSlide" Target="../notesSlides/notesSlide116.xml"/><Relationship Id="rId2" Type="http://schemas.openxmlformats.org/officeDocument/2006/relationships/slideLayout" Target="../slideLayouts/slideLayout7.xml"/><Relationship Id="rId1" Type="http://schemas.openxmlformats.org/officeDocument/2006/relationships/tags" Target="../tags/tag771.xml"/><Relationship Id="rId6" Type="http://schemas.openxmlformats.org/officeDocument/2006/relationships/chart" Target="../charts/chart85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45.xml.rels><?xml version="1.0" encoding="UTF-8" standalone="yes"?>
<Relationships xmlns="http://schemas.openxmlformats.org/package/2006/relationships"><Relationship Id="rId3" Type="http://schemas.openxmlformats.org/officeDocument/2006/relationships/notesSlide" Target="../notesSlides/notesSlide117.xml"/><Relationship Id="rId2" Type="http://schemas.openxmlformats.org/officeDocument/2006/relationships/slideLayout" Target="../slideLayouts/slideLayout7.xml"/><Relationship Id="rId1" Type="http://schemas.openxmlformats.org/officeDocument/2006/relationships/tags" Target="../tags/tag772.xml"/><Relationship Id="rId6" Type="http://schemas.openxmlformats.org/officeDocument/2006/relationships/chart" Target="../charts/chart85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46.xml.rels><?xml version="1.0" encoding="UTF-8" standalone="yes"?>
<Relationships xmlns="http://schemas.openxmlformats.org/package/2006/relationships"><Relationship Id="rId3" Type="http://schemas.openxmlformats.org/officeDocument/2006/relationships/notesSlide" Target="../notesSlides/notesSlide118.xml"/><Relationship Id="rId2" Type="http://schemas.openxmlformats.org/officeDocument/2006/relationships/slideLayout" Target="../slideLayouts/slideLayout7.xml"/><Relationship Id="rId1" Type="http://schemas.openxmlformats.org/officeDocument/2006/relationships/tags" Target="../tags/tag773.xml"/><Relationship Id="rId6" Type="http://schemas.openxmlformats.org/officeDocument/2006/relationships/chart" Target="../charts/chart85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47.xml.rels><?xml version="1.0" encoding="UTF-8" standalone="yes"?>
<Relationships xmlns="http://schemas.openxmlformats.org/package/2006/relationships"><Relationship Id="rId3" Type="http://schemas.openxmlformats.org/officeDocument/2006/relationships/notesSlide" Target="../notesSlides/notesSlide119.xml"/><Relationship Id="rId2" Type="http://schemas.openxmlformats.org/officeDocument/2006/relationships/slideLayout" Target="../slideLayouts/slideLayout7.xml"/><Relationship Id="rId1" Type="http://schemas.openxmlformats.org/officeDocument/2006/relationships/tags" Target="../tags/tag774.xml"/><Relationship Id="rId6" Type="http://schemas.openxmlformats.org/officeDocument/2006/relationships/chart" Target="../charts/chart86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48.xml.rels><?xml version="1.0" encoding="UTF-8" standalone="yes"?>
<Relationships xmlns="http://schemas.openxmlformats.org/package/2006/relationships"><Relationship Id="rId3" Type="http://schemas.openxmlformats.org/officeDocument/2006/relationships/notesSlide" Target="../notesSlides/notesSlide120.xml"/><Relationship Id="rId2" Type="http://schemas.openxmlformats.org/officeDocument/2006/relationships/slideLayout" Target="../slideLayouts/slideLayout7.xml"/><Relationship Id="rId1" Type="http://schemas.openxmlformats.org/officeDocument/2006/relationships/tags" Target="../tags/tag775.xml"/><Relationship Id="rId6" Type="http://schemas.openxmlformats.org/officeDocument/2006/relationships/chart" Target="../charts/chart86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49.xml.rels><?xml version="1.0" encoding="UTF-8" standalone="yes"?>
<Relationships xmlns="http://schemas.openxmlformats.org/package/2006/relationships"><Relationship Id="rId3" Type="http://schemas.openxmlformats.org/officeDocument/2006/relationships/notesSlide" Target="../notesSlides/notesSlide121.xml"/><Relationship Id="rId2" Type="http://schemas.openxmlformats.org/officeDocument/2006/relationships/slideLayout" Target="../slideLayouts/slideLayout7.xml"/><Relationship Id="rId1" Type="http://schemas.openxmlformats.org/officeDocument/2006/relationships/tags" Target="../tags/tag776.xml"/><Relationship Id="rId6" Type="http://schemas.openxmlformats.org/officeDocument/2006/relationships/chart" Target="../charts/chart86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5.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14.xml"/><Relationship Id="rId2" Type="http://schemas.openxmlformats.org/officeDocument/2006/relationships/slideLayout" Target="../slideLayouts/slideLayout7.xml"/><Relationship Id="rId1" Type="http://schemas.openxmlformats.org/officeDocument/2006/relationships/tags" Target="../tags/tag102.xml"/><Relationship Id="rId6" Type="http://schemas.openxmlformats.org/officeDocument/2006/relationships/chart" Target="../charts/chart213.xml"/><Relationship Id="rId5" Type="http://schemas.openxmlformats.org/officeDocument/2006/relationships/chart" Target="../charts/chart212.xml"/><Relationship Id="rId4" Type="http://schemas.openxmlformats.org/officeDocument/2006/relationships/image" Target="../media/image28.emf"/></Relationships>
</file>

<file path=ppt/slides/_rels/slide750.xml.rels><?xml version="1.0" encoding="UTF-8" standalone="yes"?>
<Relationships xmlns="http://schemas.openxmlformats.org/package/2006/relationships"><Relationship Id="rId3" Type="http://schemas.openxmlformats.org/officeDocument/2006/relationships/notesSlide" Target="../notesSlides/notesSlide122.xml"/><Relationship Id="rId2" Type="http://schemas.openxmlformats.org/officeDocument/2006/relationships/slideLayout" Target="../slideLayouts/slideLayout7.xml"/><Relationship Id="rId1" Type="http://schemas.openxmlformats.org/officeDocument/2006/relationships/tags" Target="../tags/tag777.xml"/><Relationship Id="rId6" Type="http://schemas.openxmlformats.org/officeDocument/2006/relationships/chart" Target="../charts/chart86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51.xml.rels><?xml version="1.0" encoding="UTF-8" standalone="yes"?>
<Relationships xmlns="http://schemas.openxmlformats.org/package/2006/relationships"><Relationship Id="rId3" Type="http://schemas.openxmlformats.org/officeDocument/2006/relationships/notesSlide" Target="../notesSlides/notesSlide123.xml"/><Relationship Id="rId2" Type="http://schemas.openxmlformats.org/officeDocument/2006/relationships/slideLayout" Target="../slideLayouts/slideLayout7.xml"/><Relationship Id="rId1" Type="http://schemas.openxmlformats.org/officeDocument/2006/relationships/tags" Target="../tags/tag778.xml"/><Relationship Id="rId6" Type="http://schemas.openxmlformats.org/officeDocument/2006/relationships/chart" Target="../charts/chart86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52.xml.rels><?xml version="1.0" encoding="UTF-8" standalone="yes"?>
<Relationships xmlns="http://schemas.openxmlformats.org/package/2006/relationships"><Relationship Id="rId3" Type="http://schemas.openxmlformats.org/officeDocument/2006/relationships/notesSlide" Target="../notesSlides/notesSlide124.xml"/><Relationship Id="rId2" Type="http://schemas.openxmlformats.org/officeDocument/2006/relationships/slideLayout" Target="../slideLayouts/slideLayout7.xml"/><Relationship Id="rId1" Type="http://schemas.openxmlformats.org/officeDocument/2006/relationships/tags" Target="../tags/tag779.xml"/><Relationship Id="rId6" Type="http://schemas.openxmlformats.org/officeDocument/2006/relationships/chart" Target="../charts/chart86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53.xml.rels><?xml version="1.0" encoding="UTF-8" standalone="yes"?>
<Relationships xmlns="http://schemas.openxmlformats.org/package/2006/relationships"><Relationship Id="rId3" Type="http://schemas.openxmlformats.org/officeDocument/2006/relationships/notesSlide" Target="../notesSlides/notesSlide125.xml"/><Relationship Id="rId2" Type="http://schemas.openxmlformats.org/officeDocument/2006/relationships/slideLayout" Target="../slideLayouts/slideLayout7.xml"/><Relationship Id="rId1" Type="http://schemas.openxmlformats.org/officeDocument/2006/relationships/tags" Target="../tags/tag780.xml"/><Relationship Id="rId6" Type="http://schemas.openxmlformats.org/officeDocument/2006/relationships/chart" Target="../charts/chart86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54.xml.rels><?xml version="1.0" encoding="UTF-8" standalone="yes"?>
<Relationships xmlns="http://schemas.openxmlformats.org/package/2006/relationships"><Relationship Id="rId3" Type="http://schemas.openxmlformats.org/officeDocument/2006/relationships/notesSlide" Target="../notesSlides/notesSlide126.xml"/><Relationship Id="rId2" Type="http://schemas.openxmlformats.org/officeDocument/2006/relationships/slideLayout" Target="../slideLayouts/slideLayout7.xml"/><Relationship Id="rId1" Type="http://schemas.openxmlformats.org/officeDocument/2006/relationships/tags" Target="../tags/tag781.xml"/><Relationship Id="rId6" Type="http://schemas.openxmlformats.org/officeDocument/2006/relationships/chart" Target="../charts/chart86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55.xml.rels><?xml version="1.0" encoding="UTF-8" standalone="yes"?>
<Relationships xmlns="http://schemas.openxmlformats.org/package/2006/relationships"><Relationship Id="rId3" Type="http://schemas.openxmlformats.org/officeDocument/2006/relationships/notesSlide" Target="../notesSlides/notesSlide127.xml"/><Relationship Id="rId2" Type="http://schemas.openxmlformats.org/officeDocument/2006/relationships/slideLayout" Target="../slideLayouts/slideLayout7.xml"/><Relationship Id="rId1" Type="http://schemas.openxmlformats.org/officeDocument/2006/relationships/tags" Target="../tags/tag782.xml"/><Relationship Id="rId6" Type="http://schemas.openxmlformats.org/officeDocument/2006/relationships/chart" Target="../charts/chart86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56.xml.rels><?xml version="1.0" encoding="UTF-8" standalone="yes"?>
<Relationships xmlns="http://schemas.openxmlformats.org/package/2006/relationships"><Relationship Id="rId3" Type="http://schemas.openxmlformats.org/officeDocument/2006/relationships/notesSlide" Target="../notesSlides/notesSlide128.xml"/><Relationship Id="rId2" Type="http://schemas.openxmlformats.org/officeDocument/2006/relationships/slideLayout" Target="../slideLayouts/slideLayout7.xml"/><Relationship Id="rId1" Type="http://schemas.openxmlformats.org/officeDocument/2006/relationships/tags" Target="../tags/tag783.xml"/><Relationship Id="rId6" Type="http://schemas.openxmlformats.org/officeDocument/2006/relationships/chart" Target="../charts/chart86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57.xml.rels><?xml version="1.0" encoding="UTF-8" standalone="yes"?>
<Relationships xmlns="http://schemas.openxmlformats.org/package/2006/relationships"><Relationship Id="rId3" Type="http://schemas.openxmlformats.org/officeDocument/2006/relationships/notesSlide" Target="../notesSlides/notesSlide129.xml"/><Relationship Id="rId2" Type="http://schemas.openxmlformats.org/officeDocument/2006/relationships/slideLayout" Target="../slideLayouts/slideLayout7.xml"/><Relationship Id="rId1" Type="http://schemas.openxmlformats.org/officeDocument/2006/relationships/tags" Target="../tags/tag784.xml"/><Relationship Id="rId6" Type="http://schemas.openxmlformats.org/officeDocument/2006/relationships/chart" Target="../charts/chart87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58.xml.rels><?xml version="1.0" encoding="UTF-8" standalone="yes"?>
<Relationships xmlns="http://schemas.openxmlformats.org/package/2006/relationships"><Relationship Id="rId3" Type="http://schemas.openxmlformats.org/officeDocument/2006/relationships/notesSlide" Target="../notesSlides/notesSlide130.xml"/><Relationship Id="rId2" Type="http://schemas.openxmlformats.org/officeDocument/2006/relationships/slideLayout" Target="../slideLayouts/slideLayout7.xml"/><Relationship Id="rId1" Type="http://schemas.openxmlformats.org/officeDocument/2006/relationships/tags" Target="../tags/tag785.xml"/><Relationship Id="rId6" Type="http://schemas.openxmlformats.org/officeDocument/2006/relationships/chart" Target="../charts/chart87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59.xml.rels><?xml version="1.0" encoding="UTF-8" standalone="yes"?>
<Relationships xmlns="http://schemas.openxmlformats.org/package/2006/relationships"><Relationship Id="rId3" Type="http://schemas.openxmlformats.org/officeDocument/2006/relationships/notesSlide" Target="../notesSlides/notesSlide131.xml"/><Relationship Id="rId2" Type="http://schemas.openxmlformats.org/officeDocument/2006/relationships/slideLayout" Target="../slideLayouts/slideLayout7.xml"/><Relationship Id="rId1" Type="http://schemas.openxmlformats.org/officeDocument/2006/relationships/tags" Target="../tags/tag786.xml"/><Relationship Id="rId6" Type="http://schemas.openxmlformats.org/officeDocument/2006/relationships/chart" Target="../charts/chart87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6.xml.rels><?xml version="1.0" encoding="UTF-8" standalone="yes"?>
<Relationships xmlns="http://schemas.openxmlformats.org/package/2006/relationships"><Relationship Id="rId8" Type="http://schemas.openxmlformats.org/officeDocument/2006/relationships/chart" Target="../charts/chart218.xml"/><Relationship Id="rId3" Type="http://schemas.openxmlformats.org/officeDocument/2006/relationships/oleObject" Target="../embeddings/oleObject27.bin"/><Relationship Id="rId7" Type="http://schemas.openxmlformats.org/officeDocument/2006/relationships/chart" Target="../charts/chart217.xml"/><Relationship Id="rId2" Type="http://schemas.openxmlformats.org/officeDocument/2006/relationships/slideLayout" Target="../slideLayouts/slideLayout7.xml"/><Relationship Id="rId1" Type="http://schemas.openxmlformats.org/officeDocument/2006/relationships/tags" Target="../tags/tag103.xml"/><Relationship Id="rId6" Type="http://schemas.openxmlformats.org/officeDocument/2006/relationships/chart" Target="../charts/chart216.xml"/><Relationship Id="rId5" Type="http://schemas.openxmlformats.org/officeDocument/2006/relationships/chart" Target="../charts/chart215.xml"/><Relationship Id="rId4" Type="http://schemas.openxmlformats.org/officeDocument/2006/relationships/image" Target="../media/image28.emf"/></Relationships>
</file>

<file path=ppt/slides/_rels/slide760.xml.rels><?xml version="1.0" encoding="UTF-8" standalone="yes"?>
<Relationships xmlns="http://schemas.openxmlformats.org/package/2006/relationships"><Relationship Id="rId3" Type="http://schemas.openxmlformats.org/officeDocument/2006/relationships/notesSlide" Target="../notesSlides/notesSlide132.xml"/><Relationship Id="rId2" Type="http://schemas.openxmlformats.org/officeDocument/2006/relationships/slideLayout" Target="../slideLayouts/slideLayout7.xml"/><Relationship Id="rId1" Type="http://schemas.openxmlformats.org/officeDocument/2006/relationships/tags" Target="../tags/tag787.xml"/><Relationship Id="rId6" Type="http://schemas.openxmlformats.org/officeDocument/2006/relationships/chart" Target="../charts/chart87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61.xml.rels><?xml version="1.0" encoding="UTF-8" standalone="yes"?>
<Relationships xmlns="http://schemas.openxmlformats.org/package/2006/relationships"><Relationship Id="rId3" Type="http://schemas.openxmlformats.org/officeDocument/2006/relationships/notesSlide" Target="../notesSlides/notesSlide133.xml"/><Relationship Id="rId2" Type="http://schemas.openxmlformats.org/officeDocument/2006/relationships/slideLayout" Target="../slideLayouts/slideLayout7.xml"/><Relationship Id="rId1" Type="http://schemas.openxmlformats.org/officeDocument/2006/relationships/tags" Target="../tags/tag788.xml"/><Relationship Id="rId6" Type="http://schemas.openxmlformats.org/officeDocument/2006/relationships/chart" Target="../charts/chart87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62.xml.rels><?xml version="1.0" encoding="UTF-8" standalone="yes"?>
<Relationships xmlns="http://schemas.openxmlformats.org/package/2006/relationships"><Relationship Id="rId3" Type="http://schemas.openxmlformats.org/officeDocument/2006/relationships/notesSlide" Target="../notesSlides/notesSlide134.xml"/><Relationship Id="rId2" Type="http://schemas.openxmlformats.org/officeDocument/2006/relationships/slideLayout" Target="../slideLayouts/slideLayout7.xml"/><Relationship Id="rId1" Type="http://schemas.openxmlformats.org/officeDocument/2006/relationships/tags" Target="../tags/tag789.xml"/><Relationship Id="rId6" Type="http://schemas.openxmlformats.org/officeDocument/2006/relationships/chart" Target="../charts/chart87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7.xml.rels><?xml version="1.0" encoding="UTF-8" standalone="yes"?>
<Relationships xmlns="http://schemas.openxmlformats.org/package/2006/relationships"><Relationship Id="rId8" Type="http://schemas.openxmlformats.org/officeDocument/2006/relationships/chart" Target="../charts/chart222.xml"/><Relationship Id="rId3" Type="http://schemas.openxmlformats.org/officeDocument/2006/relationships/oleObject" Target="../embeddings/oleObject27.bin"/><Relationship Id="rId7" Type="http://schemas.openxmlformats.org/officeDocument/2006/relationships/chart" Target="../charts/chart221.xml"/><Relationship Id="rId2" Type="http://schemas.openxmlformats.org/officeDocument/2006/relationships/slideLayout" Target="../slideLayouts/slideLayout7.xml"/><Relationship Id="rId1" Type="http://schemas.openxmlformats.org/officeDocument/2006/relationships/tags" Target="../tags/tag104.xml"/><Relationship Id="rId6" Type="http://schemas.openxmlformats.org/officeDocument/2006/relationships/chart" Target="../charts/chart220.xml"/><Relationship Id="rId5" Type="http://schemas.openxmlformats.org/officeDocument/2006/relationships/chart" Target="../charts/chart219.xml"/><Relationship Id="rId4" Type="http://schemas.openxmlformats.org/officeDocument/2006/relationships/image" Target="../media/image28.emf"/></Relationships>
</file>

<file path=ppt/slides/_rels/slide78.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25.xml"/><Relationship Id="rId2" Type="http://schemas.openxmlformats.org/officeDocument/2006/relationships/slideLayout" Target="../slideLayouts/slideLayout7.xml"/><Relationship Id="rId1" Type="http://schemas.openxmlformats.org/officeDocument/2006/relationships/tags" Target="../tags/tag105.xml"/><Relationship Id="rId6" Type="http://schemas.openxmlformats.org/officeDocument/2006/relationships/chart" Target="../charts/chart224.xml"/><Relationship Id="rId5" Type="http://schemas.openxmlformats.org/officeDocument/2006/relationships/chart" Target="../charts/chart223.xml"/><Relationship Id="rId4" Type="http://schemas.openxmlformats.org/officeDocument/2006/relationships/image" Target="../media/image28.emf"/></Relationships>
</file>

<file path=ppt/slides/_rels/slide79.xml.rels><?xml version="1.0" encoding="UTF-8" standalone="yes"?>
<Relationships xmlns="http://schemas.openxmlformats.org/package/2006/relationships"><Relationship Id="rId8" Type="http://schemas.openxmlformats.org/officeDocument/2006/relationships/chart" Target="../charts/chart229.xml"/><Relationship Id="rId3" Type="http://schemas.openxmlformats.org/officeDocument/2006/relationships/oleObject" Target="../embeddings/oleObject27.bin"/><Relationship Id="rId7" Type="http://schemas.openxmlformats.org/officeDocument/2006/relationships/chart" Target="../charts/chart228.xml"/><Relationship Id="rId2" Type="http://schemas.openxmlformats.org/officeDocument/2006/relationships/slideLayout" Target="../slideLayouts/slideLayout7.xml"/><Relationship Id="rId1" Type="http://schemas.openxmlformats.org/officeDocument/2006/relationships/tags" Target="../tags/tag106.xml"/><Relationship Id="rId6" Type="http://schemas.openxmlformats.org/officeDocument/2006/relationships/chart" Target="../charts/chart227.xml"/><Relationship Id="rId5" Type="http://schemas.openxmlformats.org/officeDocument/2006/relationships/chart" Target="../charts/chart226.xml"/><Relationship Id="rId4" Type="http://schemas.openxmlformats.org/officeDocument/2006/relationships/image" Target="../media/image28.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xml"/><Relationship Id="rId5" Type="http://schemas.openxmlformats.org/officeDocument/2006/relationships/chart" Target="../charts/chart8.xml"/><Relationship Id="rId4" Type="http://schemas.openxmlformats.org/officeDocument/2006/relationships/image" Target="../media/image28.emf"/></Relationships>
</file>

<file path=ppt/slides/_rels/slide80.xml.rels><?xml version="1.0" encoding="UTF-8" standalone="yes"?>
<Relationships xmlns="http://schemas.openxmlformats.org/package/2006/relationships"><Relationship Id="rId8" Type="http://schemas.openxmlformats.org/officeDocument/2006/relationships/chart" Target="../charts/chart233.xml"/><Relationship Id="rId3" Type="http://schemas.openxmlformats.org/officeDocument/2006/relationships/oleObject" Target="../embeddings/oleObject27.bin"/><Relationship Id="rId7" Type="http://schemas.openxmlformats.org/officeDocument/2006/relationships/chart" Target="../charts/chart232.xml"/><Relationship Id="rId2" Type="http://schemas.openxmlformats.org/officeDocument/2006/relationships/slideLayout" Target="../slideLayouts/slideLayout7.xml"/><Relationship Id="rId1" Type="http://schemas.openxmlformats.org/officeDocument/2006/relationships/tags" Target="../tags/tag107.xml"/><Relationship Id="rId6" Type="http://schemas.openxmlformats.org/officeDocument/2006/relationships/chart" Target="../charts/chart231.xml"/><Relationship Id="rId5" Type="http://schemas.openxmlformats.org/officeDocument/2006/relationships/chart" Target="../charts/chart230.xml"/><Relationship Id="rId4" Type="http://schemas.openxmlformats.org/officeDocument/2006/relationships/image" Target="../media/image28.emf"/></Relationships>
</file>

<file path=ppt/slides/_rels/slide8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36.xml"/><Relationship Id="rId2" Type="http://schemas.openxmlformats.org/officeDocument/2006/relationships/slideLayout" Target="../slideLayouts/slideLayout7.xml"/><Relationship Id="rId1" Type="http://schemas.openxmlformats.org/officeDocument/2006/relationships/tags" Target="../tags/tag108.xml"/><Relationship Id="rId6" Type="http://schemas.openxmlformats.org/officeDocument/2006/relationships/chart" Target="../charts/chart235.xml"/><Relationship Id="rId5" Type="http://schemas.openxmlformats.org/officeDocument/2006/relationships/chart" Target="../charts/chart234.xml"/><Relationship Id="rId4" Type="http://schemas.openxmlformats.org/officeDocument/2006/relationships/image" Target="../media/image28.emf"/></Relationships>
</file>

<file path=ppt/slides/_rels/slide82.xml.rels><?xml version="1.0" encoding="UTF-8" standalone="yes"?>
<Relationships xmlns="http://schemas.openxmlformats.org/package/2006/relationships"><Relationship Id="rId8" Type="http://schemas.openxmlformats.org/officeDocument/2006/relationships/chart" Target="../charts/chart240.xml"/><Relationship Id="rId3" Type="http://schemas.openxmlformats.org/officeDocument/2006/relationships/oleObject" Target="../embeddings/oleObject27.bin"/><Relationship Id="rId7" Type="http://schemas.openxmlformats.org/officeDocument/2006/relationships/chart" Target="../charts/chart239.xml"/><Relationship Id="rId2" Type="http://schemas.openxmlformats.org/officeDocument/2006/relationships/slideLayout" Target="../slideLayouts/slideLayout7.xml"/><Relationship Id="rId1" Type="http://schemas.openxmlformats.org/officeDocument/2006/relationships/tags" Target="../tags/tag109.xml"/><Relationship Id="rId6" Type="http://schemas.openxmlformats.org/officeDocument/2006/relationships/chart" Target="../charts/chart238.xml"/><Relationship Id="rId5" Type="http://schemas.openxmlformats.org/officeDocument/2006/relationships/chart" Target="../charts/chart237.xml"/><Relationship Id="rId4" Type="http://schemas.openxmlformats.org/officeDocument/2006/relationships/image" Target="../media/image28.emf"/></Relationships>
</file>

<file path=ppt/slides/_rels/slide83.xml.rels><?xml version="1.0" encoding="UTF-8" standalone="yes"?>
<Relationships xmlns="http://schemas.openxmlformats.org/package/2006/relationships"><Relationship Id="rId8" Type="http://schemas.openxmlformats.org/officeDocument/2006/relationships/chart" Target="../charts/chart244.xml"/><Relationship Id="rId3" Type="http://schemas.openxmlformats.org/officeDocument/2006/relationships/oleObject" Target="../embeddings/oleObject27.bin"/><Relationship Id="rId7" Type="http://schemas.openxmlformats.org/officeDocument/2006/relationships/chart" Target="../charts/chart243.xml"/><Relationship Id="rId2" Type="http://schemas.openxmlformats.org/officeDocument/2006/relationships/slideLayout" Target="../slideLayouts/slideLayout7.xml"/><Relationship Id="rId1" Type="http://schemas.openxmlformats.org/officeDocument/2006/relationships/tags" Target="../tags/tag110.xml"/><Relationship Id="rId6" Type="http://schemas.openxmlformats.org/officeDocument/2006/relationships/chart" Target="../charts/chart242.xml"/><Relationship Id="rId5" Type="http://schemas.openxmlformats.org/officeDocument/2006/relationships/chart" Target="../charts/chart241.xml"/><Relationship Id="rId4" Type="http://schemas.openxmlformats.org/officeDocument/2006/relationships/image" Target="../media/image28.emf"/></Relationships>
</file>

<file path=ppt/slides/_rels/slide8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47.xml"/><Relationship Id="rId2" Type="http://schemas.openxmlformats.org/officeDocument/2006/relationships/slideLayout" Target="../slideLayouts/slideLayout7.xml"/><Relationship Id="rId1" Type="http://schemas.openxmlformats.org/officeDocument/2006/relationships/tags" Target="../tags/tag111.xml"/><Relationship Id="rId6" Type="http://schemas.openxmlformats.org/officeDocument/2006/relationships/chart" Target="../charts/chart246.xml"/><Relationship Id="rId5" Type="http://schemas.openxmlformats.org/officeDocument/2006/relationships/chart" Target="../charts/chart245.xml"/><Relationship Id="rId4" Type="http://schemas.openxmlformats.org/officeDocument/2006/relationships/image" Target="../media/image28.emf"/></Relationships>
</file>

<file path=ppt/slides/_rels/slide85.xml.rels><?xml version="1.0" encoding="UTF-8" standalone="yes"?>
<Relationships xmlns="http://schemas.openxmlformats.org/package/2006/relationships"><Relationship Id="rId8" Type="http://schemas.openxmlformats.org/officeDocument/2006/relationships/chart" Target="../charts/chart251.xml"/><Relationship Id="rId3" Type="http://schemas.openxmlformats.org/officeDocument/2006/relationships/oleObject" Target="../embeddings/oleObject27.bin"/><Relationship Id="rId7" Type="http://schemas.openxmlformats.org/officeDocument/2006/relationships/chart" Target="../charts/chart250.xml"/><Relationship Id="rId2" Type="http://schemas.openxmlformats.org/officeDocument/2006/relationships/slideLayout" Target="../slideLayouts/slideLayout7.xml"/><Relationship Id="rId1" Type="http://schemas.openxmlformats.org/officeDocument/2006/relationships/tags" Target="../tags/tag112.xml"/><Relationship Id="rId6" Type="http://schemas.openxmlformats.org/officeDocument/2006/relationships/chart" Target="../charts/chart249.xml"/><Relationship Id="rId5" Type="http://schemas.openxmlformats.org/officeDocument/2006/relationships/chart" Target="../charts/chart248.xml"/><Relationship Id="rId4" Type="http://schemas.openxmlformats.org/officeDocument/2006/relationships/image" Target="../media/image28.emf"/></Relationships>
</file>

<file path=ppt/slides/_rels/slide86.xml.rels><?xml version="1.0" encoding="UTF-8" standalone="yes"?>
<Relationships xmlns="http://schemas.openxmlformats.org/package/2006/relationships"><Relationship Id="rId8" Type="http://schemas.openxmlformats.org/officeDocument/2006/relationships/chart" Target="../charts/chart255.xml"/><Relationship Id="rId3" Type="http://schemas.openxmlformats.org/officeDocument/2006/relationships/oleObject" Target="../embeddings/oleObject27.bin"/><Relationship Id="rId7" Type="http://schemas.openxmlformats.org/officeDocument/2006/relationships/chart" Target="../charts/chart254.xml"/><Relationship Id="rId2" Type="http://schemas.openxmlformats.org/officeDocument/2006/relationships/slideLayout" Target="../slideLayouts/slideLayout7.xml"/><Relationship Id="rId1" Type="http://schemas.openxmlformats.org/officeDocument/2006/relationships/tags" Target="../tags/tag113.xml"/><Relationship Id="rId6" Type="http://schemas.openxmlformats.org/officeDocument/2006/relationships/chart" Target="../charts/chart253.xml"/><Relationship Id="rId5" Type="http://schemas.openxmlformats.org/officeDocument/2006/relationships/chart" Target="../charts/chart252.xml"/><Relationship Id="rId4" Type="http://schemas.openxmlformats.org/officeDocument/2006/relationships/image" Target="../media/image28.emf"/></Relationships>
</file>

<file path=ppt/slides/_rels/slide87.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58.xml"/><Relationship Id="rId2" Type="http://schemas.openxmlformats.org/officeDocument/2006/relationships/slideLayout" Target="../slideLayouts/slideLayout7.xml"/><Relationship Id="rId1" Type="http://schemas.openxmlformats.org/officeDocument/2006/relationships/tags" Target="../tags/tag114.xml"/><Relationship Id="rId6" Type="http://schemas.openxmlformats.org/officeDocument/2006/relationships/chart" Target="../charts/chart257.xml"/><Relationship Id="rId5" Type="http://schemas.openxmlformats.org/officeDocument/2006/relationships/chart" Target="../charts/chart256.xml"/><Relationship Id="rId4" Type="http://schemas.openxmlformats.org/officeDocument/2006/relationships/image" Target="../media/image28.emf"/></Relationships>
</file>

<file path=ppt/slides/_rels/slide88.xml.rels><?xml version="1.0" encoding="UTF-8" standalone="yes"?>
<Relationships xmlns="http://schemas.openxmlformats.org/package/2006/relationships"><Relationship Id="rId8" Type="http://schemas.openxmlformats.org/officeDocument/2006/relationships/chart" Target="../charts/chart262.xml"/><Relationship Id="rId3" Type="http://schemas.openxmlformats.org/officeDocument/2006/relationships/oleObject" Target="../embeddings/oleObject27.bin"/><Relationship Id="rId7" Type="http://schemas.openxmlformats.org/officeDocument/2006/relationships/chart" Target="../charts/chart261.xml"/><Relationship Id="rId2" Type="http://schemas.openxmlformats.org/officeDocument/2006/relationships/slideLayout" Target="../slideLayouts/slideLayout7.xml"/><Relationship Id="rId1" Type="http://schemas.openxmlformats.org/officeDocument/2006/relationships/tags" Target="../tags/tag115.xml"/><Relationship Id="rId6" Type="http://schemas.openxmlformats.org/officeDocument/2006/relationships/chart" Target="../charts/chart260.xml"/><Relationship Id="rId5" Type="http://schemas.openxmlformats.org/officeDocument/2006/relationships/chart" Target="../charts/chart259.xml"/><Relationship Id="rId4" Type="http://schemas.openxmlformats.org/officeDocument/2006/relationships/image" Target="../media/image28.emf"/></Relationships>
</file>

<file path=ppt/slides/_rels/slide89.xml.rels><?xml version="1.0" encoding="UTF-8" standalone="yes"?>
<Relationships xmlns="http://schemas.openxmlformats.org/package/2006/relationships"><Relationship Id="rId8" Type="http://schemas.openxmlformats.org/officeDocument/2006/relationships/chart" Target="../charts/chart266.xml"/><Relationship Id="rId3" Type="http://schemas.openxmlformats.org/officeDocument/2006/relationships/oleObject" Target="../embeddings/oleObject27.bin"/><Relationship Id="rId7" Type="http://schemas.openxmlformats.org/officeDocument/2006/relationships/chart" Target="../charts/chart265.xml"/><Relationship Id="rId2" Type="http://schemas.openxmlformats.org/officeDocument/2006/relationships/slideLayout" Target="../slideLayouts/slideLayout7.xml"/><Relationship Id="rId1" Type="http://schemas.openxmlformats.org/officeDocument/2006/relationships/tags" Target="../tags/tag116.xml"/><Relationship Id="rId6" Type="http://schemas.openxmlformats.org/officeDocument/2006/relationships/chart" Target="../charts/chart264.xml"/><Relationship Id="rId5" Type="http://schemas.openxmlformats.org/officeDocument/2006/relationships/chart" Target="../charts/chart263.xml"/><Relationship Id="rId4" Type="http://schemas.openxmlformats.org/officeDocument/2006/relationships/image" Target="../media/image28.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6.xml"/><Relationship Id="rId5" Type="http://schemas.openxmlformats.org/officeDocument/2006/relationships/chart" Target="../charts/chart9.xml"/><Relationship Id="rId4" Type="http://schemas.openxmlformats.org/officeDocument/2006/relationships/image" Target="../media/image28.emf"/></Relationships>
</file>

<file path=ppt/slides/_rels/slide90.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69.xml"/><Relationship Id="rId2" Type="http://schemas.openxmlformats.org/officeDocument/2006/relationships/slideLayout" Target="../slideLayouts/slideLayout7.xml"/><Relationship Id="rId1" Type="http://schemas.openxmlformats.org/officeDocument/2006/relationships/tags" Target="../tags/tag117.xml"/><Relationship Id="rId6" Type="http://schemas.openxmlformats.org/officeDocument/2006/relationships/chart" Target="../charts/chart268.xml"/><Relationship Id="rId5" Type="http://schemas.openxmlformats.org/officeDocument/2006/relationships/chart" Target="../charts/chart267.xml"/><Relationship Id="rId4" Type="http://schemas.openxmlformats.org/officeDocument/2006/relationships/image" Target="../media/image28.emf"/></Relationships>
</file>

<file path=ppt/slides/_rels/slide9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8.xml"/><Relationship Id="rId5" Type="http://schemas.openxmlformats.org/officeDocument/2006/relationships/chart" Target="../charts/chart270.xml"/><Relationship Id="rId4" Type="http://schemas.openxmlformats.org/officeDocument/2006/relationships/image" Target="../media/image28.emf"/></Relationships>
</file>

<file path=ppt/slides/_rels/slide9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9.xml"/><Relationship Id="rId5" Type="http://schemas.openxmlformats.org/officeDocument/2006/relationships/chart" Target="../charts/chart271.xml"/><Relationship Id="rId4" Type="http://schemas.openxmlformats.org/officeDocument/2006/relationships/image" Target="../media/image28.emf"/></Relationships>
</file>

<file path=ppt/slides/_rels/slide9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0.xml"/><Relationship Id="rId5" Type="http://schemas.openxmlformats.org/officeDocument/2006/relationships/chart" Target="../charts/chart272.xml"/><Relationship Id="rId4" Type="http://schemas.openxmlformats.org/officeDocument/2006/relationships/image" Target="../media/image28.emf"/></Relationships>
</file>

<file path=ppt/slides/_rels/slide9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1.xml"/><Relationship Id="rId5" Type="http://schemas.openxmlformats.org/officeDocument/2006/relationships/chart" Target="../charts/chart273.xml"/><Relationship Id="rId4" Type="http://schemas.openxmlformats.org/officeDocument/2006/relationships/image" Target="../media/image28.emf"/></Relationships>
</file>

<file path=ppt/slides/_rels/slide9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2.xml"/><Relationship Id="rId5" Type="http://schemas.openxmlformats.org/officeDocument/2006/relationships/chart" Target="../charts/chart274.xml"/><Relationship Id="rId4" Type="http://schemas.openxmlformats.org/officeDocument/2006/relationships/image" Target="../media/image28.emf"/></Relationships>
</file>

<file path=ppt/slides/_rels/slide9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3.xml"/><Relationship Id="rId5" Type="http://schemas.openxmlformats.org/officeDocument/2006/relationships/chart" Target="../charts/chart275.xml"/><Relationship Id="rId4" Type="http://schemas.openxmlformats.org/officeDocument/2006/relationships/image" Target="../media/image28.emf"/></Relationships>
</file>

<file path=ppt/slides/_rels/slide9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4.xml"/><Relationship Id="rId5" Type="http://schemas.openxmlformats.org/officeDocument/2006/relationships/chart" Target="../charts/chart276.xml"/><Relationship Id="rId4" Type="http://schemas.openxmlformats.org/officeDocument/2006/relationships/image" Target="../media/image28.emf"/></Relationships>
</file>

<file path=ppt/slides/_rels/slide9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5.xml"/><Relationship Id="rId5" Type="http://schemas.openxmlformats.org/officeDocument/2006/relationships/chart" Target="../charts/chart277.xml"/><Relationship Id="rId4" Type="http://schemas.openxmlformats.org/officeDocument/2006/relationships/image" Target="../media/image28.emf"/></Relationships>
</file>

<file path=ppt/slides/_rels/slide9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6.xml"/><Relationship Id="rId5" Type="http://schemas.openxmlformats.org/officeDocument/2006/relationships/chart" Target="../charts/chart278.xml"/><Relationship Id="rId4" Type="http://schemas.openxmlformats.org/officeDocument/2006/relationships/image" Target="../media/image28.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17F39D-9FE7-D5EF-D981-D08E2C3E7E72}"/>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6C569F5-3F88-086F-5B00-1E8A66D0F786}"/>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1E5943C8-93A2-CE99-9DC9-6106E372503B}"/>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58EF6AC-09CE-D3E4-3CE4-FEF3C28940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7F0F218-5714-F2E2-17DE-F734014EA97B}"/>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a:t>
            </a:fld>
            <a:endParaRPr lang="en-US" noProof="0"/>
          </a:p>
        </p:txBody>
      </p:sp>
      <p:sp>
        <p:nvSpPr>
          <p:cNvPr id="37" name="Text Placeholder 36">
            <a:extLst>
              <a:ext uri="{FF2B5EF4-FFF2-40B4-BE49-F238E27FC236}">
                <a16:creationId xmlns:a16="http://schemas.microsoft.com/office/drawing/2014/main" id="{5136C012-8234-3446-6BA4-D2A4ED46798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09B51F99-F9B2-A31A-6316-FFD484BF748A}"/>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Category | National | P12M</a:t>
            </a:r>
          </a:p>
        </p:txBody>
      </p:sp>
      <p:sp>
        <p:nvSpPr>
          <p:cNvPr id="2" name="Title 1">
            <a:extLst>
              <a:ext uri="{FF2B5EF4-FFF2-40B4-BE49-F238E27FC236}">
                <a16:creationId xmlns:a16="http://schemas.microsoft.com/office/drawing/2014/main" id="{119F61F6-E75A-45A7-FB48-021A4AD44DFE}"/>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452FBD9-A58C-004E-EBFE-BF25D0D39B4C}"/>
              </a:ext>
            </a:extLst>
          </p:cNvPr>
          <p:cNvGraphicFramePr>
            <a:graphicFrameLocks noGrp="1"/>
          </p:cNvGraphicFramePr>
          <p:nvPr>
            <p:ph idx="4294967295"/>
            <p:extLst>
              <p:ext uri="{D42A27DB-BD31-4B8C-83A1-F6EECF244321}">
                <p14:modId xmlns:p14="http://schemas.microsoft.com/office/powerpoint/2010/main" val="4146394874"/>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B0F72B-C6D2-6D8D-0FC6-9AC4097CBCC1}"/>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sp>
        <p:nvSpPr>
          <p:cNvPr id="16" name="TextBox 15">
            <a:extLst>
              <a:ext uri="{FF2B5EF4-FFF2-40B4-BE49-F238E27FC236}">
                <a16:creationId xmlns:a16="http://schemas.microsoft.com/office/drawing/2014/main" id="{46D148F4-12D7-0EF3-ABFE-35612660B26D}"/>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F3F720E0-CF35-ADEF-C27B-40DD4DEC2868}"/>
              </a:ext>
            </a:extLst>
          </p:cNvPr>
          <p:cNvGraphicFramePr>
            <a:graphicFrameLocks noGrp="1"/>
          </p:cNvGraphicFramePr>
          <p:nvPr>
            <p:extLst>
              <p:ext uri="{D42A27DB-BD31-4B8C-83A1-F6EECF244321}">
                <p14:modId xmlns:p14="http://schemas.microsoft.com/office/powerpoint/2010/main" val="635621620"/>
              </p:ext>
            </p:extLst>
          </p:nvPr>
        </p:nvGraphicFramePr>
        <p:xfrm>
          <a:off x="720534" y="1121410"/>
          <a:ext cx="2028478"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tblGrid>
              <a:tr h="235994">
                <a:tc>
                  <a:txBody>
                    <a:bodyPr/>
                    <a:lstStyle/>
                    <a:p>
                      <a:pPr algn="ctr">
                        <a:defRPr sz="1100">
                          <a:latin typeface="Nexa Book"/>
                        </a:defRPr>
                      </a:pPr>
                      <a:r>
                        <a:rPr b="1">
                          <a:solidFill>
                            <a:srgbClr val="575555"/>
                          </a:solidFill>
                        </a:rPr>
                        <a:t>Effervescents</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414771414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17F39D-9FE7-D5EF-D981-D08E2C3E7E72}"/>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6C569F5-3F88-086F-5B00-1E8A66D0F786}"/>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1E5943C8-93A2-CE99-9DC9-6106E372503B}"/>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58EF6AC-09CE-D3E4-3CE4-FEF3C28940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7F0F218-5714-F2E2-17DE-F734014EA97B}"/>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a:t>
            </a:fld>
            <a:endParaRPr lang="en-US" noProof="0"/>
          </a:p>
        </p:txBody>
      </p:sp>
      <p:sp>
        <p:nvSpPr>
          <p:cNvPr id="37" name="Text Placeholder 36">
            <a:extLst>
              <a:ext uri="{FF2B5EF4-FFF2-40B4-BE49-F238E27FC236}">
                <a16:creationId xmlns:a16="http://schemas.microsoft.com/office/drawing/2014/main" id="{5136C012-8234-3446-6BA4-D2A4ED46798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09B51F99-F9B2-A31A-6316-FFD484BF748A}"/>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Category | NICOLAS PAC | P12M</a:t>
            </a:r>
          </a:p>
        </p:txBody>
      </p:sp>
      <p:sp>
        <p:nvSpPr>
          <p:cNvPr id="2" name="Title 1">
            <a:extLst>
              <a:ext uri="{FF2B5EF4-FFF2-40B4-BE49-F238E27FC236}">
                <a16:creationId xmlns:a16="http://schemas.microsoft.com/office/drawing/2014/main" id="{119F61F6-E75A-45A7-FB48-021A4AD44DFE}"/>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452FBD9-A58C-004E-EBFE-BF25D0D39B4C}"/>
              </a:ext>
            </a:extLst>
          </p:cNvPr>
          <p:cNvGraphicFramePr>
            <a:graphicFrameLocks noGrp="1"/>
          </p:cNvGraphicFramePr>
          <p:nvPr>
            <p:ph idx="4294967295"/>
            <p:extLst>
              <p:ext uri="{D42A27DB-BD31-4B8C-83A1-F6EECF244321}">
                <p14:modId xmlns:p14="http://schemas.microsoft.com/office/powerpoint/2010/main" val="3703964371"/>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B0F72B-C6D2-6D8D-0FC6-9AC4097CBCC1}"/>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sp>
        <p:nvSpPr>
          <p:cNvPr id="16" name="TextBox 15">
            <a:extLst>
              <a:ext uri="{FF2B5EF4-FFF2-40B4-BE49-F238E27FC236}">
                <a16:creationId xmlns:a16="http://schemas.microsoft.com/office/drawing/2014/main" id="{46D148F4-12D7-0EF3-ABFE-35612660B26D}"/>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F3F720E0-CF35-ADEF-C27B-40DD4DEC2868}"/>
              </a:ext>
            </a:extLst>
          </p:cNvPr>
          <p:cNvGraphicFramePr>
            <a:graphicFrameLocks noGrp="1"/>
          </p:cNvGraphicFramePr>
          <p:nvPr>
            <p:extLst>
              <p:ext uri="{D42A27DB-BD31-4B8C-83A1-F6EECF244321}">
                <p14:modId xmlns:p14="http://schemas.microsoft.com/office/powerpoint/2010/main" val="635621620"/>
              </p:ext>
            </p:extLst>
          </p:nvPr>
        </p:nvGraphicFramePr>
        <p:xfrm>
          <a:off x="720534" y="1121410"/>
          <a:ext cx="2028478"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tblGrid>
              <a:tr h="235994">
                <a:tc>
                  <a:txBody>
                    <a:bodyPr/>
                    <a:lstStyle/>
                    <a:p>
                      <a:pPr algn="ctr">
                        <a:defRPr sz="1100">
                          <a:latin typeface="Nexa Book"/>
                        </a:defRPr>
                      </a:pPr>
                      <a:r>
                        <a:rPr b="1">
                          <a:solidFill>
                            <a:srgbClr val="575555"/>
                          </a:solidFill>
                        </a:rPr>
                        <a:t>Effervescents</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3074856598"/>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Effervescents | NICOLAS PAC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25064912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2293495"/>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502147"/>
            <a:ext cx="4869366" cy="254928"/>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761397"/>
            <a:ext cx="4869366" cy="168512"/>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934230"/>
            <a:ext cx="4869366" cy="341345"/>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624976384"/>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Effervescents | NICOLAS RH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2516044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56410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782365"/>
            <a:ext cx="4869366" cy="821784"/>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618078"/>
            <a:ext cx="4869366" cy="543213"/>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175220"/>
            <a:ext cx="4869366" cy="1100355"/>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213933008"/>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Effervescents | NICOLAS AQU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32145907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589987"/>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808103"/>
            <a:ext cx="4869366" cy="813300"/>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635189"/>
            <a:ext cx="4869366" cy="53760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186579"/>
            <a:ext cx="4869366" cy="1088996"/>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707373301"/>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Effervescents | NICOLAS ES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29686696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763002"/>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980156"/>
            <a:ext cx="4869366" cy="756590"/>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749571"/>
            <a:ext cx="4869366" cy="500119"/>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262513"/>
            <a:ext cx="4869366" cy="1013062"/>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283583954"/>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Effervescents | CA 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17568115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2350013"/>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558351"/>
            <a:ext cx="4869366" cy="236403"/>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798761"/>
            <a:ext cx="4869366" cy="156266"/>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959035"/>
            <a:ext cx="4869366" cy="316540"/>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125192795"/>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Effervescents | CA B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59203826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627283"/>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845192"/>
            <a:ext cx="4869366" cy="801076"/>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659845"/>
            <a:ext cx="4869366" cy="52952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202948"/>
            <a:ext cx="4869366" cy="107262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106417467"/>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Effervescents | CA C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824188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505935"/>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724518"/>
            <a:ext cx="4869366" cy="840851"/>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579621"/>
            <a:ext cx="4869366" cy="555816"/>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149690"/>
            <a:ext cx="4869366" cy="1125885"/>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601140046"/>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Effervescents | CA D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81183919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536517"/>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754930"/>
            <a:ext cx="4869366" cy="830827"/>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599839"/>
            <a:ext cx="4869366" cy="549190"/>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163112"/>
            <a:ext cx="4869366" cy="1112463"/>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578201951"/>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Effervescents | CA 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32018343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572040"/>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790255"/>
            <a:ext cx="4869366" cy="819183"/>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623323"/>
            <a:ext cx="4869366" cy="54149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178702"/>
            <a:ext cx="4869366" cy="1096873"/>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03658912"/>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hampagnes | Nationa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38519661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1442897"/>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2656274"/>
            <a:ext cx="4869366" cy="533736"/>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199057"/>
            <a:ext cx="4869366" cy="352808"/>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560912"/>
            <a:ext cx="4869366" cy="714663"/>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41745784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17F39D-9FE7-D5EF-D981-D08E2C3E7E72}"/>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6C569F5-3F88-086F-5B00-1E8A66D0F786}"/>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1E5943C8-93A2-CE99-9DC9-6106E372503B}"/>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58EF6AC-09CE-D3E4-3CE4-FEF3C28940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7F0F218-5714-F2E2-17DE-F734014EA97B}"/>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a:t>
            </a:fld>
            <a:endParaRPr lang="en-US" noProof="0"/>
          </a:p>
        </p:txBody>
      </p:sp>
      <p:sp>
        <p:nvSpPr>
          <p:cNvPr id="37" name="Text Placeholder 36">
            <a:extLst>
              <a:ext uri="{FF2B5EF4-FFF2-40B4-BE49-F238E27FC236}">
                <a16:creationId xmlns:a16="http://schemas.microsoft.com/office/drawing/2014/main" id="{5136C012-8234-3446-6BA4-D2A4ED46798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09B51F99-F9B2-A31A-6316-FFD484BF748A}"/>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Category | NICOLAS RHO | P12M</a:t>
            </a:r>
          </a:p>
        </p:txBody>
      </p:sp>
      <p:sp>
        <p:nvSpPr>
          <p:cNvPr id="2" name="Title 1">
            <a:extLst>
              <a:ext uri="{FF2B5EF4-FFF2-40B4-BE49-F238E27FC236}">
                <a16:creationId xmlns:a16="http://schemas.microsoft.com/office/drawing/2014/main" id="{119F61F6-E75A-45A7-FB48-021A4AD44DFE}"/>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452FBD9-A58C-004E-EBFE-BF25D0D39B4C}"/>
              </a:ext>
            </a:extLst>
          </p:cNvPr>
          <p:cNvGraphicFramePr>
            <a:graphicFrameLocks noGrp="1"/>
          </p:cNvGraphicFramePr>
          <p:nvPr>
            <p:ph idx="4294967295"/>
            <p:extLst>
              <p:ext uri="{D42A27DB-BD31-4B8C-83A1-F6EECF244321}">
                <p14:modId xmlns:p14="http://schemas.microsoft.com/office/powerpoint/2010/main" val="3813955694"/>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B0F72B-C6D2-6D8D-0FC6-9AC4097CBCC1}"/>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sp>
        <p:nvSpPr>
          <p:cNvPr id="16" name="TextBox 15">
            <a:extLst>
              <a:ext uri="{FF2B5EF4-FFF2-40B4-BE49-F238E27FC236}">
                <a16:creationId xmlns:a16="http://schemas.microsoft.com/office/drawing/2014/main" id="{46D148F4-12D7-0EF3-ABFE-35612660B26D}"/>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F3F720E0-CF35-ADEF-C27B-40DD4DEC2868}"/>
              </a:ext>
            </a:extLst>
          </p:cNvPr>
          <p:cNvGraphicFramePr>
            <a:graphicFrameLocks noGrp="1"/>
          </p:cNvGraphicFramePr>
          <p:nvPr>
            <p:extLst>
              <p:ext uri="{D42A27DB-BD31-4B8C-83A1-F6EECF244321}">
                <p14:modId xmlns:p14="http://schemas.microsoft.com/office/powerpoint/2010/main" val="635621620"/>
              </p:ext>
            </p:extLst>
          </p:nvPr>
        </p:nvGraphicFramePr>
        <p:xfrm>
          <a:off x="720534" y="1121410"/>
          <a:ext cx="2028478"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tblGrid>
              <a:tr h="235994">
                <a:tc>
                  <a:txBody>
                    <a:bodyPr/>
                    <a:lstStyle/>
                    <a:p>
                      <a:pPr algn="ctr">
                        <a:defRPr sz="1100">
                          <a:latin typeface="Nexa Book"/>
                        </a:defRPr>
                      </a:pPr>
                      <a:r>
                        <a:rPr b="1">
                          <a:solidFill>
                            <a:srgbClr val="575555"/>
                          </a:solidFill>
                        </a:rPr>
                        <a:t>Effervescents</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2794498087"/>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hampagnes | NICOLA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61883233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312641"/>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532298"/>
            <a:ext cx="4869366" cy="904208"/>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451832"/>
            <a:ext cx="4869366" cy="597697"/>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064855"/>
            <a:ext cx="4869366" cy="1210720"/>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66442046"/>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hampagnes | HMSM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71251003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54462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762994"/>
            <a:ext cx="4869366" cy="828169"/>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605200"/>
            <a:ext cx="4869366" cy="547433"/>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166671"/>
            <a:ext cx="4869366" cy="1108904"/>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450223646"/>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hampagnes | NICOLAS QC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96611090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24783"/>
            <a:ext cx="4869366" cy="1005568"/>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247395"/>
            <a:ext cx="4869366" cy="664697"/>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929136"/>
            <a:ext cx="4869366" cy="1346439"/>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319609833"/>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hampagnes | NICOLAS VC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25612475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303938"/>
            <a:ext cx="4869366" cy="979478"/>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300018"/>
            <a:ext cx="4869366" cy="647451"/>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964071"/>
            <a:ext cx="4869366" cy="1311504"/>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612019716"/>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hampagnes | NICOLAS QC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62701512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338550"/>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558063"/>
            <a:ext cx="4869366" cy="895716"/>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468961"/>
            <a:ext cx="4869366" cy="592083"/>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076226"/>
            <a:ext cx="4869366" cy="1199349"/>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99152947"/>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hampagnes | NICOLAS QC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35081675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214337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352862"/>
            <a:ext cx="4869366" cy="304134"/>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662151"/>
            <a:ext cx="4869366" cy="201038"/>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68344"/>
            <a:ext cx="4869366" cy="407231"/>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373168337"/>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hampagnes | NICOLAS CCP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87601560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951927"/>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173918"/>
            <a:ext cx="4869366" cy="688778"/>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880358"/>
            <a:ext cx="4869366" cy="139521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718480324"/>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hampagnes | NICOLAS IDF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52162592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382411"/>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601680"/>
            <a:ext cx="4869366" cy="881339"/>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497958"/>
            <a:ext cx="4869366" cy="582580"/>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095476"/>
            <a:ext cx="4869366" cy="1180099"/>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62826658"/>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hampagnes | NICOLAS PAC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86384445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2148949"/>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358404"/>
            <a:ext cx="4869366" cy="302308"/>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665836"/>
            <a:ext cx="4869366" cy="199830"/>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70790"/>
            <a:ext cx="4869366" cy="404785"/>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616748938"/>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hampagnes | NICOLAS RH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12839200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993739"/>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215383"/>
            <a:ext cx="4869366" cy="675189"/>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907885"/>
            <a:ext cx="4869366" cy="1367690"/>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87537626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17F39D-9FE7-D5EF-D981-D08E2C3E7E72}"/>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6C569F5-3F88-086F-5B00-1E8A66D0F786}"/>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1E5943C8-93A2-CE99-9DC9-6106E372503B}"/>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58EF6AC-09CE-D3E4-3CE4-FEF3C28940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7F0F218-5714-F2E2-17DE-F734014EA97B}"/>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a:t>
            </a:fld>
            <a:endParaRPr lang="en-US" noProof="0"/>
          </a:p>
        </p:txBody>
      </p:sp>
      <p:sp>
        <p:nvSpPr>
          <p:cNvPr id="37" name="Text Placeholder 36">
            <a:extLst>
              <a:ext uri="{FF2B5EF4-FFF2-40B4-BE49-F238E27FC236}">
                <a16:creationId xmlns:a16="http://schemas.microsoft.com/office/drawing/2014/main" id="{5136C012-8234-3446-6BA4-D2A4ED46798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09B51F99-F9B2-A31A-6316-FFD484BF748A}"/>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Category | NICOLAS AQU | P12M</a:t>
            </a:r>
          </a:p>
        </p:txBody>
      </p:sp>
      <p:sp>
        <p:nvSpPr>
          <p:cNvPr id="2" name="Title 1">
            <a:extLst>
              <a:ext uri="{FF2B5EF4-FFF2-40B4-BE49-F238E27FC236}">
                <a16:creationId xmlns:a16="http://schemas.microsoft.com/office/drawing/2014/main" id="{119F61F6-E75A-45A7-FB48-021A4AD44DFE}"/>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452FBD9-A58C-004E-EBFE-BF25D0D39B4C}"/>
              </a:ext>
            </a:extLst>
          </p:cNvPr>
          <p:cNvGraphicFramePr>
            <a:graphicFrameLocks noGrp="1"/>
          </p:cNvGraphicFramePr>
          <p:nvPr>
            <p:ph idx="4294967295"/>
            <p:extLst>
              <p:ext uri="{D42A27DB-BD31-4B8C-83A1-F6EECF244321}">
                <p14:modId xmlns:p14="http://schemas.microsoft.com/office/powerpoint/2010/main" val="3481464578"/>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B0F72B-C6D2-6D8D-0FC6-9AC4097CBCC1}"/>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sp>
        <p:nvSpPr>
          <p:cNvPr id="16" name="TextBox 15">
            <a:extLst>
              <a:ext uri="{FF2B5EF4-FFF2-40B4-BE49-F238E27FC236}">
                <a16:creationId xmlns:a16="http://schemas.microsoft.com/office/drawing/2014/main" id="{46D148F4-12D7-0EF3-ABFE-35612660B26D}"/>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F3F720E0-CF35-ADEF-C27B-40DD4DEC2868}"/>
              </a:ext>
            </a:extLst>
          </p:cNvPr>
          <p:cNvGraphicFramePr>
            <a:graphicFrameLocks noGrp="1"/>
          </p:cNvGraphicFramePr>
          <p:nvPr>
            <p:extLst>
              <p:ext uri="{D42A27DB-BD31-4B8C-83A1-F6EECF244321}">
                <p14:modId xmlns:p14="http://schemas.microsoft.com/office/powerpoint/2010/main" val="635621620"/>
              </p:ext>
            </p:extLst>
          </p:nvPr>
        </p:nvGraphicFramePr>
        <p:xfrm>
          <a:off x="720534" y="1121410"/>
          <a:ext cx="2028478"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tblGrid>
              <a:tr h="235994">
                <a:tc>
                  <a:txBody>
                    <a:bodyPr/>
                    <a:lstStyle/>
                    <a:p>
                      <a:pPr algn="ctr">
                        <a:defRPr sz="1100">
                          <a:latin typeface="Nexa Book"/>
                        </a:defRPr>
                      </a:pPr>
                      <a:r>
                        <a:rPr b="1">
                          <a:solidFill>
                            <a:srgbClr val="575555"/>
                          </a:solidFill>
                        </a:rPr>
                        <a:t>Effervescents</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4118788151"/>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hampagnes | NICOLAS AQU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92359861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340429"/>
            <a:ext cx="4869366" cy="967450"/>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324277"/>
            <a:ext cx="4869366" cy="639501"/>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980176"/>
            <a:ext cx="4869366" cy="1295399"/>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136299414"/>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hampagnes | NICOLAS ES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44721711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371440"/>
            <a:ext cx="4869366" cy="957229"/>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344893"/>
            <a:ext cx="4869366" cy="63274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993862"/>
            <a:ext cx="4869366" cy="1281713"/>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862348799"/>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hampagnes | CA 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5199582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2216670"/>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425749"/>
            <a:ext cx="4869366" cy="280110"/>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710607"/>
            <a:ext cx="4869366" cy="185157"/>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900512"/>
            <a:ext cx="4869366" cy="375063"/>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544603026"/>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hampagnes | CA B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53416252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368368"/>
            <a:ext cx="4869366" cy="958241"/>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342851"/>
            <a:ext cx="4869366" cy="633413"/>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992506"/>
            <a:ext cx="4869366" cy="1283069"/>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581387419"/>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hampagnes | CA C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24707554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48302"/>
            <a:ext cx="4869366" cy="997816"/>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263031"/>
            <a:ext cx="4869366" cy="659573"/>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939516"/>
            <a:ext cx="4869366" cy="1336059"/>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65943969"/>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hampagnes | CA D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40765751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63231"/>
            <a:ext cx="4869366" cy="99289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272955"/>
            <a:ext cx="4869366" cy="656320"/>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946105"/>
            <a:ext cx="4869366" cy="1329470"/>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541745519"/>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hampagnes | CA 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80869193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68175"/>
            <a:ext cx="4869366" cy="991266"/>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276242"/>
            <a:ext cx="4869366" cy="655243"/>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948287"/>
            <a:ext cx="4869366" cy="1327288"/>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504156952"/>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 Nationa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99318823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379793"/>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599077"/>
            <a:ext cx="4869366" cy="882197"/>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496227"/>
            <a:ext cx="4869366" cy="583147"/>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094327"/>
            <a:ext cx="4869366" cy="1181248"/>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020633549"/>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 NICOLA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29907754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330997"/>
            <a:ext cx="4869366" cy="970559"/>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318006"/>
            <a:ext cx="4869366" cy="641556"/>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976013"/>
            <a:ext cx="4869366" cy="1299562"/>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932638747"/>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 HMSM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71172871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391535"/>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610753"/>
            <a:ext cx="4869366" cy="878349"/>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503990"/>
            <a:ext cx="4869366" cy="580603"/>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099481"/>
            <a:ext cx="4869366" cy="1176094"/>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2961611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17F39D-9FE7-D5EF-D981-D08E2C3E7E72}"/>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6C569F5-3F88-086F-5B00-1E8A66D0F786}"/>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1E5943C8-93A2-CE99-9DC9-6106E372503B}"/>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58EF6AC-09CE-D3E4-3CE4-FEF3C28940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7F0F218-5714-F2E2-17DE-F734014EA97B}"/>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a:t>
            </a:fld>
            <a:endParaRPr lang="en-US" noProof="0"/>
          </a:p>
        </p:txBody>
      </p:sp>
      <p:sp>
        <p:nvSpPr>
          <p:cNvPr id="37" name="Text Placeholder 36">
            <a:extLst>
              <a:ext uri="{FF2B5EF4-FFF2-40B4-BE49-F238E27FC236}">
                <a16:creationId xmlns:a16="http://schemas.microsoft.com/office/drawing/2014/main" id="{5136C012-8234-3446-6BA4-D2A4ED46798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09B51F99-F9B2-A31A-6316-FFD484BF748A}"/>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Category | NICOLAS EST | P12M</a:t>
            </a:r>
          </a:p>
        </p:txBody>
      </p:sp>
      <p:sp>
        <p:nvSpPr>
          <p:cNvPr id="2" name="Title 1">
            <a:extLst>
              <a:ext uri="{FF2B5EF4-FFF2-40B4-BE49-F238E27FC236}">
                <a16:creationId xmlns:a16="http://schemas.microsoft.com/office/drawing/2014/main" id="{119F61F6-E75A-45A7-FB48-021A4AD44DFE}"/>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452FBD9-A58C-004E-EBFE-BF25D0D39B4C}"/>
              </a:ext>
            </a:extLst>
          </p:cNvPr>
          <p:cNvGraphicFramePr>
            <a:graphicFrameLocks noGrp="1"/>
          </p:cNvGraphicFramePr>
          <p:nvPr>
            <p:ph idx="4294967295"/>
            <p:extLst>
              <p:ext uri="{D42A27DB-BD31-4B8C-83A1-F6EECF244321}">
                <p14:modId xmlns:p14="http://schemas.microsoft.com/office/powerpoint/2010/main" val="1277759799"/>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B0F72B-C6D2-6D8D-0FC6-9AC4097CBCC1}"/>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sp>
        <p:nvSpPr>
          <p:cNvPr id="16" name="TextBox 15">
            <a:extLst>
              <a:ext uri="{FF2B5EF4-FFF2-40B4-BE49-F238E27FC236}">
                <a16:creationId xmlns:a16="http://schemas.microsoft.com/office/drawing/2014/main" id="{46D148F4-12D7-0EF3-ABFE-35612660B26D}"/>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F3F720E0-CF35-ADEF-C27B-40DD4DEC2868}"/>
              </a:ext>
            </a:extLst>
          </p:cNvPr>
          <p:cNvGraphicFramePr>
            <a:graphicFrameLocks noGrp="1"/>
          </p:cNvGraphicFramePr>
          <p:nvPr>
            <p:extLst>
              <p:ext uri="{D42A27DB-BD31-4B8C-83A1-F6EECF244321}">
                <p14:modId xmlns:p14="http://schemas.microsoft.com/office/powerpoint/2010/main" val="635621620"/>
              </p:ext>
            </p:extLst>
          </p:nvPr>
        </p:nvGraphicFramePr>
        <p:xfrm>
          <a:off x="720534" y="1121410"/>
          <a:ext cx="2028478"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tblGrid>
              <a:tr h="235994">
                <a:tc>
                  <a:txBody>
                    <a:bodyPr/>
                    <a:lstStyle/>
                    <a:p>
                      <a:pPr algn="ctr">
                        <a:defRPr sz="1100">
                          <a:latin typeface="Nexa Book"/>
                        </a:defRPr>
                      </a:pPr>
                      <a:r>
                        <a:rPr b="1">
                          <a:solidFill>
                            <a:srgbClr val="575555"/>
                          </a:solidFill>
                        </a:rPr>
                        <a:t>Effervescents</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1997912467"/>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 NICOLAS QC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83862143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318325"/>
            <a:ext cx="4869366" cy="974736"/>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309582"/>
            <a:ext cx="4869366" cy="644317"/>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970420"/>
            <a:ext cx="4869366" cy="1305155"/>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31275727"/>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 NICOLAS VC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51761578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303938"/>
            <a:ext cx="4869366" cy="979478"/>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300018"/>
            <a:ext cx="4869366" cy="647451"/>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964071"/>
            <a:ext cx="4869366" cy="1311504"/>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46307917"/>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 NICOLAS QC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0714421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332573"/>
            <a:ext cx="4869366" cy="970039"/>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319054"/>
            <a:ext cx="4869366" cy="641212"/>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551260080"/>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 NICOLAS QC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36907604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71462"/>
            <a:ext cx="4869366" cy="990182"/>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278427"/>
            <a:ext cx="4869366" cy="654527"/>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55717029"/>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 NICOLAS CCP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03913008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443258"/>
            <a:ext cx="4869366" cy="933557"/>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392638"/>
            <a:ext cx="4869366" cy="617097"/>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074550622"/>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 NICOLAS IDF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23988958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89411"/>
            <a:ext cx="4869366" cy="984266"/>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290360"/>
            <a:ext cx="4869366" cy="650616"/>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957659"/>
            <a:ext cx="4869366" cy="1317916"/>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867551807"/>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 NICOLAS PAC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85352434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403304"/>
            <a:ext cx="4869366" cy="946726"/>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366076"/>
            <a:ext cx="4869366" cy="625802"/>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932543086"/>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 NICOLAS RH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77608726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379090"/>
            <a:ext cx="4869366" cy="954707"/>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349979"/>
            <a:ext cx="4869366" cy="631077"/>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997239"/>
            <a:ext cx="4869366" cy="1278336"/>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246618990"/>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 NICOLAS AQU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47851677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443258"/>
            <a:ext cx="4869366" cy="933557"/>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392638"/>
            <a:ext cx="4869366" cy="617097"/>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025558"/>
            <a:ext cx="4869366" cy="125001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00360758"/>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 NICOLAS ES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07399918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14591"/>
            <a:ext cx="4869366" cy="1008927"/>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240619"/>
            <a:ext cx="4869366" cy="666918"/>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924638"/>
            <a:ext cx="4869366" cy="135093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37057882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17F39D-9FE7-D5EF-D981-D08E2C3E7E72}"/>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6C569F5-3F88-086F-5B00-1E8A66D0F786}"/>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1E5943C8-93A2-CE99-9DC9-6106E372503B}"/>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58EF6AC-09CE-D3E4-3CE4-FEF3C28940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7F0F218-5714-F2E2-17DE-F734014EA97B}"/>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a:t>
            </a:fld>
            <a:endParaRPr lang="en-US" noProof="0"/>
          </a:p>
        </p:txBody>
      </p:sp>
      <p:sp>
        <p:nvSpPr>
          <p:cNvPr id="37" name="Text Placeholder 36">
            <a:extLst>
              <a:ext uri="{FF2B5EF4-FFF2-40B4-BE49-F238E27FC236}">
                <a16:creationId xmlns:a16="http://schemas.microsoft.com/office/drawing/2014/main" id="{5136C012-8234-3446-6BA4-D2A4ED46798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09B51F99-F9B2-A31A-6316-FFD484BF748A}"/>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Category | CA A | P12M</a:t>
            </a:r>
          </a:p>
        </p:txBody>
      </p:sp>
      <p:sp>
        <p:nvSpPr>
          <p:cNvPr id="2" name="Title 1">
            <a:extLst>
              <a:ext uri="{FF2B5EF4-FFF2-40B4-BE49-F238E27FC236}">
                <a16:creationId xmlns:a16="http://schemas.microsoft.com/office/drawing/2014/main" id="{119F61F6-E75A-45A7-FB48-021A4AD44DFE}"/>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452FBD9-A58C-004E-EBFE-BF25D0D39B4C}"/>
              </a:ext>
            </a:extLst>
          </p:cNvPr>
          <p:cNvGraphicFramePr>
            <a:graphicFrameLocks noGrp="1"/>
          </p:cNvGraphicFramePr>
          <p:nvPr>
            <p:ph idx="4294967295"/>
            <p:extLst>
              <p:ext uri="{D42A27DB-BD31-4B8C-83A1-F6EECF244321}">
                <p14:modId xmlns:p14="http://schemas.microsoft.com/office/powerpoint/2010/main" val="1215044014"/>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B0F72B-C6D2-6D8D-0FC6-9AC4097CBCC1}"/>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sp>
        <p:nvSpPr>
          <p:cNvPr id="16" name="TextBox 15">
            <a:extLst>
              <a:ext uri="{FF2B5EF4-FFF2-40B4-BE49-F238E27FC236}">
                <a16:creationId xmlns:a16="http://schemas.microsoft.com/office/drawing/2014/main" id="{46D148F4-12D7-0EF3-ABFE-35612660B26D}"/>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F3F720E0-CF35-ADEF-C27B-40DD4DEC2868}"/>
              </a:ext>
            </a:extLst>
          </p:cNvPr>
          <p:cNvGraphicFramePr>
            <a:graphicFrameLocks noGrp="1"/>
          </p:cNvGraphicFramePr>
          <p:nvPr>
            <p:extLst>
              <p:ext uri="{D42A27DB-BD31-4B8C-83A1-F6EECF244321}">
                <p14:modId xmlns:p14="http://schemas.microsoft.com/office/powerpoint/2010/main" val="635621620"/>
              </p:ext>
            </p:extLst>
          </p:nvPr>
        </p:nvGraphicFramePr>
        <p:xfrm>
          <a:off x="720534" y="1121410"/>
          <a:ext cx="2028478"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tblGrid>
              <a:tr h="235994">
                <a:tc>
                  <a:txBody>
                    <a:bodyPr/>
                    <a:lstStyle/>
                    <a:p>
                      <a:pPr algn="ctr">
                        <a:defRPr sz="1100">
                          <a:latin typeface="Nexa Book"/>
                        </a:defRPr>
                      </a:pPr>
                      <a:r>
                        <a:rPr b="1">
                          <a:solidFill>
                            <a:srgbClr val="575555"/>
                          </a:solidFill>
                        </a:rPr>
                        <a:t>Effervescents</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2213671575"/>
      </p:ext>
    </p:extLst>
  </p:cSld>
  <p:clrMapOvr>
    <a:masterClrMapping/>
  </p:clrMapOvr>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 CA 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46469562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326258"/>
            <a:ext cx="4869366" cy="972121"/>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314856"/>
            <a:ext cx="4869366" cy="642588"/>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025731189"/>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 CA B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66786532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326258"/>
            <a:ext cx="4869366" cy="972121"/>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314856"/>
            <a:ext cx="4869366" cy="642588"/>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973921"/>
            <a:ext cx="4869366" cy="1301654"/>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225694218"/>
      </p:ext>
    </p:ext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 CA C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94066724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307148"/>
            <a:ext cx="4869366" cy="978420"/>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302151"/>
            <a:ext cx="4869366" cy="646752"/>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965487"/>
            <a:ext cx="4869366" cy="1310088"/>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18044897"/>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 CA D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65318642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323090"/>
            <a:ext cx="4869366" cy="97316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312750"/>
            <a:ext cx="4869366" cy="643279"/>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476344979"/>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 CA 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50283012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337292"/>
            <a:ext cx="4869366" cy="968484"/>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322191"/>
            <a:ext cx="4869366" cy="64018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978791"/>
            <a:ext cx="4869366" cy="1296784"/>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539045688"/>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Effervescents Sans Alcool | Nationa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01017977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2358199"/>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566491"/>
            <a:ext cx="4869366" cy="233720"/>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804173"/>
            <a:ext cx="4869366" cy="154493"/>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962628"/>
            <a:ext cx="4869366" cy="31294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314537606"/>
      </p:ext>
    </p:extLst>
  </p:cSld>
  <p:clrMapOvr>
    <a:masterClrMapping/>
  </p:clrMapOvr>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Effervescents Sans Alcool | NICOLA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22637095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349802"/>
            <a:ext cx="4869366" cy="964361"/>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330508"/>
            <a:ext cx="4869366" cy="637459"/>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984312"/>
            <a:ext cx="4869366" cy="1291263"/>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882859947"/>
      </p:ext>
    </p:extLst>
  </p:cSld>
  <p:clrMapOvr>
    <a:masterClrMapping/>
  </p:clrMapOvr>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Effervescents Sans Alcool | HMSM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8664729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498773"/>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717396"/>
            <a:ext cx="4869366" cy="843198"/>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574886"/>
            <a:ext cx="4869366" cy="557368"/>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146546"/>
            <a:ext cx="4869366" cy="1129029"/>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968085164"/>
      </p:ext>
    </p:extLst>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Effervescents Sans Alcool | NICOLAS QC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8063006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351358"/>
            <a:ext cx="4869366" cy="963848"/>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331543"/>
            <a:ext cx="4869366" cy="637119"/>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984999"/>
            <a:ext cx="4869366" cy="1290576"/>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065118828"/>
      </p:ext>
    </p:extLst>
  </p:cSld>
  <p:clrMapOvr>
    <a:masterClrMapping/>
  </p:clrMapOvr>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Effervescents Sans Alcool | NICOLAS VC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45580948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061219"/>
            <a:ext cx="4869366" cy="1214356"/>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53792180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17F39D-9FE7-D5EF-D981-D08E2C3E7E72}"/>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6C569F5-3F88-086F-5B00-1E8A66D0F786}"/>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1E5943C8-93A2-CE99-9DC9-6106E372503B}"/>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58EF6AC-09CE-D3E4-3CE4-FEF3C28940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7F0F218-5714-F2E2-17DE-F734014EA97B}"/>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a:t>
            </a:fld>
            <a:endParaRPr lang="en-US" noProof="0"/>
          </a:p>
        </p:txBody>
      </p:sp>
      <p:sp>
        <p:nvSpPr>
          <p:cNvPr id="37" name="Text Placeholder 36">
            <a:extLst>
              <a:ext uri="{FF2B5EF4-FFF2-40B4-BE49-F238E27FC236}">
                <a16:creationId xmlns:a16="http://schemas.microsoft.com/office/drawing/2014/main" id="{5136C012-8234-3446-6BA4-D2A4ED46798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09B51F99-F9B2-A31A-6316-FFD484BF748A}"/>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Category | CA B | P12M</a:t>
            </a:r>
          </a:p>
        </p:txBody>
      </p:sp>
      <p:sp>
        <p:nvSpPr>
          <p:cNvPr id="2" name="Title 1">
            <a:extLst>
              <a:ext uri="{FF2B5EF4-FFF2-40B4-BE49-F238E27FC236}">
                <a16:creationId xmlns:a16="http://schemas.microsoft.com/office/drawing/2014/main" id="{119F61F6-E75A-45A7-FB48-021A4AD44DFE}"/>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452FBD9-A58C-004E-EBFE-BF25D0D39B4C}"/>
              </a:ext>
            </a:extLst>
          </p:cNvPr>
          <p:cNvGraphicFramePr>
            <a:graphicFrameLocks noGrp="1"/>
          </p:cNvGraphicFramePr>
          <p:nvPr>
            <p:ph idx="4294967295"/>
            <p:extLst>
              <p:ext uri="{D42A27DB-BD31-4B8C-83A1-F6EECF244321}">
                <p14:modId xmlns:p14="http://schemas.microsoft.com/office/powerpoint/2010/main" val="3448285467"/>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B0F72B-C6D2-6D8D-0FC6-9AC4097CBCC1}"/>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sp>
        <p:nvSpPr>
          <p:cNvPr id="16" name="TextBox 15">
            <a:extLst>
              <a:ext uri="{FF2B5EF4-FFF2-40B4-BE49-F238E27FC236}">
                <a16:creationId xmlns:a16="http://schemas.microsoft.com/office/drawing/2014/main" id="{46D148F4-12D7-0EF3-ABFE-35612660B26D}"/>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F3F720E0-CF35-ADEF-C27B-40DD4DEC2868}"/>
              </a:ext>
            </a:extLst>
          </p:cNvPr>
          <p:cNvGraphicFramePr>
            <a:graphicFrameLocks noGrp="1"/>
          </p:cNvGraphicFramePr>
          <p:nvPr>
            <p:extLst>
              <p:ext uri="{D42A27DB-BD31-4B8C-83A1-F6EECF244321}">
                <p14:modId xmlns:p14="http://schemas.microsoft.com/office/powerpoint/2010/main" val="635621620"/>
              </p:ext>
            </p:extLst>
          </p:nvPr>
        </p:nvGraphicFramePr>
        <p:xfrm>
          <a:off x="720534" y="1121410"/>
          <a:ext cx="2028478"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tblGrid>
              <a:tr h="235994">
                <a:tc>
                  <a:txBody>
                    <a:bodyPr/>
                    <a:lstStyle/>
                    <a:p>
                      <a:pPr algn="ctr">
                        <a:defRPr sz="1100">
                          <a:latin typeface="Nexa Book"/>
                        </a:defRPr>
                      </a:pPr>
                      <a:r>
                        <a:rPr b="1">
                          <a:solidFill>
                            <a:srgbClr val="575555"/>
                          </a:solidFill>
                        </a:rPr>
                        <a:t>Effervescents</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1862176779"/>
      </p:ext>
    </p:extLst>
  </p:cSld>
  <p:clrMapOvr>
    <a:masterClrMapping/>
  </p:clrMapOvr>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Effervescents Sans Alcool | NICOLAS QC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4493738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43293"/>
            <a:ext cx="4869366" cy="999467"/>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259700"/>
            <a:ext cx="4869366" cy="66066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937305"/>
            <a:ext cx="4869366" cy="1338270"/>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532082053"/>
      </p:ext>
    </p:extLst>
  </p:cSld>
  <p:clrMapOvr>
    <a:masterClrMapping/>
  </p:clrMapOvr>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Effervescents Sans Alcool | NICOLAS QC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6939944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796248"/>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019538"/>
            <a:ext cx="4869366" cy="739373"/>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777870"/>
            <a:ext cx="4869366" cy="1497705"/>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434955530"/>
      </p:ext>
    </p:extLst>
  </p:cSld>
  <p:clrMapOvr>
    <a:masterClrMapping/>
  </p:clrMapOvr>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Effervescents Sans Alcool | NICOLAS CCP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3217066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354466"/>
            <a:ext cx="4869366" cy="962823"/>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333609"/>
            <a:ext cx="4869366" cy="636442"/>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986371"/>
            <a:ext cx="4869366" cy="1289204"/>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843249624"/>
      </p:ext>
    </p:extLst>
  </p:cSld>
  <p:clrMapOvr>
    <a:masterClrMapping/>
  </p:clrMapOvr>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Effervescents Sans Alcool | NICOLAS IDF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87687914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310350"/>
            <a:ext cx="4869366" cy="977364"/>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304280"/>
            <a:ext cx="4869366" cy="64605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966900"/>
            <a:ext cx="4869366" cy="1308675"/>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194870101"/>
      </p:ext>
    </p:extLst>
  </p:cSld>
  <p:clrMapOvr>
    <a:masterClrMapping/>
  </p:clrMapOvr>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Effervescents Sans Alcool | NICOLAS PAC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93147370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300722"/>
            <a:ext cx="4869366" cy="980538"/>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297880"/>
            <a:ext cx="4869366" cy="648152"/>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962652"/>
            <a:ext cx="4869366" cy="1312923"/>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490532868"/>
      </p:ext>
    </p:extLst>
  </p:cSld>
  <p:clrMapOvr>
    <a:masterClrMapping/>
  </p:clrMapOvr>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Effervescents Sans Alcool | NICOLAS RH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24888631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362206"/>
            <a:ext cx="4869366" cy="960272"/>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338754"/>
            <a:ext cx="4869366" cy="634756"/>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989787"/>
            <a:ext cx="4869366" cy="1285788"/>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843929389"/>
      </p:ext>
    </p:extLst>
  </p:cSld>
  <p:clrMapOvr>
    <a:masterClrMapping/>
  </p:clrMapOvr>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Effervescents Sans Alcool | NICOLAS AQU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48923308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314017"/>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065459"/>
            <a:ext cx="4869366" cy="1210116"/>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23463010"/>
      </p:ext>
    </p:extLst>
  </p:cSld>
  <p:clrMapOvr>
    <a:masterClrMapping/>
  </p:clrMapOvr>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Effervescents Sans Alcool | NICOLAS ES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36574168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391248"/>
            <a:ext cx="4869366" cy="950700"/>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358062"/>
            <a:ext cx="4869366" cy="628428"/>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002604"/>
            <a:ext cx="4869366" cy="1272971"/>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304977820"/>
      </p:ext>
    </p:extLst>
  </p:cSld>
  <p:clrMapOvr>
    <a:masterClrMapping/>
  </p:clrMapOvr>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Effervescents Sans Alcool | CA 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61844408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100190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223480"/>
            <a:ext cx="4869366" cy="67253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913260"/>
            <a:ext cx="4869366" cy="1362315"/>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182485184"/>
      </p:ext>
    </p:extLst>
  </p:cSld>
  <p:clrMapOvr>
    <a:masterClrMapping/>
  </p:clrMapOvr>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Effervescents Sans Alcool | CA B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21717275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351358"/>
            <a:ext cx="4869366" cy="963848"/>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331543"/>
            <a:ext cx="4869366" cy="637119"/>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984999"/>
            <a:ext cx="4869366" cy="1290576"/>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88642404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17F39D-9FE7-D5EF-D981-D08E2C3E7E72}"/>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6C569F5-3F88-086F-5B00-1E8A66D0F786}"/>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1E5943C8-93A2-CE99-9DC9-6106E372503B}"/>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58EF6AC-09CE-D3E4-3CE4-FEF3C28940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7F0F218-5714-F2E2-17DE-F734014EA97B}"/>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a:t>
            </a:fld>
            <a:endParaRPr lang="en-US" noProof="0"/>
          </a:p>
        </p:txBody>
      </p:sp>
      <p:sp>
        <p:nvSpPr>
          <p:cNvPr id="37" name="Text Placeholder 36">
            <a:extLst>
              <a:ext uri="{FF2B5EF4-FFF2-40B4-BE49-F238E27FC236}">
                <a16:creationId xmlns:a16="http://schemas.microsoft.com/office/drawing/2014/main" id="{5136C012-8234-3446-6BA4-D2A4ED46798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09B51F99-F9B2-A31A-6316-FFD484BF748A}"/>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Category | CA C | P12M</a:t>
            </a:r>
          </a:p>
        </p:txBody>
      </p:sp>
      <p:sp>
        <p:nvSpPr>
          <p:cNvPr id="2" name="Title 1">
            <a:extLst>
              <a:ext uri="{FF2B5EF4-FFF2-40B4-BE49-F238E27FC236}">
                <a16:creationId xmlns:a16="http://schemas.microsoft.com/office/drawing/2014/main" id="{119F61F6-E75A-45A7-FB48-021A4AD44DFE}"/>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452FBD9-A58C-004E-EBFE-BF25D0D39B4C}"/>
              </a:ext>
            </a:extLst>
          </p:cNvPr>
          <p:cNvGraphicFramePr>
            <a:graphicFrameLocks noGrp="1"/>
          </p:cNvGraphicFramePr>
          <p:nvPr>
            <p:ph idx="4294967295"/>
            <p:extLst>
              <p:ext uri="{D42A27DB-BD31-4B8C-83A1-F6EECF244321}">
                <p14:modId xmlns:p14="http://schemas.microsoft.com/office/powerpoint/2010/main" val="3901593797"/>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B0F72B-C6D2-6D8D-0FC6-9AC4097CBCC1}"/>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sp>
        <p:nvSpPr>
          <p:cNvPr id="16" name="TextBox 15">
            <a:extLst>
              <a:ext uri="{FF2B5EF4-FFF2-40B4-BE49-F238E27FC236}">
                <a16:creationId xmlns:a16="http://schemas.microsoft.com/office/drawing/2014/main" id="{46D148F4-12D7-0EF3-ABFE-35612660B26D}"/>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F3F720E0-CF35-ADEF-C27B-40DD4DEC2868}"/>
              </a:ext>
            </a:extLst>
          </p:cNvPr>
          <p:cNvGraphicFramePr>
            <a:graphicFrameLocks noGrp="1"/>
          </p:cNvGraphicFramePr>
          <p:nvPr>
            <p:extLst>
              <p:ext uri="{D42A27DB-BD31-4B8C-83A1-F6EECF244321}">
                <p14:modId xmlns:p14="http://schemas.microsoft.com/office/powerpoint/2010/main" val="635621620"/>
              </p:ext>
            </p:extLst>
          </p:nvPr>
        </p:nvGraphicFramePr>
        <p:xfrm>
          <a:off x="720534" y="1121410"/>
          <a:ext cx="2028478"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tblGrid>
              <a:tr h="235994">
                <a:tc>
                  <a:txBody>
                    <a:bodyPr/>
                    <a:lstStyle/>
                    <a:p>
                      <a:pPr algn="ctr">
                        <a:defRPr sz="1100">
                          <a:latin typeface="Nexa Book"/>
                        </a:defRPr>
                      </a:pPr>
                      <a:r>
                        <a:rPr b="1">
                          <a:solidFill>
                            <a:srgbClr val="575555"/>
                          </a:solidFill>
                        </a:rPr>
                        <a:t>Effervescents</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4030432706"/>
      </p:ext>
    </p:extLst>
  </p:cSld>
  <p:clrMapOvr>
    <a:masterClrMapping/>
  </p:clrMapOvr>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Effervescents Sans Alcool | CA C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54147315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327839"/>
            <a:ext cx="4869366" cy="971600"/>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315907"/>
            <a:ext cx="4869366" cy="64224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974619"/>
            <a:ext cx="4869366" cy="1300956"/>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539533327"/>
      </p:ext>
    </p:extLst>
  </p:cSld>
  <p:clrMapOvr>
    <a:masterClrMapping/>
  </p:clrMapOvr>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Effervescents Sans Alcool | CA D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01461735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479274"/>
            <a:ext cx="4869366" cy="92168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416582"/>
            <a:ext cx="4869366" cy="609250"/>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041454"/>
            <a:ext cx="4869366" cy="1234121"/>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353425920"/>
      </p:ext>
    </p:extLst>
  </p:cSld>
  <p:clrMapOvr>
    <a:masterClrMapping/>
  </p:clrMapOvr>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Effervescents Sans Alcool | CA 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80210662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323610"/>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069669"/>
            <a:ext cx="4869366" cy="1205906"/>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667430666"/>
      </p:ext>
    </p:extLst>
  </p:cSld>
  <p:clrMapOvr>
    <a:masterClrMapping/>
  </p:clrMapOvr>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Blanc De Blancs | Nationa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68197212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451225"/>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670112"/>
            <a:ext cx="4869366" cy="858784"/>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543452"/>
            <a:ext cx="4869366" cy="567670"/>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125678"/>
            <a:ext cx="4869366" cy="114989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501588343"/>
      </p:ext>
    </p:extLst>
  </p:cSld>
  <p:clrMapOvr>
    <a:masterClrMapping/>
  </p:clrMapOvr>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Blanc De Blancs | NICOLA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65436409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67495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899255"/>
            <a:ext cx="4869366" cy="77879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698018"/>
            <a:ext cx="4869366" cy="15775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939902339"/>
      </p:ext>
    </p:extLst>
  </p:cSld>
  <p:clrMapOvr>
    <a:masterClrMapping/>
  </p:clrMapOvr>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Blanc De Blancs | HMSM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30314156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976420"/>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2192389"/>
            <a:ext cx="4869366" cy="686636"/>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839197713"/>
      </p:ext>
    </p:extLst>
  </p:cSld>
  <p:clrMapOvr>
    <a:masterClrMapping/>
  </p:clrMapOvr>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Blanc De Blancs | NICOLAS QC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9035083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770686"/>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994189"/>
            <a:ext cx="4869366" cy="747681"/>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761041"/>
            <a:ext cx="4869366" cy="1514534"/>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22062571"/>
      </p:ext>
    </p:extLst>
  </p:cSld>
  <p:clrMapOvr>
    <a:masterClrMapping/>
  </p:clrMapOvr>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Blanc De Blancs | NICOLAS VC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66938541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836257"/>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059213"/>
            <a:ext cx="4869366" cy="726370"/>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804209"/>
            <a:ext cx="4869366" cy="1471366"/>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092877849"/>
      </p:ext>
    </p:extLst>
  </p:cSld>
  <p:clrMapOvr>
    <a:masterClrMapping/>
  </p:clrMapOvr>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Blanc De Blancs | NICOLAS QC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4378995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135386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2567738"/>
            <a:ext cx="4869366" cy="562918"/>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140198"/>
            <a:ext cx="4869366" cy="372098"/>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521837"/>
            <a:ext cx="4869366" cy="753738"/>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892714486"/>
      </p:ext>
    </p:extLst>
  </p:cSld>
  <p:clrMapOvr>
    <a:masterClrMapping/>
  </p:clrMapOvr>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Blanc De Blancs | NICOLAS QC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76475393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732733"/>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950056"/>
            <a:ext cx="4869366" cy="766512"/>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729560"/>
            <a:ext cx="4869366" cy="506677"/>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249229"/>
            <a:ext cx="4869366" cy="1026346"/>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36391660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17F39D-9FE7-D5EF-D981-D08E2C3E7E72}"/>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6C569F5-3F88-086F-5B00-1E8A66D0F786}"/>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1E5943C8-93A2-CE99-9DC9-6106E372503B}"/>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58EF6AC-09CE-D3E4-3CE4-FEF3C28940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7F0F218-5714-F2E2-17DE-F734014EA97B}"/>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a:t>
            </a:fld>
            <a:endParaRPr lang="en-US" noProof="0"/>
          </a:p>
        </p:txBody>
      </p:sp>
      <p:sp>
        <p:nvSpPr>
          <p:cNvPr id="37" name="Text Placeholder 36">
            <a:extLst>
              <a:ext uri="{FF2B5EF4-FFF2-40B4-BE49-F238E27FC236}">
                <a16:creationId xmlns:a16="http://schemas.microsoft.com/office/drawing/2014/main" id="{5136C012-8234-3446-6BA4-D2A4ED46798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09B51F99-F9B2-A31A-6316-FFD484BF748A}"/>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Category | CA D | P12M</a:t>
            </a:r>
          </a:p>
        </p:txBody>
      </p:sp>
      <p:sp>
        <p:nvSpPr>
          <p:cNvPr id="2" name="Title 1">
            <a:extLst>
              <a:ext uri="{FF2B5EF4-FFF2-40B4-BE49-F238E27FC236}">
                <a16:creationId xmlns:a16="http://schemas.microsoft.com/office/drawing/2014/main" id="{119F61F6-E75A-45A7-FB48-021A4AD44DFE}"/>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452FBD9-A58C-004E-EBFE-BF25D0D39B4C}"/>
              </a:ext>
            </a:extLst>
          </p:cNvPr>
          <p:cNvGraphicFramePr>
            <a:graphicFrameLocks noGrp="1"/>
          </p:cNvGraphicFramePr>
          <p:nvPr>
            <p:ph idx="4294967295"/>
            <p:extLst>
              <p:ext uri="{D42A27DB-BD31-4B8C-83A1-F6EECF244321}">
                <p14:modId xmlns:p14="http://schemas.microsoft.com/office/powerpoint/2010/main" val="3357862697"/>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B0F72B-C6D2-6D8D-0FC6-9AC4097CBCC1}"/>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sp>
        <p:nvSpPr>
          <p:cNvPr id="16" name="TextBox 15">
            <a:extLst>
              <a:ext uri="{FF2B5EF4-FFF2-40B4-BE49-F238E27FC236}">
                <a16:creationId xmlns:a16="http://schemas.microsoft.com/office/drawing/2014/main" id="{46D148F4-12D7-0EF3-ABFE-35612660B26D}"/>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F3F720E0-CF35-ADEF-C27B-40DD4DEC2868}"/>
              </a:ext>
            </a:extLst>
          </p:cNvPr>
          <p:cNvGraphicFramePr>
            <a:graphicFrameLocks noGrp="1"/>
          </p:cNvGraphicFramePr>
          <p:nvPr>
            <p:extLst>
              <p:ext uri="{D42A27DB-BD31-4B8C-83A1-F6EECF244321}">
                <p14:modId xmlns:p14="http://schemas.microsoft.com/office/powerpoint/2010/main" val="635621620"/>
              </p:ext>
            </p:extLst>
          </p:nvPr>
        </p:nvGraphicFramePr>
        <p:xfrm>
          <a:off x="720534" y="1121410"/>
          <a:ext cx="2028478"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tblGrid>
              <a:tr h="235994">
                <a:tc>
                  <a:txBody>
                    <a:bodyPr/>
                    <a:lstStyle/>
                    <a:p>
                      <a:pPr algn="ctr">
                        <a:defRPr sz="1100">
                          <a:latin typeface="Nexa Book"/>
                        </a:defRPr>
                      </a:pPr>
                      <a:r>
                        <a:rPr b="1">
                          <a:solidFill>
                            <a:srgbClr val="575555"/>
                          </a:solidFill>
                        </a:rPr>
                        <a:t>Effervescents</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2802111267"/>
      </p:ext>
    </p:extLst>
  </p:cSld>
  <p:clrMapOvr>
    <a:masterClrMapping/>
  </p:clrMapOvr>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Blanc De Blancs | NICOLAS CCP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73931071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859948"/>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2076564"/>
            <a:ext cx="4869366" cy="724813"/>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813663"/>
            <a:ext cx="4869366" cy="47911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305062"/>
            <a:ext cx="4869366" cy="970513"/>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734106036"/>
      </p:ext>
    </p:extLst>
  </p:cSld>
  <p:clrMapOvr>
    <a:masterClrMapping/>
  </p:clrMapOvr>
</p:sld>
</file>

<file path=ppt/slides/slide1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Blanc De Blancs | NICOLAS IDF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96761404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636968"/>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861585"/>
            <a:ext cx="4869366" cy="791139"/>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673010"/>
            <a:ext cx="4869366" cy="1602565"/>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612694970"/>
      </p:ext>
    </p:extLst>
  </p:cSld>
  <p:clrMapOvr>
    <a:masterClrMapping/>
  </p:clrMapOvr>
</p:sld>
</file>

<file path=ppt/slides/slide1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Blanc De Blancs | NICOLAS PAC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8341268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1117112"/>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2332299"/>
            <a:ext cx="4869366" cy="640521"/>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983677"/>
            <a:ext cx="4869366" cy="42339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417928"/>
            <a:ext cx="4869366" cy="85764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063491658"/>
      </p:ext>
    </p:extLst>
  </p:cSld>
  <p:clrMapOvr>
    <a:masterClrMapping/>
  </p:clrMapOvr>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Blanc De Blancs | NICOLAS RH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64416560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679620"/>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903881"/>
            <a:ext cx="4869366" cy="777278"/>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701089"/>
            <a:ext cx="4869366" cy="1574486"/>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012948446"/>
      </p:ext>
    </p:extLst>
  </p:cSld>
  <p:clrMapOvr>
    <a:masterClrMapping/>
  </p:clrMapOvr>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Blanc De Blancs | NICOLAS AQU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39112249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78637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009747"/>
            <a:ext cx="4869366" cy="742582"/>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771370"/>
            <a:ext cx="4869366" cy="1504205"/>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081793114"/>
      </p:ext>
    </p:extLst>
  </p:cSld>
  <p:clrMapOvr>
    <a:masterClrMapping/>
  </p:clrMapOvr>
</p:sld>
</file>

<file path=ppt/slides/slide1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Blanc De Blancs | NICOLAS ES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90443448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624037"/>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841964"/>
            <a:ext cx="4869366" cy="802140"/>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657700"/>
            <a:ext cx="4869366" cy="530228"/>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201523"/>
            <a:ext cx="4869366" cy="1074052"/>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631125155"/>
      </p:ext>
    </p:extLst>
  </p:cSld>
  <p:clrMapOvr>
    <a:masterClrMapping/>
  </p:clrMapOvr>
</p:sld>
</file>

<file path=ppt/slides/slide1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Blanc De Blancs | CA 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3024049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1138293"/>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2353363"/>
            <a:ext cx="4869366" cy="633578"/>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997680"/>
            <a:ext cx="4869366" cy="418806"/>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427225"/>
            <a:ext cx="4869366" cy="848350"/>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024054619"/>
      </p:ext>
    </p:extLst>
  </p:cSld>
  <p:clrMapOvr>
    <a:masterClrMapping/>
  </p:clrMapOvr>
</p:sld>
</file>

<file path=ppt/slides/slide1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Blanc De Blancs | CA B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01523417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68889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913079"/>
            <a:ext cx="4869366" cy="774263"/>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707196"/>
            <a:ext cx="4869366" cy="1568379"/>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9001331"/>
      </p:ext>
    </p:extLst>
  </p:cSld>
  <p:clrMapOvr>
    <a:masterClrMapping/>
  </p:clrMapOvr>
</p:sld>
</file>

<file path=ppt/slides/slide1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Blanc De Blancs | CA C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698769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716296"/>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940252"/>
            <a:ext cx="4869366" cy="765358"/>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725235"/>
            <a:ext cx="4869366" cy="1550340"/>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170871015"/>
      </p:ext>
    </p:extLst>
  </p:cSld>
  <p:clrMapOvr>
    <a:masterClrMapping/>
  </p:clrMapOvr>
</p:sld>
</file>

<file path=ppt/slides/slide1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Blanc De Blancs | CA D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66756060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68889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913079"/>
            <a:ext cx="4869366" cy="774263"/>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707196"/>
            <a:ext cx="4869366" cy="1568379"/>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65862051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17F39D-9FE7-D5EF-D981-D08E2C3E7E72}"/>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6C569F5-3F88-086F-5B00-1E8A66D0F786}"/>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1E5943C8-93A2-CE99-9DC9-6106E372503B}"/>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58EF6AC-09CE-D3E4-3CE4-FEF3C28940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7F0F218-5714-F2E2-17DE-F734014EA97B}"/>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8</a:t>
            </a:fld>
            <a:endParaRPr lang="en-US" noProof="0"/>
          </a:p>
        </p:txBody>
      </p:sp>
      <p:sp>
        <p:nvSpPr>
          <p:cNvPr id="37" name="Text Placeholder 36">
            <a:extLst>
              <a:ext uri="{FF2B5EF4-FFF2-40B4-BE49-F238E27FC236}">
                <a16:creationId xmlns:a16="http://schemas.microsoft.com/office/drawing/2014/main" id="{5136C012-8234-3446-6BA4-D2A4ED46798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09B51F99-F9B2-A31A-6316-FFD484BF748A}"/>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Category | CA E | P12M</a:t>
            </a:r>
          </a:p>
        </p:txBody>
      </p:sp>
      <p:sp>
        <p:nvSpPr>
          <p:cNvPr id="2" name="Title 1">
            <a:extLst>
              <a:ext uri="{FF2B5EF4-FFF2-40B4-BE49-F238E27FC236}">
                <a16:creationId xmlns:a16="http://schemas.microsoft.com/office/drawing/2014/main" id="{119F61F6-E75A-45A7-FB48-021A4AD44DFE}"/>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452FBD9-A58C-004E-EBFE-BF25D0D39B4C}"/>
              </a:ext>
            </a:extLst>
          </p:cNvPr>
          <p:cNvGraphicFramePr>
            <a:graphicFrameLocks noGrp="1"/>
          </p:cNvGraphicFramePr>
          <p:nvPr>
            <p:ph idx="4294967295"/>
            <p:extLst>
              <p:ext uri="{D42A27DB-BD31-4B8C-83A1-F6EECF244321}">
                <p14:modId xmlns:p14="http://schemas.microsoft.com/office/powerpoint/2010/main" val="266646757"/>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B0F72B-C6D2-6D8D-0FC6-9AC4097CBCC1}"/>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sp>
        <p:nvSpPr>
          <p:cNvPr id="16" name="TextBox 15">
            <a:extLst>
              <a:ext uri="{FF2B5EF4-FFF2-40B4-BE49-F238E27FC236}">
                <a16:creationId xmlns:a16="http://schemas.microsoft.com/office/drawing/2014/main" id="{46D148F4-12D7-0EF3-ABFE-35612660B26D}"/>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F3F720E0-CF35-ADEF-C27B-40DD4DEC2868}"/>
              </a:ext>
            </a:extLst>
          </p:cNvPr>
          <p:cNvGraphicFramePr>
            <a:graphicFrameLocks noGrp="1"/>
          </p:cNvGraphicFramePr>
          <p:nvPr>
            <p:extLst>
              <p:ext uri="{D42A27DB-BD31-4B8C-83A1-F6EECF244321}">
                <p14:modId xmlns:p14="http://schemas.microsoft.com/office/powerpoint/2010/main" val="635621620"/>
              </p:ext>
            </p:extLst>
          </p:nvPr>
        </p:nvGraphicFramePr>
        <p:xfrm>
          <a:off x="720534" y="1121410"/>
          <a:ext cx="2028478"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tblGrid>
              <a:tr h="235994">
                <a:tc>
                  <a:txBody>
                    <a:bodyPr/>
                    <a:lstStyle/>
                    <a:p>
                      <a:pPr algn="ctr">
                        <a:defRPr sz="1100">
                          <a:latin typeface="Nexa Book"/>
                        </a:defRPr>
                      </a:pPr>
                      <a:r>
                        <a:rPr b="1">
                          <a:solidFill>
                            <a:srgbClr val="575555"/>
                          </a:solidFill>
                        </a:rPr>
                        <a:t>Effervescents</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2154759552"/>
      </p:ext>
    </p:extLst>
  </p:cSld>
  <p:clrMapOvr>
    <a:masterClrMapping/>
  </p:clrMapOvr>
</p:sld>
</file>

<file path=ppt/slides/slide1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8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Blanc De Blancs | CA 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78871170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783539"/>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006934"/>
            <a:ext cx="4869366" cy="74350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769503"/>
            <a:ext cx="4869366" cy="1506072"/>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000428465"/>
      </p:ext>
    </p:extLst>
  </p:cSld>
  <p:clrMapOvr>
    <a:masterClrMapping/>
  </p:clrMapOvr>
</p:sld>
</file>

<file path=ppt/slides/slide1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8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Bruts | Nationa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6433694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1265810"/>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2480171"/>
            <a:ext cx="4869366" cy="591781"/>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081983"/>
            <a:ext cx="4869366" cy="391177"/>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483190"/>
            <a:ext cx="4869366" cy="792385"/>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236281639"/>
      </p:ext>
    </p:extLst>
  </p:cSld>
  <p:clrMapOvr>
    <a:masterClrMapping/>
  </p:clrMapOvr>
</p:sld>
</file>

<file path=ppt/slides/slide1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8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Bruts | NICOLA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87576547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822621"/>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045690"/>
            <a:ext cx="4869366" cy="730802"/>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795232"/>
            <a:ext cx="4869366" cy="1480343"/>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281909835"/>
      </p:ext>
    </p:extLst>
  </p:cSld>
  <p:clrMapOvr>
    <a:masterClrMapping/>
  </p:clrMapOvr>
</p:sld>
</file>

<file path=ppt/slides/slide1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8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Bruts | HMSM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40604426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598865"/>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816931"/>
            <a:ext cx="4869366" cy="810391"/>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641058"/>
            <a:ext cx="4869366" cy="535682"/>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190476"/>
            <a:ext cx="4869366" cy="1085099"/>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114350265"/>
      </p:ext>
    </p:extLst>
  </p:cSld>
  <p:clrMapOvr>
    <a:masterClrMapping/>
  </p:clrMapOvr>
</p:sld>
</file>

<file path=ppt/slides/slide1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8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Bruts | NICOLAS QC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16767904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826729"/>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049765"/>
            <a:ext cx="4869366" cy="729467"/>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797936"/>
            <a:ext cx="4869366" cy="1477639"/>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210927579"/>
      </p:ext>
    </p:extLst>
  </p:cSld>
  <p:clrMapOvr>
    <a:masterClrMapping/>
  </p:clrMapOvr>
</p:sld>
</file>

<file path=ppt/slides/slide1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8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Bruts | NICOLAS VC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78952484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872262"/>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094918"/>
            <a:ext cx="4869366" cy="714669"/>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827912"/>
            <a:ext cx="4869366" cy="1447663"/>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023369399"/>
      </p:ext>
    </p:extLst>
  </p:cSld>
  <p:clrMapOvr>
    <a:masterClrMapping/>
  </p:clrMapOvr>
</p:sld>
</file>

<file path=ppt/slides/slide1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8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Bruts | NICOLAS QC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8875394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88530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107852"/>
            <a:ext cx="4869366" cy="710430"/>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836499"/>
            <a:ext cx="4869366" cy="1439076"/>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828509757"/>
      </p:ext>
    </p:extLst>
  </p:cSld>
  <p:clrMapOvr>
    <a:masterClrMapping/>
  </p:clrMapOvr>
</p:sld>
</file>

<file path=ppt/slides/slide1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8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Bruts | NICOLAS QC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51064163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717800"/>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941743"/>
            <a:ext cx="4869366" cy="764869"/>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726225"/>
            <a:ext cx="4869366" cy="1549350"/>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818337434"/>
      </p:ext>
    </p:extLst>
  </p:cSld>
  <p:clrMapOvr>
    <a:masterClrMapping/>
  </p:clrMapOvr>
</p:sld>
</file>

<file path=ppt/slides/slide1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8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Bruts | NICOLAS CCP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96303974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779271"/>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002701"/>
            <a:ext cx="4869366" cy="744891"/>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766693"/>
            <a:ext cx="4869366" cy="1508882"/>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802759619"/>
      </p:ext>
    </p:extLst>
  </p:cSld>
  <p:clrMapOvr>
    <a:masterClrMapping/>
  </p:clrMapOvr>
</p:sld>
</file>

<file path=ppt/slides/slide1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8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Bruts | NICOLAS IDF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87158160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807428"/>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030624"/>
            <a:ext cx="4869366" cy="735740"/>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785229"/>
            <a:ext cx="4869366" cy="1490346"/>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00508749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65918C-CF2D-B9BE-373E-8055AB4F589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BE947E9A-9EDC-50FE-5484-367359C894D7}"/>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DC475BB2-0528-29FB-C158-9EF2E6156FB0}"/>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C87CB3FA-1793-85BB-0720-68CB9A322CAF}"/>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300044B2-FAA5-2879-ADFC-6874BBAF83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DA8BB0C0-E087-2E71-1F6D-E725250BE3D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9</a:t>
            </a:fld>
            <a:endParaRPr lang="en-US" noProof="0"/>
          </a:p>
        </p:txBody>
      </p:sp>
      <p:sp>
        <p:nvSpPr>
          <p:cNvPr id="37" name="Text Placeholder 36">
            <a:extLst>
              <a:ext uri="{FF2B5EF4-FFF2-40B4-BE49-F238E27FC236}">
                <a16:creationId xmlns:a16="http://schemas.microsoft.com/office/drawing/2014/main" id="{4918FA18-B639-A629-2E9B-674B54B4AACA}"/>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37405B8B-A5F3-F9D8-A571-2F38544BBDBA}"/>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ector | National | P12M</a:t>
            </a:r>
          </a:p>
        </p:txBody>
      </p:sp>
      <p:sp>
        <p:nvSpPr>
          <p:cNvPr id="2" name="Title 1">
            <a:extLst>
              <a:ext uri="{FF2B5EF4-FFF2-40B4-BE49-F238E27FC236}">
                <a16:creationId xmlns:a16="http://schemas.microsoft.com/office/drawing/2014/main" id="{12784FBB-01F7-DE64-BC02-E8B59B51E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8694A9E2-2E6E-DE42-FC36-3888D1308CB4}"/>
              </a:ext>
            </a:extLst>
          </p:cNvPr>
          <p:cNvGraphicFramePr>
            <a:graphicFrameLocks noGrp="1"/>
          </p:cNvGraphicFramePr>
          <p:nvPr>
            <p:ph idx="4294967295"/>
            <p:extLst>
              <p:ext uri="{D42A27DB-BD31-4B8C-83A1-F6EECF244321}">
                <p14:modId xmlns:p14="http://schemas.microsoft.com/office/powerpoint/2010/main" val="1555413312"/>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F456CAE2-40D9-C89C-01D4-02D92ECC325F}"/>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9C31F180-BE4C-077E-6172-FE9EFF5651B0}"/>
              </a:ext>
            </a:extLst>
          </p:cNvPr>
          <p:cNvGraphicFramePr>
            <a:graphicFrameLocks/>
          </p:cNvGraphicFramePr>
          <p:nvPr>
            <p:extLst>
              <p:ext uri="{D42A27DB-BD31-4B8C-83A1-F6EECF244321}">
                <p14:modId xmlns:p14="http://schemas.microsoft.com/office/powerpoint/2010/main" val="1763757487"/>
              </p:ext>
            </p:extLst>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01B1A8DD-FED6-2C47-296D-0983D1E720B2}"/>
              </a:ext>
            </a:extLst>
          </p:cNvPr>
          <p:cNvGraphicFramePr>
            <a:graphicFrameLocks/>
          </p:cNvGraphicFramePr>
          <p:nvPr>
            <p:extLst>
              <p:ext uri="{D42A27DB-BD31-4B8C-83A1-F6EECF244321}">
                <p14:modId xmlns:p14="http://schemas.microsoft.com/office/powerpoint/2010/main" val="3607369076"/>
              </p:ext>
            </p:extLst>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sp>
        <p:nvSpPr>
          <p:cNvPr id="16" name="TextBox 15">
            <a:extLst>
              <a:ext uri="{FF2B5EF4-FFF2-40B4-BE49-F238E27FC236}">
                <a16:creationId xmlns:a16="http://schemas.microsoft.com/office/drawing/2014/main" id="{2B180312-FE46-D4C9-3734-1E3750820943}"/>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4DB211A7-591C-E03E-65DC-47EB4C0D8D03}"/>
              </a:ext>
            </a:extLst>
          </p:cNvPr>
          <p:cNvGraphicFramePr>
            <a:graphicFrameLocks noGrp="1"/>
          </p:cNvGraphicFramePr>
          <p:nvPr>
            <p:extLst>
              <p:ext uri="{D42A27DB-BD31-4B8C-83A1-F6EECF244321}">
                <p14:modId xmlns:p14="http://schemas.microsoft.com/office/powerpoint/2010/main" val="2790109015"/>
              </p:ext>
            </p:extLst>
          </p:nvPr>
        </p:nvGraphicFramePr>
        <p:xfrm>
          <a:off x="720534" y="1121410"/>
          <a:ext cx="6085434"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tblGrid>
              <a:tr h="235994">
                <a:tc>
                  <a:txBody>
                    <a:bodyPr/>
                    <a:lstStyle/>
                    <a:p>
                      <a:pPr algn="ctr">
                        <a:defRPr sz="1100">
                          <a:latin typeface="Nexa Book"/>
                        </a:defRPr>
                      </a:pPr>
                      <a:r>
                        <a:rPr b="1">
                          <a:solidFill>
                            <a:srgbClr val="575555"/>
                          </a:solidFill>
                        </a:rPr>
                        <a:t>Champagnes</a:t>
                      </a:r>
                    </a:p>
                  </a:txBody>
                  <a:tcPr anchor="ctr">
                    <a:solidFill>
                      <a:schemeClr val="bg2"/>
                    </a:solidFill>
                  </a:tcPr>
                </a:tc>
                <a:tc>
                  <a:txBody>
                    <a:bodyPr/>
                    <a:lstStyle/>
                    <a:p>
                      <a:pPr algn="ctr">
                        <a:defRPr sz="1100">
                          <a:latin typeface="Nexa Book"/>
                        </a:defRPr>
                      </a:pPr>
                      <a:r>
                        <a:rPr b="1">
                          <a:solidFill>
                            <a:srgbClr val="575555"/>
                          </a:solidFill>
                        </a:rPr>
                        <a:t>Mousseux</a:t>
                      </a:r>
                    </a:p>
                  </a:txBody>
                  <a:tcPr anchor="ctr">
                    <a:solidFill>
                      <a:schemeClr val="bg2"/>
                    </a:solidFill>
                  </a:tcPr>
                </a:tc>
                <a:tc>
                  <a:txBody>
                    <a:bodyPr/>
                    <a:lstStyle/>
                    <a:p>
                      <a:pPr algn="ctr">
                        <a:defRPr sz="1100">
                          <a:latin typeface="Nexa Book"/>
                        </a:defRPr>
                      </a:pPr>
                      <a:r>
                        <a:rPr b="1">
                          <a:solidFill>
                            <a:srgbClr val="575555"/>
                          </a:solidFill>
                        </a:rPr>
                        <a:t>Effervescents Sans Alcool</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914443924"/>
      </p:ext>
    </p:extLst>
  </p:cSld>
  <p:clrMapOvr>
    <a:masterClrMapping/>
  </p:clrMapOvr>
</p:sld>
</file>

<file path=ppt/slides/slide1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9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Bruts | NICOLAS PAC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49586684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908396"/>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130751"/>
            <a:ext cx="4869366" cy="70292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851700"/>
            <a:ext cx="4869366" cy="1423875"/>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146683312"/>
      </p:ext>
    </p:extLst>
  </p:cSld>
  <p:clrMapOvr>
    <a:masterClrMapping/>
  </p:clrMapOvr>
</p:sld>
</file>

<file path=ppt/slides/slide1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9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Bruts | NICOLAS RH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87706007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783539"/>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006934"/>
            <a:ext cx="4869366" cy="74350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769503"/>
            <a:ext cx="4869366" cy="1506072"/>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954985758"/>
      </p:ext>
    </p:extLst>
  </p:cSld>
  <p:clrMapOvr>
    <a:masterClrMapping/>
  </p:clrMapOvr>
</p:sld>
</file>

<file path=ppt/slides/slide1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9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Bruts | NICOLAS AQU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79307429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924772"/>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146990"/>
            <a:ext cx="4869366" cy="697603"/>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862481"/>
            <a:ext cx="4869366" cy="1413094"/>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49536874"/>
      </p:ext>
    </p:extLst>
  </p:cSld>
  <p:clrMapOvr>
    <a:masterClrMapping/>
  </p:clrMapOvr>
</p:sld>
</file>

<file path=ppt/slides/slide1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9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Bruts | NICOLAS ES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4388035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981962"/>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203704"/>
            <a:ext cx="4869366" cy="679016"/>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900131"/>
            <a:ext cx="4869366" cy="1375444"/>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47433272"/>
      </p:ext>
    </p:extLst>
  </p:cSld>
  <p:clrMapOvr>
    <a:masterClrMapping/>
  </p:clrMapOvr>
</p:sld>
</file>

<file path=ppt/slides/slide1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9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Bruts | CA 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570645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861716"/>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084459"/>
            <a:ext cx="4869366" cy="718096"/>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820969"/>
            <a:ext cx="4869366" cy="1454606"/>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913590218"/>
      </p:ext>
    </p:extLst>
  </p:cSld>
  <p:clrMapOvr>
    <a:masterClrMapping/>
  </p:clrMapOvr>
</p:sld>
</file>

<file path=ppt/slides/slide1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9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Bruts | CA B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90050707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82809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051119"/>
            <a:ext cx="4869366" cy="729023"/>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798836"/>
            <a:ext cx="4869366" cy="1476739"/>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839852540"/>
      </p:ext>
    </p:extLst>
  </p:cSld>
  <p:clrMapOvr>
    <a:masterClrMapping/>
  </p:clrMapOvr>
</p:sld>
</file>

<file path=ppt/slides/slide1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9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Bruts | CA C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7487317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840316"/>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063238"/>
            <a:ext cx="4869366" cy="725051"/>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806881"/>
            <a:ext cx="4869366" cy="1468694"/>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948494454"/>
      </p:ext>
    </p:extLst>
  </p:cSld>
  <p:clrMapOvr>
    <a:masterClrMapping/>
  </p:clrMapOvr>
</p:sld>
</file>

<file path=ppt/slides/slide1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9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Bruts | CA D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3700776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825362"/>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048408"/>
            <a:ext cx="4869366" cy="729911"/>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797036"/>
            <a:ext cx="4869366" cy="1478539"/>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4904030"/>
      </p:ext>
    </p:extLst>
  </p:cSld>
  <p:clrMapOvr>
    <a:masterClrMapping/>
  </p:clrMapOvr>
</p:sld>
</file>

<file path=ppt/slides/slide1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9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Bruts | CA 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12543727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841666"/>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064576"/>
            <a:ext cx="4869366" cy="724613"/>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807769"/>
            <a:ext cx="4869366" cy="1467806"/>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496993568"/>
      </p:ext>
    </p:extLst>
  </p:cSld>
  <p:clrMapOvr>
    <a:masterClrMapping/>
  </p:clrMapOvr>
</p:sld>
</file>

<file path=ppt/slides/slide1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9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rus | Nationa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82181382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451169"/>
            <a:ext cx="4869366" cy="9256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5418620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17F39D-9FE7-D5EF-D981-D08E2C3E7E72}"/>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6C569F5-3F88-086F-5B00-1E8A66D0F786}"/>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1E5943C8-93A2-CE99-9DC9-6106E372503B}"/>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58EF6AC-09CE-D3E4-3CE4-FEF3C28940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7F0F218-5714-F2E2-17DE-F734014EA97B}"/>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a:t>
            </a:fld>
            <a:endParaRPr lang="en-US" noProof="0"/>
          </a:p>
        </p:txBody>
      </p:sp>
      <p:sp>
        <p:nvSpPr>
          <p:cNvPr id="37" name="Text Placeholder 36">
            <a:extLst>
              <a:ext uri="{FF2B5EF4-FFF2-40B4-BE49-F238E27FC236}">
                <a16:creationId xmlns:a16="http://schemas.microsoft.com/office/drawing/2014/main" id="{5136C012-8234-3446-6BA4-D2A4ED46798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09B51F99-F9B2-A31A-6316-FFD484BF748A}"/>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Category | NICOLAS | P12M</a:t>
            </a:r>
          </a:p>
        </p:txBody>
      </p:sp>
      <p:sp>
        <p:nvSpPr>
          <p:cNvPr id="2" name="Title 1">
            <a:extLst>
              <a:ext uri="{FF2B5EF4-FFF2-40B4-BE49-F238E27FC236}">
                <a16:creationId xmlns:a16="http://schemas.microsoft.com/office/drawing/2014/main" id="{119F61F6-E75A-45A7-FB48-021A4AD44DFE}"/>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452FBD9-A58C-004E-EBFE-BF25D0D39B4C}"/>
              </a:ext>
            </a:extLst>
          </p:cNvPr>
          <p:cNvGraphicFramePr>
            <a:graphicFrameLocks noGrp="1"/>
          </p:cNvGraphicFramePr>
          <p:nvPr>
            <p:ph idx="4294967295"/>
            <p:extLst>
              <p:ext uri="{D42A27DB-BD31-4B8C-83A1-F6EECF244321}">
                <p14:modId xmlns:p14="http://schemas.microsoft.com/office/powerpoint/2010/main" val="2845328801"/>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B0F72B-C6D2-6D8D-0FC6-9AC4097CBCC1}"/>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sp>
        <p:nvSpPr>
          <p:cNvPr id="16" name="TextBox 15">
            <a:extLst>
              <a:ext uri="{FF2B5EF4-FFF2-40B4-BE49-F238E27FC236}">
                <a16:creationId xmlns:a16="http://schemas.microsoft.com/office/drawing/2014/main" id="{46D148F4-12D7-0EF3-ABFE-35612660B26D}"/>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F3F720E0-CF35-ADEF-C27B-40DD4DEC2868}"/>
              </a:ext>
            </a:extLst>
          </p:cNvPr>
          <p:cNvGraphicFramePr>
            <a:graphicFrameLocks noGrp="1"/>
          </p:cNvGraphicFramePr>
          <p:nvPr>
            <p:extLst>
              <p:ext uri="{D42A27DB-BD31-4B8C-83A1-F6EECF244321}">
                <p14:modId xmlns:p14="http://schemas.microsoft.com/office/powerpoint/2010/main" val="635621620"/>
              </p:ext>
            </p:extLst>
          </p:nvPr>
        </p:nvGraphicFramePr>
        <p:xfrm>
          <a:off x="720534" y="1121410"/>
          <a:ext cx="2028478"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tblGrid>
              <a:tr h="235994">
                <a:tc>
                  <a:txBody>
                    <a:bodyPr/>
                    <a:lstStyle/>
                    <a:p>
                      <a:pPr algn="ctr">
                        <a:defRPr sz="1100">
                          <a:latin typeface="Nexa Book"/>
                        </a:defRPr>
                      </a:pPr>
                      <a:r>
                        <a:rPr b="1">
                          <a:solidFill>
                            <a:srgbClr val="575555"/>
                          </a:solidFill>
                        </a:rPr>
                        <a:t>Effervescents</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128701405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65918C-CF2D-B9BE-373E-8055AB4F589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BE947E9A-9EDC-50FE-5484-367359C894D7}"/>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DC475BB2-0528-29FB-C158-9EF2E6156FB0}"/>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C87CB3FA-1793-85BB-0720-68CB9A322CAF}"/>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300044B2-FAA5-2879-ADFC-6874BBAF83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DA8BB0C0-E087-2E71-1F6D-E725250BE3D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0</a:t>
            </a:fld>
            <a:endParaRPr lang="en-US" noProof="0"/>
          </a:p>
        </p:txBody>
      </p:sp>
      <p:sp>
        <p:nvSpPr>
          <p:cNvPr id="37" name="Text Placeholder 36">
            <a:extLst>
              <a:ext uri="{FF2B5EF4-FFF2-40B4-BE49-F238E27FC236}">
                <a16:creationId xmlns:a16="http://schemas.microsoft.com/office/drawing/2014/main" id="{4918FA18-B639-A629-2E9B-674B54B4AACA}"/>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37405B8B-A5F3-F9D8-A571-2F38544BBDBA}"/>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ector | NICOLAS | P12M</a:t>
            </a:r>
          </a:p>
        </p:txBody>
      </p:sp>
      <p:sp>
        <p:nvSpPr>
          <p:cNvPr id="2" name="Title 1">
            <a:extLst>
              <a:ext uri="{FF2B5EF4-FFF2-40B4-BE49-F238E27FC236}">
                <a16:creationId xmlns:a16="http://schemas.microsoft.com/office/drawing/2014/main" id="{12784FBB-01F7-DE64-BC02-E8B59B51E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8694A9E2-2E6E-DE42-FC36-3888D1308CB4}"/>
              </a:ext>
            </a:extLst>
          </p:cNvPr>
          <p:cNvGraphicFramePr>
            <a:graphicFrameLocks noGrp="1"/>
          </p:cNvGraphicFramePr>
          <p:nvPr>
            <p:ph idx="4294967295"/>
            <p:extLst>
              <p:ext uri="{D42A27DB-BD31-4B8C-83A1-F6EECF244321}">
                <p14:modId xmlns:p14="http://schemas.microsoft.com/office/powerpoint/2010/main" val="3794133071"/>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F456CAE2-40D9-C89C-01D4-02D92ECC325F}"/>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9C31F180-BE4C-077E-6172-FE9EFF5651B0}"/>
              </a:ext>
            </a:extLst>
          </p:cNvPr>
          <p:cNvGraphicFramePr>
            <a:graphicFrameLocks/>
          </p:cNvGraphicFramePr>
          <p:nvPr>
            <p:extLst>
              <p:ext uri="{D42A27DB-BD31-4B8C-83A1-F6EECF244321}">
                <p14:modId xmlns:p14="http://schemas.microsoft.com/office/powerpoint/2010/main" val="584557795"/>
              </p:ext>
            </p:extLst>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01B1A8DD-FED6-2C47-296D-0983D1E720B2}"/>
              </a:ext>
            </a:extLst>
          </p:cNvPr>
          <p:cNvGraphicFramePr>
            <a:graphicFrameLocks/>
          </p:cNvGraphicFramePr>
          <p:nvPr>
            <p:extLst>
              <p:ext uri="{D42A27DB-BD31-4B8C-83A1-F6EECF244321}">
                <p14:modId xmlns:p14="http://schemas.microsoft.com/office/powerpoint/2010/main" val="1413140835"/>
              </p:ext>
            </p:extLst>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sp>
        <p:nvSpPr>
          <p:cNvPr id="16" name="TextBox 15">
            <a:extLst>
              <a:ext uri="{FF2B5EF4-FFF2-40B4-BE49-F238E27FC236}">
                <a16:creationId xmlns:a16="http://schemas.microsoft.com/office/drawing/2014/main" id="{2B180312-FE46-D4C9-3734-1E3750820943}"/>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4DB211A7-591C-E03E-65DC-47EB4C0D8D03}"/>
              </a:ext>
            </a:extLst>
          </p:cNvPr>
          <p:cNvGraphicFramePr>
            <a:graphicFrameLocks noGrp="1"/>
          </p:cNvGraphicFramePr>
          <p:nvPr>
            <p:extLst>
              <p:ext uri="{D42A27DB-BD31-4B8C-83A1-F6EECF244321}">
                <p14:modId xmlns:p14="http://schemas.microsoft.com/office/powerpoint/2010/main" val="2790109015"/>
              </p:ext>
            </p:extLst>
          </p:nvPr>
        </p:nvGraphicFramePr>
        <p:xfrm>
          <a:off x="720534" y="1121410"/>
          <a:ext cx="6085434"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tblGrid>
              <a:tr h="235994">
                <a:tc>
                  <a:txBody>
                    <a:bodyPr/>
                    <a:lstStyle/>
                    <a:p>
                      <a:pPr algn="ctr">
                        <a:defRPr sz="1100">
                          <a:latin typeface="Nexa Book"/>
                        </a:defRPr>
                      </a:pPr>
                      <a:r>
                        <a:rPr b="1">
                          <a:solidFill>
                            <a:srgbClr val="575555"/>
                          </a:solidFill>
                        </a:rPr>
                        <a:t>Champagnes</a:t>
                      </a:r>
                    </a:p>
                  </a:txBody>
                  <a:tcPr anchor="ctr">
                    <a:solidFill>
                      <a:schemeClr val="bg2"/>
                    </a:solidFill>
                  </a:tcPr>
                </a:tc>
                <a:tc>
                  <a:txBody>
                    <a:bodyPr/>
                    <a:lstStyle/>
                    <a:p>
                      <a:pPr algn="ctr">
                        <a:defRPr sz="1100">
                          <a:latin typeface="Nexa Book"/>
                        </a:defRPr>
                      </a:pPr>
                      <a:r>
                        <a:rPr b="1">
                          <a:solidFill>
                            <a:srgbClr val="575555"/>
                          </a:solidFill>
                        </a:rPr>
                        <a:t>Mousseux</a:t>
                      </a:r>
                    </a:p>
                  </a:txBody>
                  <a:tcPr anchor="ctr">
                    <a:solidFill>
                      <a:schemeClr val="bg2"/>
                    </a:solidFill>
                  </a:tcPr>
                </a:tc>
                <a:tc>
                  <a:txBody>
                    <a:bodyPr/>
                    <a:lstStyle/>
                    <a:p>
                      <a:pPr algn="ctr">
                        <a:defRPr sz="1100">
                          <a:latin typeface="Nexa Book"/>
                        </a:defRPr>
                      </a:pPr>
                      <a:r>
                        <a:rPr b="1">
                          <a:solidFill>
                            <a:srgbClr val="575555"/>
                          </a:solidFill>
                        </a:rPr>
                        <a:t>Effervescents Sans Alcool</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1755580244"/>
      </p:ext>
    </p:extLst>
  </p:cSld>
  <p:clrMapOvr>
    <a:masterClrMapping/>
  </p:clrMapOvr>
</p:sld>
</file>

<file path=ppt/slides/slide2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0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rus | NICOLA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6348742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413570"/>
            <a:ext cx="4869366" cy="937968"/>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936597238"/>
      </p:ext>
    </p:extLst>
  </p:cSld>
  <p:clrMapOvr>
    <a:masterClrMapping/>
  </p:clrMapOvr>
</p:sld>
</file>

<file path=ppt/slides/slide2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0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rus | NICOLAS QC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65669667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438012"/>
            <a:ext cx="4869366" cy="929957"/>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944501601"/>
      </p:ext>
    </p:extLst>
  </p:cSld>
  <p:clrMapOvr>
    <a:masterClrMapping/>
  </p:clrMapOvr>
</p:sld>
</file>

<file path=ppt/slides/slide2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0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rus | NICOLAS VC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87344241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411327"/>
            <a:ext cx="4869366" cy="938703"/>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054765744"/>
      </p:ext>
    </p:extLst>
  </p:cSld>
  <p:clrMapOvr>
    <a:masterClrMapping/>
  </p:clrMapOvr>
</p:sld>
</file>

<file path=ppt/slides/slide2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0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rus | NICOLAS QC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64897542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402320"/>
            <a:ext cx="4869366" cy="94165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794970881"/>
      </p:ext>
    </p:extLst>
  </p:cSld>
  <p:clrMapOvr>
    <a:masterClrMapping/>
  </p:clrMapOvr>
</p:sld>
</file>

<file path=ppt/slides/slide2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0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rus | NICOLAS QC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81417254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384134"/>
            <a:ext cx="4869366" cy="94761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11056362"/>
      </p:ext>
    </p:extLst>
  </p:cSld>
  <p:clrMapOvr>
    <a:masterClrMapping/>
  </p:clrMapOvr>
</p:sld>
</file>

<file path=ppt/slides/slide2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0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rus | NICOLAS CCP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46775755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337648"/>
            <a:ext cx="4869366" cy="962850"/>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607492042"/>
      </p:ext>
    </p:extLst>
  </p:cSld>
  <p:clrMapOvr>
    <a:masterClrMapping/>
  </p:clrMapOvr>
</p:sld>
</file>

<file path=ppt/slides/slide2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0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rus | NICOLAS IDF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24789784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457702"/>
            <a:ext cx="4869366" cy="92350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041826565"/>
      </p:ext>
    </p:extLst>
  </p:cSld>
  <p:clrMapOvr>
    <a:masterClrMapping/>
  </p:clrMapOvr>
</p:sld>
</file>

<file path=ppt/slides/slide2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0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rus | NICOLAS PAC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20230444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415809"/>
            <a:ext cx="4869366" cy="93723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77565890"/>
      </p:ext>
    </p:extLst>
  </p:cSld>
  <p:clrMapOvr>
    <a:masterClrMapping/>
  </p:clrMapOvr>
</p:sld>
</file>

<file path=ppt/slides/slide2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0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rus | NICOLAS RH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70866883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510990"/>
            <a:ext cx="4869366" cy="906040"/>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425407973"/>
      </p:ext>
    </p:extLst>
  </p:cSld>
  <p:clrMapOvr>
    <a:masterClrMapping/>
  </p:clrMapOvr>
</p:sld>
</file>

<file path=ppt/slides/slide2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0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rus | NICOLAS AQU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81881193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431388"/>
            <a:ext cx="4869366" cy="932128"/>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3664127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65918C-CF2D-B9BE-373E-8055AB4F589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BE947E9A-9EDC-50FE-5484-367359C894D7}"/>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DC475BB2-0528-29FB-C158-9EF2E6156FB0}"/>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C87CB3FA-1793-85BB-0720-68CB9A322CAF}"/>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300044B2-FAA5-2879-ADFC-6874BBAF83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DA8BB0C0-E087-2E71-1F6D-E725250BE3D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1</a:t>
            </a:fld>
            <a:endParaRPr lang="en-US" noProof="0"/>
          </a:p>
        </p:txBody>
      </p:sp>
      <p:sp>
        <p:nvSpPr>
          <p:cNvPr id="37" name="Text Placeholder 36">
            <a:extLst>
              <a:ext uri="{FF2B5EF4-FFF2-40B4-BE49-F238E27FC236}">
                <a16:creationId xmlns:a16="http://schemas.microsoft.com/office/drawing/2014/main" id="{4918FA18-B639-A629-2E9B-674B54B4AACA}"/>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37405B8B-A5F3-F9D8-A571-2F38544BBDBA}"/>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ector | HMSM | P12M</a:t>
            </a:r>
          </a:p>
        </p:txBody>
      </p:sp>
      <p:sp>
        <p:nvSpPr>
          <p:cNvPr id="2" name="Title 1">
            <a:extLst>
              <a:ext uri="{FF2B5EF4-FFF2-40B4-BE49-F238E27FC236}">
                <a16:creationId xmlns:a16="http://schemas.microsoft.com/office/drawing/2014/main" id="{12784FBB-01F7-DE64-BC02-E8B59B51E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8694A9E2-2E6E-DE42-FC36-3888D1308CB4}"/>
              </a:ext>
            </a:extLst>
          </p:cNvPr>
          <p:cNvGraphicFramePr>
            <a:graphicFrameLocks noGrp="1"/>
          </p:cNvGraphicFramePr>
          <p:nvPr>
            <p:ph idx="4294967295"/>
            <p:extLst>
              <p:ext uri="{D42A27DB-BD31-4B8C-83A1-F6EECF244321}">
                <p14:modId xmlns:p14="http://schemas.microsoft.com/office/powerpoint/2010/main" val="4209125742"/>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F456CAE2-40D9-C89C-01D4-02D92ECC325F}"/>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9C31F180-BE4C-077E-6172-FE9EFF5651B0}"/>
              </a:ext>
            </a:extLst>
          </p:cNvPr>
          <p:cNvGraphicFramePr>
            <a:graphicFrameLocks/>
          </p:cNvGraphicFramePr>
          <p:nvPr>
            <p:extLst>
              <p:ext uri="{D42A27DB-BD31-4B8C-83A1-F6EECF244321}">
                <p14:modId xmlns:p14="http://schemas.microsoft.com/office/powerpoint/2010/main" val="1345034984"/>
              </p:ext>
            </p:extLst>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01B1A8DD-FED6-2C47-296D-0983D1E720B2}"/>
              </a:ext>
            </a:extLst>
          </p:cNvPr>
          <p:cNvGraphicFramePr>
            <a:graphicFrameLocks/>
          </p:cNvGraphicFramePr>
          <p:nvPr>
            <p:extLst>
              <p:ext uri="{D42A27DB-BD31-4B8C-83A1-F6EECF244321}">
                <p14:modId xmlns:p14="http://schemas.microsoft.com/office/powerpoint/2010/main" val="2839099400"/>
              </p:ext>
            </p:extLst>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sp>
        <p:nvSpPr>
          <p:cNvPr id="16" name="TextBox 15">
            <a:extLst>
              <a:ext uri="{FF2B5EF4-FFF2-40B4-BE49-F238E27FC236}">
                <a16:creationId xmlns:a16="http://schemas.microsoft.com/office/drawing/2014/main" id="{2B180312-FE46-D4C9-3734-1E3750820943}"/>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4DB211A7-591C-E03E-65DC-47EB4C0D8D03}"/>
              </a:ext>
            </a:extLst>
          </p:cNvPr>
          <p:cNvGraphicFramePr>
            <a:graphicFrameLocks noGrp="1"/>
          </p:cNvGraphicFramePr>
          <p:nvPr>
            <p:extLst>
              <p:ext uri="{D42A27DB-BD31-4B8C-83A1-F6EECF244321}">
                <p14:modId xmlns:p14="http://schemas.microsoft.com/office/powerpoint/2010/main" val="2790109015"/>
              </p:ext>
            </p:extLst>
          </p:nvPr>
        </p:nvGraphicFramePr>
        <p:xfrm>
          <a:off x="720534" y="1121410"/>
          <a:ext cx="6085434"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tblGrid>
              <a:tr h="235994">
                <a:tc>
                  <a:txBody>
                    <a:bodyPr/>
                    <a:lstStyle/>
                    <a:p>
                      <a:pPr algn="ctr">
                        <a:defRPr sz="1100">
                          <a:latin typeface="Nexa Book"/>
                        </a:defRPr>
                      </a:pPr>
                      <a:r>
                        <a:rPr b="1">
                          <a:solidFill>
                            <a:srgbClr val="575555"/>
                          </a:solidFill>
                        </a:rPr>
                        <a:t>Champagnes</a:t>
                      </a:r>
                    </a:p>
                  </a:txBody>
                  <a:tcPr anchor="ctr">
                    <a:solidFill>
                      <a:schemeClr val="bg2"/>
                    </a:solidFill>
                  </a:tcPr>
                </a:tc>
                <a:tc>
                  <a:txBody>
                    <a:bodyPr/>
                    <a:lstStyle/>
                    <a:p>
                      <a:pPr algn="ctr">
                        <a:defRPr sz="1100">
                          <a:latin typeface="Nexa Book"/>
                        </a:defRPr>
                      </a:pPr>
                      <a:r>
                        <a:rPr b="1">
                          <a:solidFill>
                            <a:srgbClr val="575555"/>
                          </a:solidFill>
                        </a:rPr>
                        <a:t>Mousseux</a:t>
                      </a:r>
                    </a:p>
                  </a:txBody>
                  <a:tcPr anchor="ctr">
                    <a:solidFill>
                      <a:schemeClr val="bg2"/>
                    </a:solidFill>
                  </a:tcPr>
                </a:tc>
                <a:tc>
                  <a:txBody>
                    <a:bodyPr/>
                    <a:lstStyle/>
                    <a:p>
                      <a:pPr algn="ctr">
                        <a:defRPr sz="1100">
                          <a:latin typeface="Nexa Book"/>
                        </a:defRPr>
                      </a:pPr>
                      <a:r>
                        <a:rPr b="1">
                          <a:solidFill>
                            <a:srgbClr val="575555"/>
                          </a:solidFill>
                        </a:rPr>
                        <a:t>Effervescents Sans Alcool</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2384970737"/>
      </p:ext>
    </p:extLst>
  </p:cSld>
  <p:clrMapOvr>
    <a:masterClrMapping/>
  </p:clrMapOvr>
</p:sld>
</file>

<file path=ppt/slides/slide2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1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rus | NICOLAS ES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4909348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446797"/>
            <a:ext cx="4869366" cy="927078"/>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049966941"/>
      </p:ext>
    </p:extLst>
  </p:cSld>
  <p:clrMapOvr>
    <a:masterClrMapping/>
  </p:clrMapOvr>
</p:sld>
</file>

<file path=ppt/slides/slide2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1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rus | CA 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83038794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466366"/>
            <a:ext cx="4869366" cy="92066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460229599"/>
      </p:ext>
    </p:extLst>
  </p:cSld>
  <p:clrMapOvr>
    <a:masterClrMapping/>
  </p:clrMapOvr>
</p:sld>
</file>

<file path=ppt/slides/slide2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1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rus | CA B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78003256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446797"/>
            <a:ext cx="4869366" cy="927078"/>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410072213"/>
      </p:ext>
    </p:extLst>
  </p:cSld>
  <p:clrMapOvr>
    <a:masterClrMapping/>
  </p:clrMapOvr>
</p:sld>
</file>

<file path=ppt/slides/slide2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1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rus | CA C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18994359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453350"/>
            <a:ext cx="4869366" cy="924930"/>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204429010"/>
      </p:ext>
    </p:extLst>
  </p:cSld>
  <p:clrMapOvr>
    <a:masterClrMapping/>
  </p:clrMapOvr>
</p:sld>
</file>

<file path=ppt/slides/slide2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1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rus | CA D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05740841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390981"/>
            <a:ext cx="4869366" cy="945371"/>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808093083"/>
      </p:ext>
    </p:extLst>
  </p:cSld>
  <p:clrMapOvr>
    <a:masterClrMapping/>
  </p:clrMapOvr>
</p:sld>
</file>

<file path=ppt/slides/slide2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1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rus | CA 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18094508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384134"/>
            <a:ext cx="4869366" cy="94761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031576160"/>
      </p:ext>
    </p:extLst>
  </p:cSld>
  <p:clrMapOvr>
    <a:masterClrMapping/>
  </p:clrMapOvr>
</p:sld>
</file>

<file path=ppt/slides/slide2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1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Extra Brut | Nationa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29972527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722300"/>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946205"/>
            <a:ext cx="4869366" cy="763406"/>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707690744"/>
      </p:ext>
    </p:extLst>
  </p:cSld>
  <p:clrMapOvr>
    <a:masterClrMapping/>
  </p:clrMapOvr>
</p:sld>
</file>

<file path=ppt/slides/slide2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1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Extra Brut | NICOLA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46099146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625661"/>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850372"/>
            <a:ext cx="4869366" cy="79481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532561434"/>
      </p:ext>
    </p:extLst>
  </p:cSld>
  <p:clrMapOvr>
    <a:masterClrMapping/>
  </p:clrMapOvr>
</p:sld>
</file>

<file path=ppt/slides/slide2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1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Extra Brut | HMSM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37277473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229924"/>
            <a:ext cx="4869366" cy="99815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522477254"/>
      </p:ext>
    </p:extLst>
  </p:cSld>
  <p:clrMapOvr>
    <a:masterClrMapping/>
  </p:clrMapOvr>
</p:sld>
</file>

<file path=ppt/slides/slide2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1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Extra Brut | NICOLAS QC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05888425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633748"/>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858392"/>
            <a:ext cx="4869366" cy="792186"/>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32271720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65918C-CF2D-B9BE-373E-8055AB4F589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BE947E9A-9EDC-50FE-5484-367359C894D7}"/>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DC475BB2-0528-29FB-C158-9EF2E6156FB0}"/>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C87CB3FA-1793-85BB-0720-68CB9A322CAF}"/>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300044B2-FAA5-2879-ADFC-6874BBAF83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DA8BB0C0-E087-2E71-1F6D-E725250BE3D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2</a:t>
            </a:fld>
            <a:endParaRPr lang="en-US" noProof="0"/>
          </a:p>
        </p:txBody>
      </p:sp>
      <p:sp>
        <p:nvSpPr>
          <p:cNvPr id="37" name="Text Placeholder 36">
            <a:extLst>
              <a:ext uri="{FF2B5EF4-FFF2-40B4-BE49-F238E27FC236}">
                <a16:creationId xmlns:a16="http://schemas.microsoft.com/office/drawing/2014/main" id="{4918FA18-B639-A629-2E9B-674B54B4AACA}"/>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37405B8B-A5F3-F9D8-A571-2F38544BBDBA}"/>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ector | NICOLAS QCN | P12M</a:t>
            </a:r>
          </a:p>
        </p:txBody>
      </p:sp>
      <p:sp>
        <p:nvSpPr>
          <p:cNvPr id="2" name="Title 1">
            <a:extLst>
              <a:ext uri="{FF2B5EF4-FFF2-40B4-BE49-F238E27FC236}">
                <a16:creationId xmlns:a16="http://schemas.microsoft.com/office/drawing/2014/main" id="{12784FBB-01F7-DE64-BC02-E8B59B51E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8694A9E2-2E6E-DE42-FC36-3888D1308CB4}"/>
              </a:ext>
            </a:extLst>
          </p:cNvPr>
          <p:cNvGraphicFramePr>
            <a:graphicFrameLocks noGrp="1"/>
          </p:cNvGraphicFramePr>
          <p:nvPr>
            <p:ph idx="4294967295"/>
            <p:extLst>
              <p:ext uri="{D42A27DB-BD31-4B8C-83A1-F6EECF244321}">
                <p14:modId xmlns:p14="http://schemas.microsoft.com/office/powerpoint/2010/main" val="3773863035"/>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F456CAE2-40D9-C89C-01D4-02D92ECC325F}"/>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9C31F180-BE4C-077E-6172-FE9EFF5651B0}"/>
              </a:ext>
            </a:extLst>
          </p:cNvPr>
          <p:cNvGraphicFramePr>
            <a:graphicFrameLocks/>
          </p:cNvGraphicFramePr>
          <p:nvPr>
            <p:extLst>
              <p:ext uri="{D42A27DB-BD31-4B8C-83A1-F6EECF244321}">
                <p14:modId xmlns:p14="http://schemas.microsoft.com/office/powerpoint/2010/main" val="961167095"/>
              </p:ext>
            </p:extLst>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01B1A8DD-FED6-2C47-296D-0983D1E720B2}"/>
              </a:ext>
            </a:extLst>
          </p:cNvPr>
          <p:cNvGraphicFramePr>
            <a:graphicFrameLocks/>
          </p:cNvGraphicFramePr>
          <p:nvPr>
            <p:extLst>
              <p:ext uri="{D42A27DB-BD31-4B8C-83A1-F6EECF244321}">
                <p14:modId xmlns:p14="http://schemas.microsoft.com/office/powerpoint/2010/main" val="2738732815"/>
              </p:ext>
            </p:extLst>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sp>
        <p:nvSpPr>
          <p:cNvPr id="16" name="TextBox 15">
            <a:extLst>
              <a:ext uri="{FF2B5EF4-FFF2-40B4-BE49-F238E27FC236}">
                <a16:creationId xmlns:a16="http://schemas.microsoft.com/office/drawing/2014/main" id="{2B180312-FE46-D4C9-3734-1E3750820943}"/>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4DB211A7-591C-E03E-65DC-47EB4C0D8D03}"/>
              </a:ext>
            </a:extLst>
          </p:cNvPr>
          <p:cNvGraphicFramePr>
            <a:graphicFrameLocks noGrp="1"/>
          </p:cNvGraphicFramePr>
          <p:nvPr>
            <p:extLst>
              <p:ext uri="{D42A27DB-BD31-4B8C-83A1-F6EECF244321}">
                <p14:modId xmlns:p14="http://schemas.microsoft.com/office/powerpoint/2010/main" val="2790109015"/>
              </p:ext>
            </p:extLst>
          </p:nvPr>
        </p:nvGraphicFramePr>
        <p:xfrm>
          <a:off x="720534" y="1121410"/>
          <a:ext cx="6085434"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tblGrid>
              <a:tr h="235994">
                <a:tc>
                  <a:txBody>
                    <a:bodyPr/>
                    <a:lstStyle/>
                    <a:p>
                      <a:pPr algn="ctr">
                        <a:defRPr sz="1100">
                          <a:latin typeface="Nexa Book"/>
                        </a:defRPr>
                      </a:pPr>
                      <a:r>
                        <a:rPr b="1">
                          <a:solidFill>
                            <a:srgbClr val="575555"/>
                          </a:solidFill>
                        </a:rPr>
                        <a:t>Champagnes</a:t>
                      </a:r>
                    </a:p>
                  </a:txBody>
                  <a:tcPr anchor="ctr">
                    <a:solidFill>
                      <a:schemeClr val="bg2"/>
                    </a:solidFill>
                  </a:tcPr>
                </a:tc>
                <a:tc>
                  <a:txBody>
                    <a:bodyPr/>
                    <a:lstStyle/>
                    <a:p>
                      <a:pPr algn="ctr">
                        <a:defRPr sz="1100">
                          <a:latin typeface="Nexa Book"/>
                        </a:defRPr>
                      </a:pPr>
                      <a:r>
                        <a:rPr b="1">
                          <a:solidFill>
                            <a:srgbClr val="575555"/>
                          </a:solidFill>
                        </a:rPr>
                        <a:t>Mousseux</a:t>
                      </a:r>
                    </a:p>
                  </a:txBody>
                  <a:tcPr anchor="ctr">
                    <a:solidFill>
                      <a:schemeClr val="bg2"/>
                    </a:solidFill>
                  </a:tcPr>
                </a:tc>
                <a:tc>
                  <a:txBody>
                    <a:bodyPr/>
                    <a:lstStyle/>
                    <a:p>
                      <a:pPr algn="ctr">
                        <a:defRPr sz="1100">
                          <a:latin typeface="Nexa Book"/>
                        </a:defRPr>
                      </a:pPr>
                      <a:r>
                        <a:rPr b="1">
                          <a:solidFill>
                            <a:srgbClr val="575555"/>
                          </a:solidFill>
                        </a:rPr>
                        <a:t>Effervescents Sans Alcool</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2021972460"/>
      </p:ext>
    </p:extLst>
  </p:cSld>
  <p:clrMapOvr>
    <a:masterClrMapping/>
  </p:clrMapOvr>
</p:sld>
</file>

<file path=ppt/slides/slide2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2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Extra Brut | NICOLAS VC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43419519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641782"/>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866359"/>
            <a:ext cx="4869366" cy="78957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168293629"/>
      </p:ext>
    </p:extLst>
  </p:cSld>
  <p:clrMapOvr>
    <a:masterClrMapping/>
  </p:clrMapOvr>
</p:sld>
</file>

<file path=ppt/slides/slide2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2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Extra Brut | NICOLAS QC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5619451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602729"/>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827631"/>
            <a:ext cx="4869366" cy="802267"/>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429811305"/>
      </p:ext>
    </p:extLst>
  </p:cSld>
  <p:clrMapOvr>
    <a:masterClrMapping/>
  </p:clrMapOvr>
</p:sld>
</file>

<file path=ppt/slides/slide2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2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Extra Brut | NICOLAS QC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26019058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558979"/>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784245"/>
            <a:ext cx="4869366" cy="816486"/>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878914452"/>
      </p:ext>
    </p:extLst>
  </p:cSld>
  <p:clrMapOvr>
    <a:masterClrMapping/>
  </p:clrMapOvr>
</p:sld>
</file>

<file path=ppt/slides/slide2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2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Extra Brut | NICOLAS CCP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93666860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681171"/>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905419"/>
            <a:ext cx="4869366" cy="77677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653584399"/>
      </p:ext>
    </p:extLst>
  </p:cSld>
  <p:clrMapOvr>
    <a:masterClrMapping/>
  </p:clrMapOvr>
</p:sld>
</file>

<file path=ppt/slides/slide2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2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Extra Brut | NICOLAS IDF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60589933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610968"/>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835801"/>
            <a:ext cx="4869366" cy="799589"/>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93288839"/>
      </p:ext>
    </p:extLst>
  </p:cSld>
  <p:clrMapOvr>
    <a:masterClrMapping/>
  </p:clrMapOvr>
</p:sld>
</file>

<file path=ppt/slides/slide2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2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Extra Brut | NICOLAS PAC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19406134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620783"/>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845535"/>
            <a:ext cx="4869366" cy="796399"/>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605838332"/>
      </p:ext>
    </p:extLst>
  </p:cSld>
  <p:clrMapOvr>
    <a:masterClrMapping/>
  </p:clrMapOvr>
</p:sld>
</file>

<file path=ppt/slides/slide2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2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Extra Brut | NICOLAS RH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21857719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667139"/>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891504"/>
            <a:ext cx="4869366" cy="78133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544964836"/>
      </p:ext>
    </p:extLst>
  </p:cSld>
  <p:clrMapOvr>
    <a:masterClrMapping/>
  </p:clrMapOvr>
</p:sld>
</file>

<file path=ppt/slides/slide2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2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Extra Brut | NICOLAS AQU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39914435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592768"/>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817753"/>
            <a:ext cx="4869366" cy="80550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526186796"/>
      </p:ext>
    </p:extLst>
  </p:cSld>
  <p:clrMapOvr>
    <a:masterClrMapping/>
  </p:clrMapOvr>
</p:sld>
</file>

<file path=ppt/slides/slide2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2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Extra Brut | NICOLAS ES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13213492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670271"/>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894610"/>
            <a:ext cx="4869366" cy="780316"/>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652592973"/>
      </p:ext>
    </p:extLst>
  </p:cSld>
  <p:clrMapOvr>
    <a:masterClrMapping/>
  </p:clrMapOvr>
</p:sld>
</file>

<file path=ppt/slides/slide2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2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Extra Brut | CA 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16896645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589430"/>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814443"/>
            <a:ext cx="4869366" cy="806589"/>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84989706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65918C-CF2D-B9BE-373E-8055AB4F589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BE947E9A-9EDC-50FE-5484-367359C894D7}"/>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DC475BB2-0528-29FB-C158-9EF2E6156FB0}"/>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C87CB3FA-1793-85BB-0720-68CB9A322CAF}"/>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300044B2-FAA5-2879-ADFC-6874BBAF83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DA8BB0C0-E087-2E71-1F6D-E725250BE3D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3</a:t>
            </a:fld>
            <a:endParaRPr lang="en-US" noProof="0"/>
          </a:p>
        </p:txBody>
      </p:sp>
      <p:sp>
        <p:nvSpPr>
          <p:cNvPr id="37" name="Text Placeholder 36">
            <a:extLst>
              <a:ext uri="{FF2B5EF4-FFF2-40B4-BE49-F238E27FC236}">
                <a16:creationId xmlns:a16="http://schemas.microsoft.com/office/drawing/2014/main" id="{4918FA18-B639-A629-2E9B-674B54B4AACA}"/>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37405B8B-A5F3-F9D8-A571-2F38544BBDBA}"/>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ector | NICOLAS VCN | P12M</a:t>
            </a:r>
          </a:p>
        </p:txBody>
      </p:sp>
      <p:sp>
        <p:nvSpPr>
          <p:cNvPr id="2" name="Title 1">
            <a:extLst>
              <a:ext uri="{FF2B5EF4-FFF2-40B4-BE49-F238E27FC236}">
                <a16:creationId xmlns:a16="http://schemas.microsoft.com/office/drawing/2014/main" id="{12784FBB-01F7-DE64-BC02-E8B59B51E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8694A9E2-2E6E-DE42-FC36-3888D1308CB4}"/>
              </a:ext>
            </a:extLst>
          </p:cNvPr>
          <p:cNvGraphicFramePr>
            <a:graphicFrameLocks noGrp="1"/>
          </p:cNvGraphicFramePr>
          <p:nvPr>
            <p:ph idx="4294967295"/>
            <p:extLst>
              <p:ext uri="{D42A27DB-BD31-4B8C-83A1-F6EECF244321}">
                <p14:modId xmlns:p14="http://schemas.microsoft.com/office/powerpoint/2010/main" val="1432786312"/>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F456CAE2-40D9-C89C-01D4-02D92ECC325F}"/>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9C31F180-BE4C-077E-6172-FE9EFF5651B0}"/>
              </a:ext>
            </a:extLst>
          </p:cNvPr>
          <p:cNvGraphicFramePr>
            <a:graphicFrameLocks/>
          </p:cNvGraphicFramePr>
          <p:nvPr>
            <p:extLst>
              <p:ext uri="{D42A27DB-BD31-4B8C-83A1-F6EECF244321}">
                <p14:modId xmlns:p14="http://schemas.microsoft.com/office/powerpoint/2010/main" val="1017388895"/>
              </p:ext>
            </p:extLst>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01B1A8DD-FED6-2C47-296D-0983D1E720B2}"/>
              </a:ext>
            </a:extLst>
          </p:cNvPr>
          <p:cNvGraphicFramePr>
            <a:graphicFrameLocks/>
          </p:cNvGraphicFramePr>
          <p:nvPr>
            <p:extLst>
              <p:ext uri="{D42A27DB-BD31-4B8C-83A1-F6EECF244321}">
                <p14:modId xmlns:p14="http://schemas.microsoft.com/office/powerpoint/2010/main" val="908925846"/>
              </p:ext>
            </p:extLst>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sp>
        <p:nvSpPr>
          <p:cNvPr id="16" name="TextBox 15">
            <a:extLst>
              <a:ext uri="{FF2B5EF4-FFF2-40B4-BE49-F238E27FC236}">
                <a16:creationId xmlns:a16="http://schemas.microsoft.com/office/drawing/2014/main" id="{2B180312-FE46-D4C9-3734-1E3750820943}"/>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4DB211A7-591C-E03E-65DC-47EB4C0D8D03}"/>
              </a:ext>
            </a:extLst>
          </p:cNvPr>
          <p:cNvGraphicFramePr>
            <a:graphicFrameLocks noGrp="1"/>
          </p:cNvGraphicFramePr>
          <p:nvPr>
            <p:extLst>
              <p:ext uri="{D42A27DB-BD31-4B8C-83A1-F6EECF244321}">
                <p14:modId xmlns:p14="http://schemas.microsoft.com/office/powerpoint/2010/main" val="2790109015"/>
              </p:ext>
            </p:extLst>
          </p:nvPr>
        </p:nvGraphicFramePr>
        <p:xfrm>
          <a:off x="720534" y="1121410"/>
          <a:ext cx="6085434"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tblGrid>
              <a:tr h="235994">
                <a:tc>
                  <a:txBody>
                    <a:bodyPr/>
                    <a:lstStyle/>
                    <a:p>
                      <a:pPr algn="ctr">
                        <a:defRPr sz="1100">
                          <a:latin typeface="Nexa Book"/>
                        </a:defRPr>
                      </a:pPr>
                      <a:r>
                        <a:rPr b="1">
                          <a:solidFill>
                            <a:srgbClr val="575555"/>
                          </a:solidFill>
                        </a:rPr>
                        <a:t>Champagnes</a:t>
                      </a:r>
                    </a:p>
                  </a:txBody>
                  <a:tcPr anchor="ctr">
                    <a:solidFill>
                      <a:schemeClr val="bg2"/>
                    </a:solidFill>
                  </a:tcPr>
                </a:tc>
                <a:tc>
                  <a:txBody>
                    <a:bodyPr/>
                    <a:lstStyle/>
                    <a:p>
                      <a:pPr algn="ctr">
                        <a:defRPr sz="1100">
                          <a:latin typeface="Nexa Book"/>
                        </a:defRPr>
                      </a:pPr>
                      <a:r>
                        <a:rPr b="1">
                          <a:solidFill>
                            <a:srgbClr val="575555"/>
                          </a:solidFill>
                        </a:rPr>
                        <a:t>Mousseux</a:t>
                      </a:r>
                    </a:p>
                  </a:txBody>
                  <a:tcPr anchor="ctr">
                    <a:solidFill>
                      <a:schemeClr val="bg2"/>
                    </a:solidFill>
                  </a:tcPr>
                </a:tc>
                <a:tc>
                  <a:txBody>
                    <a:bodyPr/>
                    <a:lstStyle/>
                    <a:p>
                      <a:pPr algn="ctr">
                        <a:defRPr sz="1100">
                          <a:latin typeface="Nexa Book"/>
                        </a:defRPr>
                      </a:pPr>
                      <a:r>
                        <a:rPr b="1">
                          <a:solidFill>
                            <a:srgbClr val="575555"/>
                          </a:solidFill>
                        </a:rPr>
                        <a:t>Effervescents Sans Alcool</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3313647484"/>
      </p:ext>
    </p:extLst>
  </p:cSld>
  <p:clrMapOvr>
    <a:masterClrMapping/>
  </p:clrMapOvr>
</p:sld>
</file>

<file path=ppt/slides/slide2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3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Extra Brut | CA B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56030001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628903"/>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853586"/>
            <a:ext cx="4869366" cy="793761"/>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002229523"/>
      </p:ext>
    </p:extLst>
  </p:cSld>
  <p:clrMapOvr>
    <a:masterClrMapping/>
  </p:clrMapOvr>
</p:sld>
</file>

<file path=ppt/slides/slide2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3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Extra Brut | CA C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39875152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654527"/>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878997"/>
            <a:ext cx="4869366" cy="785433"/>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507036870"/>
      </p:ext>
    </p:extLst>
  </p:cSld>
  <p:clrMapOvr>
    <a:masterClrMapping/>
  </p:clrMapOvr>
</p:sld>
</file>

<file path=ppt/slides/slide2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3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Extra Brut | CA D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51794097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6321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856792"/>
            <a:ext cx="4869366" cy="792710"/>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974173207"/>
      </p:ext>
    </p:extLst>
  </p:cSld>
  <p:clrMapOvr>
    <a:masterClrMapping/>
  </p:clrMapOvr>
</p:sld>
</file>

<file path=ppt/slides/slide2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3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Extra Brut | CA 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94040148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617520"/>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842299"/>
            <a:ext cx="4869366" cy="797460"/>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83022830"/>
      </p:ext>
    </p:extLst>
  </p:cSld>
  <p:clrMapOvr>
    <a:masterClrMapping/>
  </p:clrMapOvr>
</p:sld>
</file>

<file path=ppt/slides/slide2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3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illesimes | Nationa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88698469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504745"/>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723334"/>
            <a:ext cx="4869366" cy="841241"/>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578834"/>
            <a:ext cx="4869366" cy="55607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149167"/>
            <a:ext cx="4869366" cy="1126408"/>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838262708"/>
      </p:ext>
    </p:extLst>
  </p:cSld>
  <p:clrMapOvr>
    <a:masterClrMapping/>
  </p:clrMapOvr>
</p:sld>
</file>

<file path=ppt/slides/slide2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3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illesimes | NICOLA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62579247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441254"/>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660196"/>
            <a:ext cx="4869366" cy="862052"/>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536859"/>
            <a:ext cx="4869366" cy="569831"/>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121302"/>
            <a:ext cx="4869366" cy="1154273"/>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940656835"/>
      </p:ext>
    </p:extLst>
  </p:cSld>
  <p:clrMapOvr>
    <a:masterClrMapping/>
  </p:clrMapOvr>
</p:sld>
</file>

<file path=ppt/slides/slide2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3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illesimes | HMSM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79684886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390235"/>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609461"/>
            <a:ext cx="4869366" cy="87877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503131"/>
            <a:ext cx="4869366" cy="58088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65194596"/>
      </p:ext>
    </p:extLst>
  </p:cSld>
  <p:clrMapOvr>
    <a:masterClrMapping/>
  </p:clrMapOvr>
</p:sld>
</file>

<file path=ppt/slides/slide2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3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illesimes | NICOLAS QC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7086805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671834"/>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889495"/>
            <a:ext cx="4869366" cy="786473"/>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689299"/>
            <a:ext cx="4869366" cy="519872"/>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222501"/>
            <a:ext cx="4869366" cy="1053074"/>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379493722"/>
      </p:ext>
    </p:extLst>
  </p:cSld>
  <p:clrMapOvr>
    <a:masterClrMapping/>
  </p:clrMapOvr>
</p:sld>
</file>

<file path=ppt/slides/slide2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3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illesimes | NICOLAS VC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60518259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622954"/>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840886"/>
            <a:ext cx="4869366" cy="80249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656983"/>
            <a:ext cx="4869366" cy="530463"/>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201048"/>
            <a:ext cx="4869366" cy="107452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538071762"/>
      </p:ext>
    </p:extLst>
  </p:cSld>
  <p:clrMapOvr>
    <a:masterClrMapping/>
  </p:clrMapOvr>
</p:sld>
</file>

<file path=ppt/slides/slide2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3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illesimes | NICOLAS QC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49820080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412279"/>
            <a:ext cx="4869366" cy="943767"/>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372043"/>
            <a:ext cx="4869366" cy="623846"/>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011886"/>
            <a:ext cx="4869366" cy="1263689"/>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34322884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65918C-CF2D-B9BE-373E-8055AB4F589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BE947E9A-9EDC-50FE-5484-367359C894D7}"/>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DC475BB2-0528-29FB-C158-9EF2E6156FB0}"/>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C87CB3FA-1793-85BB-0720-68CB9A322CAF}"/>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300044B2-FAA5-2879-ADFC-6874BBAF83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DA8BB0C0-E087-2E71-1F6D-E725250BE3D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4</a:t>
            </a:fld>
            <a:endParaRPr lang="en-US" noProof="0"/>
          </a:p>
        </p:txBody>
      </p:sp>
      <p:sp>
        <p:nvSpPr>
          <p:cNvPr id="37" name="Text Placeholder 36">
            <a:extLst>
              <a:ext uri="{FF2B5EF4-FFF2-40B4-BE49-F238E27FC236}">
                <a16:creationId xmlns:a16="http://schemas.microsoft.com/office/drawing/2014/main" id="{4918FA18-B639-A629-2E9B-674B54B4AACA}"/>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37405B8B-A5F3-F9D8-A571-2F38544BBDBA}"/>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ector | NICOLAS QCT | P12M</a:t>
            </a:r>
          </a:p>
        </p:txBody>
      </p:sp>
      <p:sp>
        <p:nvSpPr>
          <p:cNvPr id="2" name="Title 1">
            <a:extLst>
              <a:ext uri="{FF2B5EF4-FFF2-40B4-BE49-F238E27FC236}">
                <a16:creationId xmlns:a16="http://schemas.microsoft.com/office/drawing/2014/main" id="{12784FBB-01F7-DE64-BC02-E8B59B51E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8694A9E2-2E6E-DE42-FC36-3888D1308CB4}"/>
              </a:ext>
            </a:extLst>
          </p:cNvPr>
          <p:cNvGraphicFramePr>
            <a:graphicFrameLocks noGrp="1"/>
          </p:cNvGraphicFramePr>
          <p:nvPr>
            <p:ph idx="4294967295"/>
            <p:extLst>
              <p:ext uri="{D42A27DB-BD31-4B8C-83A1-F6EECF244321}">
                <p14:modId xmlns:p14="http://schemas.microsoft.com/office/powerpoint/2010/main" val="4155252817"/>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F456CAE2-40D9-C89C-01D4-02D92ECC325F}"/>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9C31F180-BE4C-077E-6172-FE9EFF5651B0}"/>
              </a:ext>
            </a:extLst>
          </p:cNvPr>
          <p:cNvGraphicFramePr>
            <a:graphicFrameLocks/>
          </p:cNvGraphicFramePr>
          <p:nvPr>
            <p:extLst>
              <p:ext uri="{D42A27DB-BD31-4B8C-83A1-F6EECF244321}">
                <p14:modId xmlns:p14="http://schemas.microsoft.com/office/powerpoint/2010/main" val="4288486611"/>
              </p:ext>
            </p:extLst>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01B1A8DD-FED6-2C47-296D-0983D1E720B2}"/>
              </a:ext>
            </a:extLst>
          </p:cNvPr>
          <p:cNvGraphicFramePr>
            <a:graphicFrameLocks/>
          </p:cNvGraphicFramePr>
          <p:nvPr>
            <p:extLst>
              <p:ext uri="{D42A27DB-BD31-4B8C-83A1-F6EECF244321}">
                <p14:modId xmlns:p14="http://schemas.microsoft.com/office/powerpoint/2010/main" val="548389964"/>
              </p:ext>
            </p:extLst>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sp>
        <p:nvSpPr>
          <p:cNvPr id="16" name="TextBox 15">
            <a:extLst>
              <a:ext uri="{FF2B5EF4-FFF2-40B4-BE49-F238E27FC236}">
                <a16:creationId xmlns:a16="http://schemas.microsoft.com/office/drawing/2014/main" id="{2B180312-FE46-D4C9-3734-1E3750820943}"/>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4DB211A7-591C-E03E-65DC-47EB4C0D8D03}"/>
              </a:ext>
            </a:extLst>
          </p:cNvPr>
          <p:cNvGraphicFramePr>
            <a:graphicFrameLocks noGrp="1"/>
          </p:cNvGraphicFramePr>
          <p:nvPr>
            <p:extLst>
              <p:ext uri="{D42A27DB-BD31-4B8C-83A1-F6EECF244321}">
                <p14:modId xmlns:p14="http://schemas.microsoft.com/office/powerpoint/2010/main" val="2790109015"/>
              </p:ext>
            </p:extLst>
          </p:nvPr>
        </p:nvGraphicFramePr>
        <p:xfrm>
          <a:off x="720534" y="1121410"/>
          <a:ext cx="6085434"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tblGrid>
              <a:tr h="235994">
                <a:tc>
                  <a:txBody>
                    <a:bodyPr/>
                    <a:lstStyle/>
                    <a:p>
                      <a:pPr algn="ctr">
                        <a:defRPr sz="1100">
                          <a:latin typeface="Nexa Book"/>
                        </a:defRPr>
                      </a:pPr>
                      <a:r>
                        <a:rPr b="1">
                          <a:solidFill>
                            <a:srgbClr val="575555"/>
                          </a:solidFill>
                        </a:rPr>
                        <a:t>Champagnes</a:t>
                      </a:r>
                    </a:p>
                  </a:txBody>
                  <a:tcPr anchor="ctr">
                    <a:solidFill>
                      <a:schemeClr val="bg2"/>
                    </a:solidFill>
                  </a:tcPr>
                </a:tc>
                <a:tc>
                  <a:txBody>
                    <a:bodyPr/>
                    <a:lstStyle/>
                    <a:p>
                      <a:pPr algn="ctr">
                        <a:defRPr sz="1100">
                          <a:latin typeface="Nexa Book"/>
                        </a:defRPr>
                      </a:pPr>
                      <a:r>
                        <a:rPr b="1">
                          <a:solidFill>
                            <a:srgbClr val="575555"/>
                          </a:solidFill>
                        </a:rPr>
                        <a:t>Mousseux</a:t>
                      </a:r>
                    </a:p>
                  </a:txBody>
                  <a:tcPr anchor="ctr">
                    <a:solidFill>
                      <a:schemeClr val="bg2"/>
                    </a:solidFill>
                  </a:tcPr>
                </a:tc>
                <a:tc>
                  <a:txBody>
                    <a:bodyPr/>
                    <a:lstStyle/>
                    <a:p>
                      <a:pPr algn="ctr">
                        <a:defRPr sz="1100">
                          <a:latin typeface="Nexa Book"/>
                        </a:defRPr>
                      </a:pPr>
                      <a:r>
                        <a:rPr b="1">
                          <a:solidFill>
                            <a:srgbClr val="575555"/>
                          </a:solidFill>
                        </a:rPr>
                        <a:t>Effervescents Sans Alcool</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1536552209"/>
      </p:ext>
    </p:extLst>
  </p:cSld>
  <p:clrMapOvr>
    <a:masterClrMapping/>
  </p:clrMapOvr>
</p:sld>
</file>

<file path=ppt/slides/slide2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4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illesimes | NICOLAS QC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19072261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31540"/>
            <a:ext cx="4869366" cy="1003341"/>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251887"/>
            <a:ext cx="4869366" cy="66322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932118"/>
            <a:ext cx="4869366" cy="13434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24385132"/>
      </p:ext>
    </p:extLst>
  </p:cSld>
  <p:clrMapOvr>
    <a:masterClrMapping/>
  </p:clrMapOvr>
</p:sld>
</file>

<file path=ppt/slides/slide2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4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illesimes | NICOLAS CCP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01040928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341249"/>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560747"/>
            <a:ext cx="4869366" cy="894831"/>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470745"/>
            <a:ext cx="4869366" cy="591499"/>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077411"/>
            <a:ext cx="4869366" cy="1198164"/>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96174210"/>
      </p:ext>
    </p:extLst>
  </p:cSld>
  <p:clrMapOvr>
    <a:masterClrMapping/>
  </p:clrMapOvr>
</p:sld>
</file>

<file path=ppt/slides/slide2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4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illesimes | NICOLAS IDF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38565120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47216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690936"/>
            <a:ext cx="4869366" cy="851920"/>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557296"/>
            <a:ext cx="4869366" cy="563133"/>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134869"/>
            <a:ext cx="4869366" cy="1140706"/>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548664423"/>
      </p:ext>
    </p:extLst>
  </p:cSld>
  <p:clrMapOvr>
    <a:masterClrMapping/>
  </p:clrMapOvr>
</p:sld>
</file>

<file path=ppt/slides/slide2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4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illesimes | NICOLAS PAC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82622305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942132"/>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164205"/>
            <a:ext cx="4869366" cy="691961"/>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873910"/>
            <a:ext cx="4869366" cy="1401665"/>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37997658"/>
      </p:ext>
    </p:extLst>
  </p:cSld>
  <p:clrMapOvr>
    <a:masterClrMapping/>
  </p:clrMapOvr>
</p:sld>
</file>

<file path=ppt/slides/slide2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4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illesimes | NICOLAS RH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07526954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415989"/>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635072"/>
            <a:ext cx="4869366" cy="870333"/>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520157"/>
            <a:ext cx="4869366" cy="57530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110214"/>
            <a:ext cx="4869366" cy="1165361"/>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011404454"/>
      </p:ext>
    </p:extLst>
  </p:cSld>
  <p:clrMapOvr>
    <a:masterClrMapping/>
  </p:clrMapOvr>
</p:sld>
</file>

<file path=ppt/slides/slide2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4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illesimes | NICOLAS AQU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46018319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467849"/>
            <a:ext cx="4869366" cy="925451"/>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408986"/>
            <a:ext cx="4869366" cy="611739"/>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036411"/>
            <a:ext cx="4869366" cy="1239164"/>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199200808"/>
      </p:ext>
    </p:extLst>
  </p:cSld>
  <p:clrMapOvr>
    <a:masterClrMapping/>
  </p:clrMapOvr>
</p:sld>
</file>

<file path=ppt/slides/slide2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4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illesimes | NICOLAS ES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24761083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913461"/>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2129780"/>
            <a:ext cx="4869366" cy="707273"/>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849041"/>
            <a:ext cx="4869366" cy="467519"/>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328548"/>
            <a:ext cx="4869366" cy="94702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78021772"/>
      </p:ext>
    </p:extLst>
  </p:cSld>
  <p:clrMapOvr>
    <a:masterClrMapping/>
  </p:clrMapOvr>
</p:sld>
</file>

<file path=ppt/slides/slide2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4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illesimes | CA 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89383618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338862"/>
            <a:ext cx="4869366" cy="967967"/>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323235"/>
            <a:ext cx="4869366" cy="639842"/>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979484"/>
            <a:ext cx="4869366" cy="1296091"/>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593255032"/>
      </p:ext>
    </p:extLst>
  </p:cSld>
  <p:clrMapOvr>
    <a:masterClrMapping/>
  </p:clrMapOvr>
</p:sld>
</file>

<file path=ppt/slides/slide2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4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illesimes | CA B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13815179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527185"/>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745650"/>
            <a:ext cx="4869366" cy="833886"/>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593670"/>
            <a:ext cx="4869366" cy="551212"/>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159016"/>
            <a:ext cx="4869366" cy="1116559"/>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70195405"/>
      </p:ext>
    </p:extLst>
  </p:cSld>
  <p:clrMapOvr>
    <a:masterClrMapping/>
  </p:clrMapOvr>
</p:sld>
</file>

<file path=ppt/slides/slide2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4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illesimes | CA C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87165174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417264"/>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636340"/>
            <a:ext cx="4869366" cy="86991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521000"/>
            <a:ext cx="4869366" cy="575029"/>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110773"/>
            <a:ext cx="4869366" cy="1164802"/>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67486223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65918C-CF2D-B9BE-373E-8055AB4F589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BE947E9A-9EDC-50FE-5484-367359C894D7}"/>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DC475BB2-0528-29FB-C158-9EF2E6156FB0}"/>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C87CB3FA-1793-85BB-0720-68CB9A322CAF}"/>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300044B2-FAA5-2879-ADFC-6874BBAF83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DA8BB0C0-E087-2E71-1F6D-E725250BE3D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5</a:t>
            </a:fld>
            <a:endParaRPr lang="en-US" noProof="0"/>
          </a:p>
        </p:txBody>
      </p:sp>
      <p:sp>
        <p:nvSpPr>
          <p:cNvPr id="37" name="Text Placeholder 36">
            <a:extLst>
              <a:ext uri="{FF2B5EF4-FFF2-40B4-BE49-F238E27FC236}">
                <a16:creationId xmlns:a16="http://schemas.microsoft.com/office/drawing/2014/main" id="{4918FA18-B639-A629-2E9B-674B54B4AACA}"/>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37405B8B-A5F3-F9D8-A571-2F38544BBDBA}"/>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ector | NICOLAS QCA | P12M</a:t>
            </a:r>
          </a:p>
        </p:txBody>
      </p:sp>
      <p:sp>
        <p:nvSpPr>
          <p:cNvPr id="2" name="Title 1">
            <a:extLst>
              <a:ext uri="{FF2B5EF4-FFF2-40B4-BE49-F238E27FC236}">
                <a16:creationId xmlns:a16="http://schemas.microsoft.com/office/drawing/2014/main" id="{12784FBB-01F7-DE64-BC02-E8B59B51E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8694A9E2-2E6E-DE42-FC36-3888D1308CB4}"/>
              </a:ext>
            </a:extLst>
          </p:cNvPr>
          <p:cNvGraphicFramePr>
            <a:graphicFrameLocks noGrp="1"/>
          </p:cNvGraphicFramePr>
          <p:nvPr>
            <p:ph idx="4294967295"/>
            <p:extLst>
              <p:ext uri="{D42A27DB-BD31-4B8C-83A1-F6EECF244321}">
                <p14:modId xmlns:p14="http://schemas.microsoft.com/office/powerpoint/2010/main" val="4152647693"/>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F456CAE2-40D9-C89C-01D4-02D92ECC325F}"/>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9C31F180-BE4C-077E-6172-FE9EFF5651B0}"/>
              </a:ext>
            </a:extLst>
          </p:cNvPr>
          <p:cNvGraphicFramePr>
            <a:graphicFrameLocks/>
          </p:cNvGraphicFramePr>
          <p:nvPr>
            <p:extLst>
              <p:ext uri="{D42A27DB-BD31-4B8C-83A1-F6EECF244321}">
                <p14:modId xmlns:p14="http://schemas.microsoft.com/office/powerpoint/2010/main" val="2890712737"/>
              </p:ext>
            </p:extLst>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01B1A8DD-FED6-2C47-296D-0983D1E720B2}"/>
              </a:ext>
            </a:extLst>
          </p:cNvPr>
          <p:cNvGraphicFramePr>
            <a:graphicFrameLocks/>
          </p:cNvGraphicFramePr>
          <p:nvPr>
            <p:extLst>
              <p:ext uri="{D42A27DB-BD31-4B8C-83A1-F6EECF244321}">
                <p14:modId xmlns:p14="http://schemas.microsoft.com/office/powerpoint/2010/main" val="3679324022"/>
              </p:ext>
            </p:extLst>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sp>
        <p:nvSpPr>
          <p:cNvPr id="16" name="TextBox 15">
            <a:extLst>
              <a:ext uri="{FF2B5EF4-FFF2-40B4-BE49-F238E27FC236}">
                <a16:creationId xmlns:a16="http://schemas.microsoft.com/office/drawing/2014/main" id="{2B180312-FE46-D4C9-3734-1E3750820943}"/>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4DB211A7-591C-E03E-65DC-47EB4C0D8D03}"/>
              </a:ext>
            </a:extLst>
          </p:cNvPr>
          <p:cNvGraphicFramePr>
            <a:graphicFrameLocks noGrp="1"/>
          </p:cNvGraphicFramePr>
          <p:nvPr>
            <p:extLst>
              <p:ext uri="{D42A27DB-BD31-4B8C-83A1-F6EECF244321}">
                <p14:modId xmlns:p14="http://schemas.microsoft.com/office/powerpoint/2010/main" val="2790109015"/>
              </p:ext>
            </p:extLst>
          </p:nvPr>
        </p:nvGraphicFramePr>
        <p:xfrm>
          <a:off x="720534" y="1121410"/>
          <a:ext cx="6085434"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tblGrid>
              <a:tr h="235994">
                <a:tc>
                  <a:txBody>
                    <a:bodyPr/>
                    <a:lstStyle/>
                    <a:p>
                      <a:pPr algn="ctr">
                        <a:defRPr sz="1100">
                          <a:latin typeface="Nexa Book"/>
                        </a:defRPr>
                      </a:pPr>
                      <a:r>
                        <a:rPr b="1">
                          <a:solidFill>
                            <a:srgbClr val="575555"/>
                          </a:solidFill>
                        </a:rPr>
                        <a:t>Champagnes</a:t>
                      </a:r>
                    </a:p>
                  </a:txBody>
                  <a:tcPr anchor="ctr">
                    <a:solidFill>
                      <a:schemeClr val="bg2"/>
                    </a:solidFill>
                  </a:tcPr>
                </a:tc>
                <a:tc>
                  <a:txBody>
                    <a:bodyPr/>
                    <a:lstStyle/>
                    <a:p>
                      <a:pPr algn="ctr">
                        <a:defRPr sz="1100">
                          <a:latin typeface="Nexa Book"/>
                        </a:defRPr>
                      </a:pPr>
                      <a:r>
                        <a:rPr b="1">
                          <a:solidFill>
                            <a:srgbClr val="575555"/>
                          </a:solidFill>
                        </a:rPr>
                        <a:t>Mousseux</a:t>
                      </a:r>
                    </a:p>
                  </a:txBody>
                  <a:tcPr anchor="ctr">
                    <a:solidFill>
                      <a:schemeClr val="bg2"/>
                    </a:solidFill>
                  </a:tcPr>
                </a:tc>
                <a:tc>
                  <a:txBody>
                    <a:bodyPr/>
                    <a:lstStyle/>
                    <a:p>
                      <a:pPr algn="ctr">
                        <a:defRPr sz="1100">
                          <a:latin typeface="Nexa Book"/>
                        </a:defRPr>
                      </a:pPr>
                      <a:r>
                        <a:rPr b="1">
                          <a:solidFill>
                            <a:srgbClr val="575555"/>
                          </a:solidFill>
                        </a:rPr>
                        <a:t>Effervescents Sans Alcool</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4126582052"/>
      </p:ext>
    </p:extLst>
  </p:cSld>
  <p:clrMapOvr>
    <a:masterClrMapping/>
  </p:clrMapOvr>
</p:sld>
</file>

<file path=ppt/slides/slide2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5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illesimes | CA D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91163111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617520"/>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835483"/>
            <a:ext cx="4869366" cy="804276"/>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653391"/>
            <a:ext cx="4869366" cy="531640"/>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198663"/>
            <a:ext cx="4869366" cy="1076912"/>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123465190"/>
      </p:ext>
    </p:extLst>
  </p:cSld>
  <p:clrMapOvr>
    <a:masterClrMapping/>
  </p:clrMapOvr>
</p:sld>
</file>

<file path=ppt/slides/slide2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5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illesimes | CA 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39545952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961229"/>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2177282"/>
            <a:ext cx="4869366" cy="691616"/>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880621"/>
            <a:ext cx="4869366" cy="457170"/>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349513"/>
            <a:ext cx="4869366" cy="926062"/>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960487454"/>
      </p:ext>
    </p:extLst>
  </p:cSld>
  <p:clrMapOvr>
    <a:masterClrMapping/>
  </p:clrMapOvr>
</p:sld>
</file>

<file path=ppt/slides/slide2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5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Rosés | Nationa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1030705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1263448"/>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2477823"/>
            <a:ext cx="4869366" cy="59255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080421"/>
            <a:ext cx="4869366" cy="391689"/>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783700067"/>
      </p:ext>
    </p:extLst>
  </p:cSld>
  <p:clrMapOvr>
    <a:masterClrMapping/>
  </p:clrMapOvr>
</p:sld>
</file>

<file path=ppt/slides/slide2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5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Rosés | NICOLA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76862998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86164"/>
            <a:ext cx="4869366" cy="985336"/>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288201"/>
            <a:ext cx="4869366" cy="65132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956226"/>
            <a:ext cx="4869366" cy="1319349"/>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480435182"/>
      </p:ext>
    </p:extLst>
  </p:cSld>
  <p:clrMapOvr>
    <a:masterClrMapping/>
  </p:clrMapOvr>
</p:sld>
</file>

<file path=ppt/slides/slide2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5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Rosés | HMSM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38153462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308750"/>
            <a:ext cx="4869366" cy="977892"/>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303216"/>
            <a:ext cx="4869366" cy="646403"/>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966194"/>
            <a:ext cx="4869366" cy="1309381"/>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886632711"/>
      </p:ext>
    </p:extLst>
  </p:cSld>
  <p:clrMapOvr>
    <a:masterClrMapping/>
  </p:clrMapOvr>
</p:sld>
</file>

<file path=ppt/slides/slide2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5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Rosés | NICOLAS QC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9263936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97499"/>
            <a:ext cx="4869366" cy="981600"/>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295737"/>
            <a:ext cx="4869366" cy="64885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961229"/>
            <a:ext cx="4869366" cy="1314346"/>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011715321"/>
      </p:ext>
    </p:extLst>
  </p:cSld>
  <p:clrMapOvr>
    <a:masterClrMapping/>
  </p:clrMapOvr>
</p:sld>
</file>

<file path=ppt/slides/slide2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5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Rosés | NICOLAS VC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08863310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470714"/>
            <a:ext cx="4869366" cy="924507"/>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410891"/>
            <a:ext cx="4869366" cy="61111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037676"/>
            <a:ext cx="4869366" cy="1237899"/>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197737397"/>
      </p:ext>
    </p:extLst>
  </p:cSld>
  <p:clrMapOvr>
    <a:masterClrMapping/>
  </p:clrMapOvr>
</p:sld>
</file>

<file path=ppt/slides/slide2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5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Rosés | NICOLAS QC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25468550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44964"/>
            <a:ext cx="4869366" cy="998916"/>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260812"/>
            <a:ext cx="4869366" cy="660300"/>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938043"/>
            <a:ext cx="4869366" cy="1337532"/>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080242300"/>
      </p:ext>
    </p:extLst>
  </p:cSld>
  <p:clrMapOvr>
    <a:masterClrMapping/>
  </p:clrMapOvr>
</p:sld>
</file>

<file path=ppt/slides/slide2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5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Rosés | NICOLAS QC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22273750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2499732"/>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707238"/>
            <a:ext cx="4869366" cy="187329"/>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897742"/>
            <a:ext cx="4869366" cy="123827"/>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4024745"/>
            <a:ext cx="4869366" cy="250830"/>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657009244"/>
      </p:ext>
    </p:extLst>
  </p:cSld>
  <p:clrMapOvr>
    <a:masterClrMapping/>
  </p:clrMapOvr>
</p:sld>
</file>

<file path=ppt/slides/slide2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5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Rosés | NICOLAS CCP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48987598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76378"/>
            <a:ext cx="4869366" cy="988562"/>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281696"/>
            <a:ext cx="4869366" cy="653456"/>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951907"/>
            <a:ext cx="4869366" cy="1323668"/>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53576154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65918C-CF2D-B9BE-373E-8055AB4F589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BE947E9A-9EDC-50FE-5484-367359C894D7}"/>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DC475BB2-0528-29FB-C158-9EF2E6156FB0}"/>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C87CB3FA-1793-85BB-0720-68CB9A322CAF}"/>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300044B2-FAA5-2879-ADFC-6874BBAF83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DA8BB0C0-E087-2E71-1F6D-E725250BE3D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a:t>
            </a:fld>
            <a:endParaRPr lang="en-US" noProof="0"/>
          </a:p>
        </p:txBody>
      </p:sp>
      <p:sp>
        <p:nvSpPr>
          <p:cNvPr id="37" name="Text Placeholder 36">
            <a:extLst>
              <a:ext uri="{FF2B5EF4-FFF2-40B4-BE49-F238E27FC236}">
                <a16:creationId xmlns:a16="http://schemas.microsoft.com/office/drawing/2014/main" id="{4918FA18-B639-A629-2E9B-674B54B4AACA}"/>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37405B8B-A5F3-F9D8-A571-2F38544BBDBA}"/>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ector | NICOLAS CCP | P12M</a:t>
            </a:r>
          </a:p>
        </p:txBody>
      </p:sp>
      <p:sp>
        <p:nvSpPr>
          <p:cNvPr id="2" name="Title 1">
            <a:extLst>
              <a:ext uri="{FF2B5EF4-FFF2-40B4-BE49-F238E27FC236}">
                <a16:creationId xmlns:a16="http://schemas.microsoft.com/office/drawing/2014/main" id="{12784FBB-01F7-DE64-BC02-E8B59B51E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8694A9E2-2E6E-DE42-FC36-3888D1308CB4}"/>
              </a:ext>
            </a:extLst>
          </p:cNvPr>
          <p:cNvGraphicFramePr>
            <a:graphicFrameLocks noGrp="1"/>
          </p:cNvGraphicFramePr>
          <p:nvPr>
            <p:ph idx="4294967295"/>
            <p:extLst>
              <p:ext uri="{D42A27DB-BD31-4B8C-83A1-F6EECF244321}">
                <p14:modId xmlns:p14="http://schemas.microsoft.com/office/powerpoint/2010/main" val="1648573500"/>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F456CAE2-40D9-C89C-01D4-02D92ECC325F}"/>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9C31F180-BE4C-077E-6172-FE9EFF5651B0}"/>
              </a:ext>
            </a:extLst>
          </p:cNvPr>
          <p:cNvGraphicFramePr>
            <a:graphicFrameLocks/>
          </p:cNvGraphicFramePr>
          <p:nvPr>
            <p:extLst>
              <p:ext uri="{D42A27DB-BD31-4B8C-83A1-F6EECF244321}">
                <p14:modId xmlns:p14="http://schemas.microsoft.com/office/powerpoint/2010/main" val="4274878342"/>
              </p:ext>
            </p:extLst>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01B1A8DD-FED6-2C47-296D-0983D1E720B2}"/>
              </a:ext>
            </a:extLst>
          </p:cNvPr>
          <p:cNvGraphicFramePr>
            <a:graphicFrameLocks/>
          </p:cNvGraphicFramePr>
          <p:nvPr>
            <p:extLst>
              <p:ext uri="{D42A27DB-BD31-4B8C-83A1-F6EECF244321}">
                <p14:modId xmlns:p14="http://schemas.microsoft.com/office/powerpoint/2010/main" val="2744892342"/>
              </p:ext>
            </p:extLst>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sp>
        <p:nvSpPr>
          <p:cNvPr id="16" name="TextBox 15">
            <a:extLst>
              <a:ext uri="{FF2B5EF4-FFF2-40B4-BE49-F238E27FC236}">
                <a16:creationId xmlns:a16="http://schemas.microsoft.com/office/drawing/2014/main" id="{2B180312-FE46-D4C9-3734-1E3750820943}"/>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4DB211A7-591C-E03E-65DC-47EB4C0D8D03}"/>
              </a:ext>
            </a:extLst>
          </p:cNvPr>
          <p:cNvGraphicFramePr>
            <a:graphicFrameLocks noGrp="1"/>
          </p:cNvGraphicFramePr>
          <p:nvPr>
            <p:extLst>
              <p:ext uri="{D42A27DB-BD31-4B8C-83A1-F6EECF244321}">
                <p14:modId xmlns:p14="http://schemas.microsoft.com/office/powerpoint/2010/main" val="2790109015"/>
              </p:ext>
            </p:extLst>
          </p:nvPr>
        </p:nvGraphicFramePr>
        <p:xfrm>
          <a:off x="720534" y="1121410"/>
          <a:ext cx="6085434"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tblGrid>
              <a:tr h="235994">
                <a:tc>
                  <a:txBody>
                    <a:bodyPr/>
                    <a:lstStyle/>
                    <a:p>
                      <a:pPr algn="ctr">
                        <a:defRPr sz="1100">
                          <a:latin typeface="Nexa Book"/>
                        </a:defRPr>
                      </a:pPr>
                      <a:r>
                        <a:rPr b="1">
                          <a:solidFill>
                            <a:srgbClr val="575555"/>
                          </a:solidFill>
                        </a:rPr>
                        <a:t>Champagnes</a:t>
                      </a:r>
                    </a:p>
                  </a:txBody>
                  <a:tcPr anchor="ctr">
                    <a:solidFill>
                      <a:schemeClr val="bg2"/>
                    </a:solidFill>
                  </a:tcPr>
                </a:tc>
                <a:tc>
                  <a:txBody>
                    <a:bodyPr/>
                    <a:lstStyle/>
                    <a:p>
                      <a:pPr algn="ctr">
                        <a:defRPr sz="1100">
                          <a:latin typeface="Nexa Book"/>
                        </a:defRPr>
                      </a:pPr>
                      <a:r>
                        <a:rPr b="1">
                          <a:solidFill>
                            <a:srgbClr val="575555"/>
                          </a:solidFill>
                        </a:rPr>
                        <a:t>Mousseux</a:t>
                      </a:r>
                    </a:p>
                  </a:txBody>
                  <a:tcPr anchor="ctr">
                    <a:solidFill>
                      <a:schemeClr val="bg2"/>
                    </a:solidFill>
                  </a:tcPr>
                </a:tc>
                <a:tc>
                  <a:txBody>
                    <a:bodyPr/>
                    <a:lstStyle/>
                    <a:p>
                      <a:pPr algn="ctr">
                        <a:defRPr sz="1100">
                          <a:latin typeface="Nexa Book"/>
                        </a:defRPr>
                      </a:pPr>
                      <a:r>
                        <a:rPr b="1">
                          <a:solidFill>
                            <a:srgbClr val="575555"/>
                          </a:solidFill>
                        </a:rPr>
                        <a:t>Effervescents Sans Alcool</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1196925901"/>
      </p:ext>
    </p:extLst>
  </p:cSld>
  <p:clrMapOvr>
    <a:masterClrMapping/>
  </p:clrMapOvr>
</p:sld>
</file>

<file path=ppt/slides/slide2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Rosés | NICOLAS IDF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14354058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31540"/>
            <a:ext cx="4869366" cy="1003341"/>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251887"/>
            <a:ext cx="4869366" cy="66322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932118"/>
            <a:ext cx="4869366" cy="13434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842006907"/>
      </p:ext>
    </p:extLst>
  </p:cSld>
  <p:clrMapOvr>
    <a:masterClrMapping/>
  </p:clrMapOvr>
</p:sld>
</file>

<file path=ppt/slides/slide2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Rosés | NICOLAS PAC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95120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21393"/>
            <a:ext cx="4869366" cy="100668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245141"/>
            <a:ext cx="4869366" cy="665436"/>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927640"/>
            <a:ext cx="4869366" cy="1347935"/>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708623809"/>
      </p:ext>
    </p:extLst>
  </p:cSld>
  <p:clrMapOvr>
    <a:masterClrMapping/>
  </p:clrMapOvr>
</p:sld>
</file>

<file path=ppt/slides/slide2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Rosés | NICOLAS RH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84902138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365290"/>
            <a:ext cx="4869366" cy="95925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340805"/>
            <a:ext cx="4869366" cy="63408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991148"/>
            <a:ext cx="4869366" cy="128442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2816891"/>
      </p:ext>
    </p:extLst>
  </p:cSld>
  <p:clrMapOvr>
    <a:masterClrMapping/>
  </p:clrMapOvr>
</p:sld>
</file>

<file path=ppt/slides/slide2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Rosés | NICOLAS AQU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60950151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484952"/>
            <a:ext cx="4869366" cy="919814"/>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420356"/>
            <a:ext cx="4869366" cy="608012"/>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043959"/>
            <a:ext cx="4869366" cy="1231616"/>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99972484"/>
      </p:ext>
    </p:extLst>
  </p:cSld>
  <p:clrMapOvr>
    <a:masterClrMapping/>
  </p:clrMapOvr>
</p:sld>
</file>

<file path=ppt/slides/slide2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Rosés | NICOLAS ES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48038409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463584"/>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682402"/>
            <a:ext cx="4869366" cy="854733"/>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551622"/>
            <a:ext cx="4869366" cy="564993"/>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131102"/>
            <a:ext cx="4869366" cy="1144473"/>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060802280"/>
      </p:ext>
    </p:extLst>
  </p:cSld>
  <p:clrMapOvr>
    <a:masterClrMapping/>
  </p:clrMapOvr>
</p:sld>
</file>

<file path=ppt/slides/slide2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Rosés | CA 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26023525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2499614"/>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707120"/>
            <a:ext cx="4869366" cy="187367"/>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897664"/>
            <a:ext cx="4869366" cy="123853"/>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4024693"/>
            <a:ext cx="4869366" cy="250882"/>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922672835"/>
      </p:ext>
    </p:extLst>
  </p:cSld>
  <p:clrMapOvr>
    <a:masterClrMapping/>
  </p:clrMapOvr>
</p:sld>
</file>

<file path=ppt/slides/slide2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Rosés | CA B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06513073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443258"/>
            <a:ext cx="4869366" cy="933557"/>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392638"/>
            <a:ext cx="4869366" cy="617097"/>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025558"/>
            <a:ext cx="4869366" cy="125001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144265584"/>
      </p:ext>
    </p:extLst>
  </p:cSld>
  <p:clrMapOvr>
    <a:masterClrMapping/>
  </p:clrMapOvr>
</p:sld>
</file>

<file path=ppt/slides/slide2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Rosés | CA C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94099375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434475"/>
            <a:ext cx="4869366" cy="936451"/>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386800"/>
            <a:ext cx="4869366" cy="619010"/>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021682"/>
            <a:ext cx="4869366" cy="1253893"/>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227437810"/>
      </p:ext>
    </p:extLst>
  </p:cSld>
  <p:clrMapOvr>
    <a:masterClrMapping/>
  </p:clrMapOvr>
</p:sld>
</file>

<file path=ppt/slides/slide2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Rosés | CA D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35489073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438873"/>
            <a:ext cx="4869366" cy="935002"/>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389723"/>
            <a:ext cx="4869366" cy="618052"/>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023623"/>
            <a:ext cx="4869366" cy="1251952"/>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934823513"/>
      </p:ext>
    </p:extLst>
  </p:cSld>
  <p:clrMapOvr>
    <a:masterClrMapping/>
  </p:clrMapOvr>
</p:sld>
</file>

<file path=ppt/slides/slide2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Rosés | CA 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40057410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480696"/>
            <a:ext cx="4869366" cy="921217"/>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417527"/>
            <a:ext cx="4869366" cy="608940"/>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042081"/>
            <a:ext cx="4869366" cy="1233494"/>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48738544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65918C-CF2D-B9BE-373E-8055AB4F589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BE947E9A-9EDC-50FE-5484-367359C894D7}"/>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DC475BB2-0528-29FB-C158-9EF2E6156FB0}"/>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C87CB3FA-1793-85BB-0720-68CB9A322CAF}"/>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300044B2-FAA5-2879-ADFC-6874BBAF83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DA8BB0C0-E087-2E71-1F6D-E725250BE3D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7</a:t>
            </a:fld>
            <a:endParaRPr lang="en-US" noProof="0"/>
          </a:p>
        </p:txBody>
      </p:sp>
      <p:sp>
        <p:nvSpPr>
          <p:cNvPr id="37" name="Text Placeholder 36">
            <a:extLst>
              <a:ext uri="{FF2B5EF4-FFF2-40B4-BE49-F238E27FC236}">
                <a16:creationId xmlns:a16="http://schemas.microsoft.com/office/drawing/2014/main" id="{4918FA18-B639-A629-2E9B-674B54B4AACA}"/>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37405B8B-A5F3-F9D8-A571-2F38544BBDBA}"/>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ector | NICOLAS IDF | P12M</a:t>
            </a:r>
          </a:p>
        </p:txBody>
      </p:sp>
      <p:sp>
        <p:nvSpPr>
          <p:cNvPr id="2" name="Title 1">
            <a:extLst>
              <a:ext uri="{FF2B5EF4-FFF2-40B4-BE49-F238E27FC236}">
                <a16:creationId xmlns:a16="http://schemas.microsoft.com/office/drawing/2014/main" id="{12784FBB-01F7-DE64-BC02-E8B59B51E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8694A9E2-2E6E-DE42-FC36-3888D1308CB4}"/>
              </a:ext>
            </a:extLst>
          </p:cNvPr>
          <p:cNvGraphicFramePr>
            <a:graphicFrameLocks noGrp="1"/>
          </p:cNvGraphicFramePr>
          <p:nvPr>
            <p:ph idx="4294967295"/>
            <p:extLst>
              <p:ext uri="{D42A27DB-BD31-4B8C-83A1-F6EECF244321}">
                <p14:modId xmlns:p14="http://schemas.microsoft.com/office/powerpoint/2010/main" val="3051507368"/>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F456CAE2-40D9-C89C-01D4-02D92ECC325F}"/>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9C31F180-BE4C-077E-6172-FE9EFF5651B0}"/>
              </a:ext>
            </a:extLst>
          </p:cNvPr>
          <p:cNvGraphicFramePr>
            <a:graphicFrameLocks/>
          </p:cNvGraphicFramePr>
          <p:nvPr>
            <p:extLst>
              <p:ext uri="{D42A27DB-BD31-4B8C-83A1-F6EECF244321}">
                <p14:modId xmlns:p14="http://schemas.microsoft.com/office/powerpoint/2010/main" val="3691693147"/>
              </p:ext>
            </p:extLst>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01B1A8DD-FED6-2C47-296D-0983D1E720B2}"/>
              </a:ext>
            </a:extLst>
          </p:cNvPr>
          <p:cNvGraphicFramePr>
            <a:graphicFrameLocks/>
          </p:cNvGraphicFramePr>
          <p:nvPr>
            <p:extLst>
              <p:ext uri="{D42A27DB-BD31-4B8C-83A1-F6EECF244321}">
                <p14:modId xmlns:p14="http://schemas.microsoft.com/office/powerpoint/2010/main" val="2082224509"/>
              </p:ext>
            </p:extLst>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sp>
        <p:nvSpPr>
          <p:cNvPr id="16" name="TextBox 15">
            <a:extLst>
              <a:ext uri="{FF2B5EF4-FFF2-40B4-BE49-F238E27FC236}">
                <a16:creationId xmlns:a16="http://schemas.microsoft.com/office/drawing/2014/main" id="{2B180312-FE46-D4C9-3734-1E3750820943}"/>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4DB211A7-591C-E03E-65DC-47EB4C0D8D03}"/>
              </a:ext>
            </a:extLst>
          </p:cNvPr>
          <p:cNvGraphicFramePr>
            <a:graphicFrameLocks noGrp="1"/>
          </p:cNvGraphicFramePr>
          <p:nvPr>
            <p:extLst>
              <p:ext uri="{D42A27DB-BD31-4B8C-83A1-F6EECF244321}">
                <p14:modId xmlns:p14="http://schemas.microsoft.com/office/powerpoint/2010/main" val="2790109015"/>
              </p:ext>
            </p:extLst>
          </p:nvPr>
        </p:nvGraphicFramePr>
        <p:xfrm>
          <a:off x="720534" y="1121410"/>
          <a:ext cx="6085434"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tblGrid>
              <a:tr h="235994">
                <a:tc>
                  <a:txBody>
                    <a:bodyPr/>
                    <a:lstStyle/>
                    <a:p>
                      <a:pPr algn="ctr">
                        <a:defRPr sz="1100">
                          <a:latin typeface="Nexa Book"/>
                        </a:defRPr>
                      </a:pPr>
                      <a:r>
                        <a:rPr b="1">
                          <a:solidFill>
                            <a:srgbClr val="575555"/>
                          </a:solidFill>
                        </a:rPr>
                        <a:t>Champagnes</a:t>
                      </a:r>
                    </a:p>
                  </a:txBody>
                  <a:tcPr anchor="ctr">
                    <a:solidFill>
                      <a:schemeClr val="bg2"/>
                    </a:solidFill>
                  </a:tcPr>
                </a:tc>
                <a:tc>
                  <a:txBody>
                    <a:bodyPr/>
                    <a:lstStyle/>
                    <a:p>
                      <a:pPr algn="ctr">
                        <a:defRPr sz="1100">
                          <a:latin typeface="Nexa Book"/>
                        </a:defRPr>
                      </a:pPr>
                      <a:r>
                        <a:rPr b="1">
                          <a:solidFill>
                            <a:srgbClr val="575555"/>
                          </a:solidFill>
                        </a:rPr>
                        <a:t>Mousseux</a:t>
                      </a:r>
                    </a:p>
                  </a:txBody>
                  <a:tcPr anchor="ctr">
                    <a:solidFill>
                      <a:schemeClr val="bg2"/>
                    </a:solidFill>
                  </a:tcPr>
                </a:tc>
                <a:tc>
                  <a:txBody>
                    <a:bodyPr/>
                    <a:lstStyle/>
                    <a:p>
                      <a:pPr algn="ctr">
                        <a:defRPr sz="1100">
                          <a:latin typeface="Nexa Book"/>
                        </a:defRPr>
                      </a:pPr>
                      <a:r>
                        <a:rPr b="1">
                          <a:solidFill>
                            <a:srgbClr val="575555"/>
                          </a:solidFill>
                        </a:rPr>
                        <a:t>Effervescents Sans Alcool</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2986890941"/>
      </p:ext>
    </p:extLst>
  </p:cSld>
  <p:clrMapOvr>
    <a:masterClrMapping/>
  </p:clrMapOvr>
</p:sld>
</file>

<file path=ppt/slides/slide2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7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Bourgogne | Nationa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0791105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440846"/>
            <a:ext cx="4869366" cy="601297"/>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815265861"/>
      </p:ext>
    </p:extLst>
  </p:cSld>
  <p:clrMapOvr>
    <a:masterClrMapping/>
  </p:clrMapOvr>
</p:sld>
</file>

<file path=ppt/slides/slide2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7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Bourgogne | NICOLA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01668625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214619"/>
            <a:ext cx="4869366" cy="1003170"/>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038708992"/>
      </p:ext>
    </p:extLst>
  </p:cSld>
  <p:clrMapOvr>
    <a:masterClrMapping/>
  </p:clrMapOvr>
</p:sld>
</file>

<file path=ppt/slides/slide2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7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Bourgogne | HMSM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78185814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661283"/>
            <a:ext cx="4869366" cy="85678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917017017"/>
      </p:ext>
    </p:extLst>
  </p:cSld>
  <p:clrMapOvr>
    <a:masterClrMapping/>
  </p:clrMapOvr>
</p:sld>
</file>

<file path=ppt/slides/slide2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7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Bourgogne | NICOLAS QC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91694003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229924"/>
            <a:ext cx="4869366" cy="99815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670316162"/>
      </p:ext>
    </p:extLst>
  </p:cSld>
  <p:clrMapOvr>
    <a:masterClrMapping/>
  </p:clrMapOvr>
</p:sld>
</file>

<file path=ppt/slides/slide2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7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Bourgogne | NICOLAS VC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44348726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204331"/>
            <a:ext cx="4869366" cy="1003066"/>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3965814"/>
      </p:ext>
    </p:extLst>
  </p:cSld>
  <p:clrMapOvr>
    <a:masterClrMapping/>
  </p:clrMapOvr>
</p:sld>
</file>

<file path=ppt/slides/slide2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7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Bourgogne | NICOLAS QC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48185686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229924"/>
            <a:ext cx="4869366" cy="99815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11572869"/>
      </p:ext>
    </p:extLst>
  </p:cSld>
  <p:clrMapOvr>
    <a:masterClrMapping/>
  </p:clrMapOvr>
</p:sld>
</file>

<file path=ppt/slides/slide2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7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Bourgogne | NICOLAS QC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873024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229924"/>
            <a:ext cx="4869366" cy="99815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566990031"/>
      </p:ext>
    </p:extLst>
  </p:cSld>
  <p:clrMapOvr>
    <a:masterClrMapping/>
  </p:clrMapOvr>
</p:sld>
</file>

<file path=ppt/slides/slide2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7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Bourgogne | NICOLAS CCP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4034324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229924"/>
            <a:ext cx="4869366" cy="99815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040048155"/>
      </p:ext>
    </p:extLst>
  </p:cSld>
  <p:clrMapOvr>
    <a:masterClrMapping/>
  </p:clrMapOvr>
</p:sld>
</file>

<file path=ppt/slides/slide2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7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Bourgogne | NICOLAS IDF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73419820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229924"/>
            <a:ext cx="4869366" cy="99815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718238818"/>
      </p:ext>
    </p:extLst>
  </p:cSld>
  <p:clrMapOvr>
    <a:masterClrMapping/>
  </p:clrMapOvr>
</p:sld>
</file>

<file path=ppt/slides/slide2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7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Bourgogne | NICOLAS PAC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20326272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229924"/>
            <a:ext cx="4869366" cy="99815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63472711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65918C-CF2D-B9BE-373E-8055AB4F589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BE947E9A-9EDC-50FE-5484-367359C894D7}"/>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DC475BB2-0528-29FB-C158-9EF2E6156FB0}"/>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C87CB3FA-1793-85BB-0720-68CB9A322CAF}"/>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300044B2-FAA5-2879-ADFC-6874BBAF83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DA8BB0C0-E087-2E71-1F6D-E725250BE3D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8</a:t>
            </a:fld>
            <a:endParaRPr lang="en-US" noProof="0"/>
          </a:p>
        </p:txBody>
      </p:sp>
      <p:sp>
        <p:nvSpPr>
          <p:cNvPr id="37" name="Text Placeholder 36">
            <a:extLst>
              <a:ext uri="{FF2B5EF4-FFF2-40B4-BE49-F238E27FC236}">
                <a16:creationId xmlns:a16="http://schemas.microsoft.com/office/drawing/2014/main" id="{4918FA18-B639-A629-2E9B-674B54B4AACA}"/>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37405B8B-A5F3-F9D8-A571-2F38544BBDBA}"/>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ector | NICOLAS PAC | P12M</a:t>
            </a:r>
          </a:p>
        </p:txBody>
      </p:sp>
      <p:sp>
        <p:nvSpPr>
          <p:cNvPr id="2" name="Title 1">
            <a:extLst>
              <a:ext uri="{FF2B5EF4-FFF2-40B4-BE49-F238E27FC236}">
                <a16:creationId xmlns:a16="http://schemas.microsoft.com/office/drawing/2014/main" id="{12784FBB-01F7-DE64-BC02-E8B59B51E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8694A9E2-2E6E-DE42-FC36-3888D1308CB4}"/>
              </a:ext>
            </a:extLst>
          </p:cNvPr>
          <p:cNvGraphicFramePr>
            <a:graphicFrameLocks noGrp="1"/>
          </p:cNvGraphicFramePr>
          <p:nvPr>
            <p:ph idx="4294967295"/>
            <p:extLst>
              <p:ext uri="{D42A27DB-BD31-4B8C-83A1-F6EECF244321}">
                <p14:modId xmlns:p14="http://schemas.microsoft.com/office/powerpoint/2010/main" val="750810635"/>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F456CAE2-40D9-C89C-01D4-02D92ECC325F}"/>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9C31F180-BE4C-077E-6172-FE9EFF5651B0}"/>
              </a:ext>
            </a:extLst>
          </p:cNvPr>
          <p:cNvGraphicFramePr>
            <a:graphicFrameLocks/>
          </p:cNvGraphicFramePr>
          <p:nvPr>
            <p:extLst>
              <p:ext uri="{D42A27DB-BD31-4B8C-83A1-F6EECF244321}">
                <p14:modId xmlns:p14="http://schemas.microsoft.com/office/powerpoint/2010/main" val="3039076147"/>
              </p:ext>
            </p:extLst>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01B1A8DD-FED6-2C47-296D-0983D1E720B2}"/>
              </a:ext>
            </a:extLst>
          </p:cNvPr>
          <p:cNvGraphicFramePr>
            <a:graphicFrameLocks/>
          </p:cNvGraphicFramePr>
          <p:nvPr>
            <p:extLst>
              <p:ext uri="{D42A27DB-BD31-4B8C-83A1-F6EECF244321}">
                <p14:modId xmlns:p14="http://schemas.microsoft.com/office/powerpoint/2010/main" val="823688347"/>
              </p:ext>
            </p:extLst>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sp>
        <p:nvSpPr>
          <p:cNvPr id="16" name="TextBox 15">
            <a:extLst>
              <a:ext uri="{FF2B5EF4-FFF2-40B4-BE49-F238E27FC236}">
                <a16:creationId xmlns:a16="http://schemas.microsoft.com/office/drawing/2014/main" id="{2B180312-FE46-D4C9-3734-1E3750820943}"/>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4DB211A7-591C-E03E-65DC-47EB4C0D8D03}"/>
              </a:ext>
            </a:extLst>
          </p:cNvPr>
          <p:cNvGraphicFramePr>
            <a:graphicFrameLocks noGrp="1"/>
          </p:cNvGraphicFramePr>
          <p:nvPr>
            <p:extLst>
              <p:ext uri="{D42A27DB-BD31-4B8C-83A1-F6EECF244321}">
                <p14:modId xmlns:p14="http://schemas.microsoft.com/office/powerpoint/2010/main" val="2790109015"/>
              </p:ext>
            </p:extLst>
          </p:nvPr>
        </p:nvGraphicFramePr>
        <p:xfrm>
          <a:off x="720534" y="1121410"/>
          <a:ext cx="6085434"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tblGrid>
              <a:tr h="235994">
                <a:tc>
                  <a:txBody>
                    <a:bodyPr/>
                    <a:lstStyle/>
                    <a:p>
                      <a:pPr algn="ctr">
                        <a:defRPr sz="1100">
                          <a:latin typeface="Nexa Book"/>
                        </a:defRPr>
                      </a:pPr>
                      <a:r>
                        <a:rPr b="1">
                          <a:solidFill>
                            <a:srgbClr val="575555"/>
                          </a:solidFill>
                        </a:rPr>
                        <a:t>Champagnes</a:t>
                      </a:r>
                    </a:p>
                  </a:txBody>
                  <a:tcPr anchor="ctr">
                    <a:solidFill>
                      <a:schemeClr val="bg2"/>
                    </a:solidFill>
                  </a:tcPr>
                </a:tc>
                <a:tc>
                  <a:txBody>
                    <a:bodyPr/>
                    <a:lstStyle/>
                    <a:p>
                      <a:pPr algn="ctr">
                        <a:defRPr sz="1100">
                          <a:latin typeface="Nexa Book"/>
                        </a:defRPr>
                      </a:pPr>
                      <a:r>
                        <a:rPr b="1">
                          <a:solidFill>
                            <a:srgbClr val="575555"/>
                          </a:solidFill>
                        </a:rPr>
                        <a:t>Mousseux</a:t>
                      </a:r>
                    </a:p>
                  </a:txBody>
                  <a:tcPr anchor="ctr">
                    <a:solidFill>
                      <a:schemeClr val="bg2"/>
                    </a:solidFill>
                  </a:tcPr>
                </a:tc>
                <a:tc>
                  <a:txBody>
                    <a:bodyPr/>
                    <a:lstStyle/>
                    <a:p>
                      <a:pPr algn="ctr">
                        <a:defRPr sz="1100">
                          <a:latin typeface="Nexa Book"/>
                        </a:defRPr>
                      </a:pPr>
                      <a:r>
                        <a:rPr b="1">
                          <a:solidFill>
                            <a:srgbClr val="575555"/>
                          </a:solidFill>
                        </a:rPr>
                        <a:t>Effervescents Sans Alcool</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3257428789"/>
      </p:ext>
    </p:extLst>
  </p:cSld>
  <p:clrMapOvr>
    <a:masterClrMapping/>
  </p:clrMapOvr>
</p:sld>
</file>

<file path=ppt/slides/slide2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8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Bourgogne | NICOLAS RH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00253589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229924"/>
            <a:ext cx="4869366" cy="99815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939104038"/>
      </p:ext>
    </p:extLst>
  </p:cSld>
  <p:clrMapOvr>
    <a:masterClrMapping/>
  </p:clrMapOvr>
</p:sld>
</file>

<file path=ppt/slides/slide2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8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Bourgogne | NICOLAS AQU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99266520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229924"/>
            <a:ext cx="4869366" cy="99815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407803129"/>
      </p:ext>
    </p:extLst>
  </p:cSld>
  <p:clrMapOvr>
    <a:masterClrMapping/>
  </p:clrMapOvr>
</p:sld>
</file>

<file path=ppt/slides/slide2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8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Bourgogne | NICOLAS ES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5051657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229924"/>
            <a:ext cx="4869366" cy="99815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097099268"/>
      </p:ext>
    </p:extLst>
  </p:cSld>
  <p:clrMapOvr>
    <a:masterClrMapping/>
  </p:clrMapOvr>
</p:sld>
</file>

<file path=ppt/slides/slide2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8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Bourgogne | CA 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79544877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229924"/>
            <a:ext cx="4869366" cy="99815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786674869"/>
      </p:ext>
    </p:extLst>
  </p:cSld>
  <p:clrMapOvr>
    <a:masterClrMapping/>
  </p:clrMapOvr>
</p:sld>
</file>

<file path=ppt/slides/slide2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8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Bourgogne | CA B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68543214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229924"/>
            <a:ext cx="4869366" cy="99815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543280172"/>
      </p:ext>
    </p:extLst>
  </p:cSld>
  <p:clrMapOvr>
    <a:masterClrMapping/>
  </p:clrMapOvr>
</p:sld>
</file>

<file path=ppt/slides/slide2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8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Bourgogne | CA C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33543249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229924"/>
            <a:ext cx="4869366" cy="99815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448585171"/>
      </p:ext>
    </p:extLst>
  </p:cSld>
  <p:clrMapOvr>
    <a:masterClrMapping/>
  </p:clrMapOvr>
</p:sld>
</file>

<file path=ppt/slides/slide2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8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Bourgogne | CA D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0718199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204331"/>
            <a:ext cx="4869366" cy="981962"/>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855430426"/>
      </p:ext>
    </p:extLst>
  </p:cSld>
  <p:clrMapOvr>
    <a:masterClrMapping/>
  </p:clrMapOvr>
</p:sld>
</file>

<file path=ppt/slides/slide2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8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Bourgogne | CA 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41490849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222291"/>
            <a:ext cx="4869366" cy="1000656"/>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09160122"/>
      </p:ext>
    </p:extLst>
  </p:cSld>
  <p:clrMapOvr>
    <a:masterClrMapping/>
  </p:clrMapOvr>
</p:sld>
</file>

<file path=ppt/slides/slide2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8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Italiens | Nationa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0897918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566323"/>
            <a:ext cx="4869366" cy="887906"/>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990814851"/>
      </p:ext>
    </p:extLst>
  </p:cSld>
  <p:clrMapOvr>
    <a:masterClrMapping/>
  </p:clrMapOvr>
</p:sld>
</file>

<file path=ppt/slides/slide2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8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Italiens | NICOLA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50036120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577676"/>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802787"/>
            <a:ext cx="4869366" cy="810409"/>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82918436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65918C-CF2D-B9BE-373E-8055AB4F589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BE947E9A-9EDC-50FE-5484-367359C894D7}"/>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DC475BB2-0528-29FB-C158-9EF2E6156FB0}"/>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C87CB3FA-1793-85BB-0720-68CB9A322CAF}"/>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300044B2-FAA5-2879-ADFC-6874BBAF83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DA8BB0C0-E087-2E71-1F6D-E725250BE3D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9</a:t>
            </a:fld>
            <a:endParaRPr lang="en-US" noProof="0"/>
          </a:p>
        </p:txBody>
      </p:sp>
      <p:sp>
        <p:nvSpPr>
          <p:cNvPr id="37" name="Text Placeholder 36">
            <a:extLst>
              <a:ext uri="{FF2B5EF4-FFF2-40B4-BE49-F238E27FC236}">
                <a16:creationId xmlns:a16="http://schemas.microsoft.com/office/drawing/2014/main" id="{4918FA18-B639-A629-2E9B-674B54B4AACA}"/>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37405B8B-A5F3-F9D8-A571-2F38544BBDBA}"/>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ector | NICOLAS RHO | P12M</a:t>
            </a:r>
          </a:p>
        </p:txBody>
      </p:sp>
      <p:sp>
        <p:nvSpPr>
          <p:cNvPr id="2" name="Title 1">
            <a:extLst>
              <a:ext uri="{FF2B5EF4-FFF2-40B4-BE49-F238E27FC236}">
                <a16:creationId xmlns:a16="http://schemas.microsoft.com/office/drawing/2014/main" id="{12784FBB-01F7-DE64-BC02-E8B59B51E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8694A9E2-2E6E-DE42-FC36-3888D1308CB4}"/>
              </a:ext>
            </a:extLst>
          </p:cNvPr>
          <p:cNvGraphicFramePr>
            <a:graphicFrameLocks noGrp="1"/>
          </p:cNvGraphicFramePr>
          <p:nvPr>
            <p:ph idx="4294967295"/>
            <p:extLst>
              <p:ext uri="{D42A27DB-BD31-4B8C-83A1-F6EECF244321}">
                <p14:modId xmlns:p14="http://schemas.microsoft.com/office/powerpoint/2010/main" val="4093929553"/>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F456CAE2-40D9-C89C-01D4-02D92ECC325F}"/>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9C31F180-BE4C-077E-6172-FE9EFF5651B0}"/>
              </a:ext>
            </a:extLst>
          </p:cNvPr>
          <p:cNvGraphicFramePr>
            <a:graphicFrameLocks/>
          </p:cNvGraphicFramePr>
          <p:nvPr>
            <p:extLst>
              <p:ext uri="{D42A27DB-BD31-4B8C-83A1-F6EECF244321}">
                <p14:modId xmlns:p14="http://schemas.microsoft.com/office/powerpoint/2010/main" val="180033861"/>
              </p:ext>
            </p:extLst>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01B1A8DD-FED6-2C47-296D-0983D1E720B2}"/>
              </a:ext>
            </a:extLst>
          </p:cNvPr>
          <p:cNvGraphicFramePr>
            <a:graphicFrameLocks/>
          </p:cNvGraphicFramePr>
          <p:nvPr>
            <p:extLst>
              <p:ext uri="{D42A27DB-BD31-4B8C-83A1-F6EECF244321}">
                <p14:modId xmlns:p14="http://schemas.microsoft.com/office/powerpoint/2010/main" val="1356165737"/>
              </p:ext>
            </p:extLst>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sp>
        <p:nvSpPr>
          <p:cNvPr id="16" name="TextBox 15">
            <a:extLst>
              <a:ext uri="{FF2B5EF4-FFF2-40B4-BE49-F238E27FC236}">
                <a16:creationId xmlns:a16="http://schemas.microsoft.com/office/drawing/2014/main" id="{2B180312-FE46-D4C9-3734-1E3750820943}"/>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4DB211A7-591C-E03E-65DC-47EB4C0D8D03}"/>
              </a:ext>
            </a:extLst>
          </p:cNvPr>
          <p:cNvGraphicFramePr>
            <a:graphicFrameLocks noGrp="1"/>
          </p:cNvGraphicFramePr>
          <p:nvPr>
            <p:extLst>
              <p:ext uri="{D42A27DB-BD31-4B8C-83A1-F6EECF244321}">
                <p14:modId xmlns:p14="http://schemas.microsoft.com/office/powerpoint/2010/main" val="2790109015"/>
              </p:ext>
            </p:extLst>
          </p:nvPr>
        </p:nvGraphicFramePr>
        <p:xfrm>
          <a:off x="720534" y="1121410"/>
          <a:ext cx="6085434"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tblGrid>
              <a:tr h="235994">
                <a:tc>
                  <a:txBody>
                    <a:bodyPr/>
                    <a:lstStyle/>
                    <a:p>
                      <a:pPr algn="ctr">
                        <a:defRPr sz="1100">
                          <a:latin typeface="Nexa Book"/>
                        </a:defRPr>
                      </a:pPr>
                      <a:r>
                        <a:rPr b="1">
                          <a:solidFill>
                            <a:srgbClr val="575555"/>
                          </a:solidFill>
                        </a:rPr>
                        <a:t>Champagnes</a:t>
                      </a:r>
                    </a:p>
                  </a:txBody>
                  <a:tcPr anchor="ctr">
                    <a:solidFill>
                      <a:schemeClr val="bg2"/>
                    </a:solidFill>
                  </a:tcPr>
                </a:tc>
                <a:tc>
                  <a:txBody>
                    <a:bodyPr/>
                    <a:lstStyle/>
                    <a:p>
                      <a:pPr algn="ctr">
                        <a:defRPr sz="1100">
                          <a:latin typeface="Nexa Book"/>
                        </a:defRPr>
                      </a:pPr>
                      <a:r>
                        <a:rPr b="1">
                          <a:solidFill>
                            <a:srgbClr val="575555"/>
                          </a:solidFill>
                        </a:rPr>
                        <a:t>Mousseux</a:t>
                      </a:r>
                    </a:p>
                  </a:txBody>
                  <a:tcPr anchor="ctr">
                    <a:solidFill>
                      <a:schemeClr val="bg2"/>
                    </a:solidFill>
                  </a:tcPr>
                </a:tc>
                <a:tc>
                  <a:txBody>
                    <a:bodyPr/>
                    <a:lstStyle/>
                    <a:p>
                      <a:pPr algn="ctr">
                        <a:defRPr sz="1100">
                          <a:latin typeface="Nexa Book"/>
                        </a:defRPr>
                      </a:pPr>
                      <a:r>
                        <a:rPr b="1">
                          <a:solidFill>
                            <a:srgbClr val="575555"/>
                          </a:solidFill>
                        </a:rPr>
                        <a:t>Effervescents Sans Alcool</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1126143066"/>
      </p:ext>
    </p:extLst>
  </p:cSld>
  <p:clrMapOvr>
    <a:masterClrMapping/>
  </p:clrMapOvr>
</p:sld>
</file>

<file path=ppt/slides/slide2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9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Italiens | HMSM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02612171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576328"/>
            <a:ext cx="4869366" cy="884627"/>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864853120"/>
      </p:ext>
    </p:extLst>
  </p:cSld>
  <p:clrMapOvr>
    <a:masterClrMapping/>
  </p:clrMapOvr>
</p:sld>
</file>

<file path=ppt/slides/slide2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9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Italiens | NICOLAS QC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3944617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57260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797758"/>
            <a:ext cx="4869366" cy="812058"/>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01078804"/>
      </p:ext>
    </p:extLst>
  </p:cSld>
  <p:clrMapOvr>
    <a:masterClrMapping/>
  </p:clrMapOvr>
</p:sld>
</file>

<file path=ppt/slides/slide2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9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Italiens | NICOLAS VC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22108812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57260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797758"/>
            <a:ext cx="4869366" cy="812058"/>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853141157"/>
      </p:ext>
    </p:extLst>
  </p:cSld>
  <p:clrMapOvr>
    <a:masterClrMapping/>
  </p:clrMapOvr>
</p:sld>
</file>

<file path=ppt/slides/slide2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9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Italiens | NICOLAS QC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6212006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539999"/>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765423"/>
            <a:ext cx="4869366" cy="82265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143667318"/>
      </p:ext>
    </p:extLst>
  </p:cSld>
  <p:clrMapOvr>
    <a:masterClrMapping/>
  </p:clrMapOvr>
</p:sld>
</file>

<file path=ppt/slides/slide2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9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Italiens | NICOLAS QC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35910488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543471"/>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768867"/>
            <a:ext cx="4869366" cy="821526"/>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276597502"/>
      </p:ext>
    </p:extLst>
  </p:cSld>
  <p:clrMapOvr>
    <a:masterClrMapping/>
  </p:clrMapOvr>
</p:sld>
</file>

<file path=ppt/slides/slide2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9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Italiens | NICOLAS CCP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40608302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654527"/>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878997"/>
            <a:ext cx="4869366" cy="785433"/>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684570"/>
            <a:ext cx="4869366" cy="1591005"/>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43609778"/>
      </p:ext>
    </p:extLst>
  </p:cSld>
  <p:clrMapOvr>
    <a:masterClrMapping/>
  </p:clrMapOvr>
</p:sld>
</file>

<file path=ppt/slides/slide2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9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Italiens | NICOLAS IDF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21071964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553831"/>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779140"/>
            <a:ext cx="4869366" cy="818159"/>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139388478"/>
      </p:ext>
    </p:extLst>
  </p:cSld>
  <p:clrMapOvr>
    <a:masterClrMapping/>
  </p:clrMapOvr>
</p:sld>
</file>

<file path=ppt/slides/slide2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9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Italiens | NICOLAS PAC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5399677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567512"/>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792708"/>
            <a:ext cx="4869366" cy="813713"/>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350291980"/>
      </p:ext>
    </p:extLst>
  </p:cSld>
  <p:clrMapOvr>
    <a:masterClrMapping/>
  </p:clrMapOvr>
</p:sld>
</file>

<file path=ppt/slides/slide2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9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Italiens | NICOLAS RH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61478416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665570"/>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889948"/>
            <a:ext cx="4869366" cy="78184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691840"/>
            <a:ext cx="4869366" cy="1583735"/>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531549029"/>
      </p:ext>
    </p:extLst>
  </p:cSld>
  <p:clrMapOvr>
    <a:masterClrMapping/>
  </p:clrMapOvr>
</p:sld>
</file>

<file path=ppt/slides/slide2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9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Italiens | NICOLAS AQU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61175192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652941"/>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877425"/>
            <a:ext cx="4869366" cy="785948"/>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95458483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17F39D-9FE7-D5EF-D981-D08E2C3E7E72}"/>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6C569F5-3F88-086F-5B00-1E8A66D0F786}"/>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1E5943C8-93A2-CE99-9DC9-6106E372503B}"/>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58EF6AC-09CE-D3E4-3CE4-FEF3C28940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7F0F218-5714-F2E2-17DE-F734014EA97B}"/>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a:t>
            </a:fld>
            <a:endParaRPr lang="en-US" noProof="0"/>
          </a:p>
        </p:txBody>
      </p:sp>
      <p:sp>
        <p:nvSpPr>
          <p:cNvPr id="37" name="Text Placeholder 36">
            <a:extLst>
              <a:ext uri="{FF2B5EF4-FFF2-40B4-BE49-F238E27FC236}">
                <a16:creationId xmlns:a16="http://schemas.microsoft.com/office/drawing/2014/main" id="{5136C012-8234-3446-6BA4-D2A4ED46798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09B51F99-F9B2-A31A-6316-FFD484BF748A}"/>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Category | HMSM | P12M</a:t>
            </a:r>
          </a:p>
        </p:txBody>
      </p:sp>
      <p:sp>
        <p:nvSpPr>
          <p:cNvPr id="2" name="Title 1">
            <a:extLst>
              <a:ext uri="{FF2B5EF4-FFF2-40B4-BE49-F238E27FC236}">
                <a16:creationId xmlns:a16="http://schemas.microsoft.com/office/drawing/2014/main" id="{119F61F6-E75A-45A7-FB48-021A4AD44DFE}"/>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452FBD9-A58C-004E-EBFE-BF25D0D39B4C}"/>
              </a:ext>
            </a:extLst>
          </p:cNvPr>
          <p:cNvGraphicFramePr>
            <a:graphicFrameLocks noGrp="1"/>
          </p:cNvGraphicFramePr>
          <p:nvPr>
            <p:ph idx="4294967295"/>
            <p:extLst>
              <p:ext uri="{D42A27DB-BD31-4B8C-83A1-F6EECF244321}">
                <p14:modId xmlns:p14="http://schemas.microsoft.com/office/powerpoint/2010/main" val="1385944042"/>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B0F72B-C6D2-6D8D-0FC6-9AC4097CBCC1}"/>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sp>
        <p:nvSpPr>
          <p:cNvPr id="16" name="TextBox 15">
            <a:extLst>
              <a:ext uri="{FF2B5EF4-FFF2-40B4-BE49-F238E27FC236}">
                <a16:creationId xmlns:a16="http://schemas.microsoft.com/office/drawing/2014/main" id="{46D148F4-12D7-0EF3-ABFE-35612660B26D}"/>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F3F720E0-CF35-ADEF-C27B-40DD4DEC2868}"/>
              </a:ext>
            </a:extLst>
          </p:cNvPr>
          <p:cNvGraphicFramePr>
            <a:graphicFrameLocks noGrp="1"/>
          </p:cNvGraphicFramePr>
          <p:nvPr>
            <p:extLst>
              <p:ext uri="{D42A27DB-BD31-4B8C-83A1-F6EECF244321}">
                <p14:modId xmlns:p14="http://schemas.microsoft.com/office/powerpoint/2010/main" val="635621620"/>
              </p:ext>
            </p:extLst>
          </p:nvPr>
        </p:nvGraphicFramePr>
        <p:xfrm>
          <a:off x="720534" y="1121410"/>
          <a:ext cx="2028478"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tblGrid>
              <a:tr h="235994">
                <a:tc>
                  <a:txBody>
                    <a:bodyPr/>
                    <a:lstStyle/>
                    <a:p>
                      <a:pPr algn="ctr">
                        <a:defRPr sz="1100">
                          <a:latin typeface="Nexa Book"/>
                        </a:defRPr>
                      </a:pPr>
                      <a:r>
                        <a:rPr b="1">
                          <a:solidFill>
                            <a:srgbClr val="575555"/>
                          </a:solidFill>
                        </a:rPr>
                        <a:t>Effervescents</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89057947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65918C-CF2D-B9BE-373E-8055AB4F589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BE947E9A-9EDC-50FE-5484-367359C894D7}"/>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DC475BB2-0528-29FB-C158-9EF2E6156FB0}"/>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C87CB3FA-1793-85BB-0720-68CB9A322CAF}"/>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300044B2-FAA5-2879-ADFC-6874BBAF83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DA8BB0C0-E087-2E71-1F6D-E725250BE3D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0</a:t>
            </a:fld>
            <a:endParaRPr lang="en-US" noProof="0"/>
          </a:p>
        </p:txBody>
      </p:sp>
      <p:sp>
        <p:nvSpPr>
          <p:cNvPr id="37" name="Text Placeholder 36">
            <a:extLst>
              <a:ext uri="{FF2B5EF4-FFF2-40B4-BE49-F238E27FC236}">
                <a16:creationId xmlns:a16="http://schemas.microsoft.com/office/drawing/2014/main" id="{4918FA18-B639-A629-2E9B-674B54B4AACA}"/>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37405B8B-A5F3-F9D8-A571-2F38544BBDBA}"/>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ector | NICOLAS AQU | P12M</a:t>
            </a:r>
          </a:p>
        </p:txBody>
      </p:sp>
      <p:sp>
        <p:nvSpPr>
          <p:cNvPr id="2" name="Title 1">
            <a:extLst>
              <a:ext uri="{FF2B5EF4-FFF2-40B4-BE49-F238E27FC236}">
                <a16:creationId xmlns:a16="http://schemas.microsoft.com/office/drawing/2014/main" id="{12784FBB-01F7-DE64-BC02-E8B59B51E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8694A9E2-2E6E-DE42-FC36-3888D1308CB4}"/>
              </a:ext>
            </a:extLst>
          </p:cNvPr>
          <p:cNvGraphicFramePr>
            <a:graphicFrameLocks noGrp="1"/>
          </p:cNvGraphicFramePr>
          <p:nvPr>
            <p:ph idx="4294967295"/>
            <p:extLst>
              <p:ext uri="{D42A27DB-BD31-4B8C-83A1-F6EECF244321}">
                <p14:modId xmlns:p14="http://schemas.microsoft.com/office/powerpoint/2010/main" val="518960199"/>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F456CAE2-40D9-C89C-01D4-02D92ECC325F}"/>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9C31F180-BE4C-077E-6172-FE9EFF5651B0}"/>
              </a:ext>
            </a:extLst>
          </p:cNvPr>
          <p:cNvGraphicFramePr>
            <a:graphicFrameLocks/>
          </p:cNvGraphicFramePr>
          <p:nvPr>
            <p:extLst>
              <p:ext uri="{D42A27DB-BD31-4B8C-83A1-F6EECF244321}">
                <p14:modId xmlns:p14="http://schemas.microsoft.com/office/powerpoint/2010/main" val="2779424504"/>
              </p:ext>
            </p:extLst>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01B1A8DD-FED6-2C47-296D-0983D1E720B2}"/>
              </a:ext>
            </a:extLst>
          </p:cNvPr>
          <p:cNvGraphicFramePr>
            <a:graphicFrameLocks/>
          </p:cNvGraphicFramePr>
          <p:nvPr>
            <p:extLst>
              <p:ext uri="{D42A27DB-BD31-4B8C-83A1-F6EECF244321}">
                <p14:modId xmlns:p14="http://schemas.microsoft.com/office/powerpoint/2010/main" val="2434756037"/>
              </p:ext>
            </p:extLst>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sp>
        <p:nvSpPr>
          <p:cNvPr id="16" name="TextBox 15">
            <a:extLst>
              <a:ext uri="{FF2B5EF4-FFF2-40B4-BE49-F238E27FC236}">
                <a16:creationId xmlns:a16="http://schemas.microsoft.com/office/drawing/2014/main" id="{2B180312-FE46-D4C9-3734-1E3750820943}"/>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4DB211A7-591C-E03E-65DC-47EB4C0D8D03}"/>
              </a:ext>
            </a:extLst>
          </p:cNvPr>
          <p:cNvGraphicFramePr>
            <a:graphicFrameLocks noGrp="1"/>
          </p:cNvGraphicFramePr>
          <p:nvPr>
            <p:extLst>
              <p:ext uri="{D42A27DB-BD31-4B8C-83A1-F6EECF244321}">
                <p14:modId xmlns:p14="http://schemas.microsoft.com/office/powerpoint/2010/main" val="2790109015"/>
              </p:ext>
            </p:extLst>
          </p:nvPr>
        </p:nvGraphicFramePr>
        <p:xfrm>
          <a:off x="720534" y="1121410"/>
          <a:ext cx="6085434"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tblGrid>
              <a:tr h="235994">
                <a:tc>
                  <a:txBody>
                    <a:bodyPr/>
                    <a:lstStyle/>
                    <a:p>
                      <a:pPr algn="ctr">
                        <a:defRPr sz="1100">
                          <a:latin typeface="Nexa Book"/>
                        </a:defRPr>
                      </a:pPr>
                      <a:r>
                        <a:rPr b="1">
                          <a:solidFill>
                            <a:srgbClr val="575555"/>
                          </a:solidFill>
                        </a:rPr>
                        <a:t>Champagnes</a:t>
                      </a:r>
                    </a:p>
                  </a:txBody>
                  <a:tcPr anchor="ctr">
                    <a:solidFill>
                      <a:schemeClr val="bg2"/>
                    </a:solidFill>
                  </a:tcPr>
                </a:tc>
                <a:tc>
                  <a:txBody>
                    <a:bodyPr/>
                    <a:lstStyle/>
                    <a:p>
                      <a:pPr algn="ctr">
                        <a:defRPr sz="1100">
                          <a:latin typeface="Nexa Book"/>
                        </a:defRPr>
                      </a:pPr>
                      <a:r>
                        <a:rPr b="1">
                          <a:solidFill>
                            <a:srgbClr val="575555"/>
                          </a:solidFill>
                        </a:rPr>
                        <a:t>Mousseux</a:t>
                      </a:r>
                    </a:p>
                  </a:txBody>
                  <a:tcPr anchor="ctr">
                    <a:solidFill>
                      <a:schemeClr val="bg2"/>
                    </a:solidFill>
                  </a:tcPr>
                </a:tc>
                <a:tc>
                  <a:txBody>
                    <a:bodyPr/>
                    <a:lstStyle/>
                    <a:p>
                      <a:pPr algn="ctr">
                        <a:defRPr sz="1100">
                          <a:latin typeface="Nexa Book"/>
                        </a:defRPr>
                      </a:pPr>
                      <a:r>
                        <a:rPr b="1">
                          <a:solidFill>
                            <a:srgbClr val="575555"/>
                          </a:solidFill>
                        </a:rPr>
                        <a:t>Effervescents Sans Alcool</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3455824836"/>
      </p:ext>
    </p:extLst>
  </p:cSld>
  <p:clrMapOvr>
    <a:masterClrMapping/>
  </p:clrMapOvr>
</p:sld>
</file>

<file path=ppt/slides/slide3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0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Italiens | NICOLAS ES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69236145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67339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897709"/>
            <a:ext cx="4869366" cy="779300"/>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999638728"/>
      </p:ext>
    </p:extLst>
  </p:cSld>
  <p:clrMapOvr>
    <a:masterClrMapping/>
  </p:clrMapOvr>
</p:sld>
</file>

<file path=ppt/slides/slide3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0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Italiens | CA 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84660766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565810"/>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791020"/>
            <a:ext cx="4869366" cy="814266"/>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626165"/>
            <a:ext cx="4869366" cy="1649410"/>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325138692"/>
      </p:ext>
    </p:extLst>
  </p:cSld>
  <p:clrMapOvr>
    <a:masterClrMapping/>
  </p:clrMapOvr>
</p:sld>
</file>

<file path=ppt/slides/slide3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0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Italiens | CA B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38537436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599418"/>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824347"/>
            <a:ext cx="4869366" cy="803343"/>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740768118"/>
      </p:ext>
    </p:extLst>
  </p:cSld>
  <p:clrMapOvr>
    <a:masterClrMapping/>
  </p:clrMapOvr>
</p:sld>
</file>

<file path=ppt/slides/slide3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0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Italiens | CA C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34711704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55726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782546"/>
            <a:ext cx="4869366" cy="817043"/>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267611468"/>
      </p:ext>
    </p:extLst>
  </p:cSld>
  <p:clrMapOvr>
    <a:masterClrMapping/>
  </p:clrMapOvr>
</p:sld>
</file>

<file path=ppt/slides/slide3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0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Italiens | CA D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67192547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574297"/>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799436"/>
            <a:ext cx="4869366" cy="811507"/>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824010962"/>
      </p:ext>
    </p:extLst>
  </p:cSld>
  <p:clrMapOvr>
    <a:masterClrMapping/>
  </p:clrMapOvr>
</p:sld>
</file>

<file path=ppt/slides/slide3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0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Italiens | CA 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71334028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61588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840678"/>
            <a:ext cx="4869366" cy="797991"/>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318963541"/>
      </p:ext>
    </p:extLst>
  </p:cSld>
  <p:clrMapOvr>
    <a:masterClrMapping/>
  </p:clrMapOvr>
</p:sld>
</file>

<file path=ppt/slides/slide3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0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Val De Loire | Nationa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99913413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624037"/>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848762"/>
            <a:ext cx="4869366" cy="795342"/>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664497"/>
            <a:ext cx="4869366" cy="1611078"/>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085721622"/>
      </p:ext>
    </p:extLst>
  </p:cSld>
  <p:clrMapOvr>
    <a:masterClrMapping/>
  </p:clrMapOvr>
</p:sld>
</file>

<file path=ppt/slides/slide3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0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Val De Loire | NICOLA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69602968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588236"/>
            <a:ext cx="4869366" cy="88072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822482039"/>
      </p:ext>
    </p:extLst>
  </p:cSld>
  <p:clrMapOvr>
    <a:masterClrMapping/>
  </p:clrMapOvr>
</p:sld>
</file>

<file path=ppt/slides/slide3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0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Val De Loire | HMSM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96370916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643383"/>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867946"/>
            <a:ext cx="4869366" cy="78905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677233"/>
            <a:ext cx="4869366" cy="1598342"/>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446372528"/>
      </p:ext>
    </p:extLst>
  </p:cSld>
  <p:clrMapOvr>
    <a:masterClrMapping/>
  </p:clrMapOvr>
</p:sld>
</file>

<file path=ppt/slides/slide3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0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Val De Loire | NICOLAS QC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43321609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588236"/>
            <a:ext cx="4869366" cy="88072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34386366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65918C-CF2D-B9BE-373E-8055AB4F589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BE947E9A-9EDC-50FE-5484-367359C894D7}"/>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DC475BB2-0528-29FB-C158-9EF2E6156FB0}"/>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C87CB3FA-1793-85BB-0720-68CB9A322CAF}"/>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300044B2-FAA5-2879-ADFC-6874BBAF83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DA8BB0C0-E087-2E71-1F6D-E725250BE3D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1</a:t>
            </a:fld>
            <a:endParaRPr lang="en-US" noProof="0"/>
          </a:p>
        </p:txBody>
      </p:sp>
      <p:sp>
        <p:nvSpPr>
          <p:cNvPr id="37" name="Text Placeholder 36">
            <a:extLst>
              <a:ext uri="{FF2B5EF4-FFF2-40B4-BE49-F238E27FC236}">
                <a16:creationId xmlns:a16="http://schemas.microsoft.com/office/drawing/2014/main" id="{4918FA18-B639-A629-2E9B-674B54B4AACA}"/>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37405B8B-A5F3-F9D8-A571-2F38544BBDBA}"/>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ector | NICOLAS EST | P12M</a:t>
            </a:r>
          </a:p>
        </p:txBody>
      </p:sp>
      <p:sp>
        <p:nvSpPr>
          <p:cNvPr id="2" name="Title 1">
            <a:extLst>
              <a:ext uri="{FF2B5EF4-FFF2-40B4-BE49-F238E27FC236}">
                <a16:creationId xmlns:a16="http://schemas.microsoft.com/office/drawing/2014/main" id="{12784FBB-01F7-DE64-BC02-E8B59B51E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8694A9E2-2E6E-DE42-FC36-3888D1308CB4}"/>
              </a:ext>
            </a:extLst>
          </p:cNvPr>
          <p:cNvGraphicFramePr>
            <a:graphicFrameLocks noGrp="1"/>
          </p:cNvGraphicFramePr>
          <p:nvPr>
            <p:ph idx="4294967295"/>
            <p:extLst>
              <p:ext uri="{D42A27DB-BD31-4B8C-83A1-F6EECF244321}">
                <p14:modId xmlns:p14="http://schemas.microsoft.com/office/powerpoint/2010/main" val="3602335299"/>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F456CAE2-40D9-C89C-01D4-02D92ECC325F}"/>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9C31F180-BE4C-077E-6172-FE9EFF5651B0}"/>
              </a:ext>
            </a:extLst>
          </p:cNvPr>
          <p:cNvGraphicFramePr>
            <a:graphicFrameLocks/>
          </p:cNvGraphicFramePr>
          <p:nvPr>
            <p:extLst>
              <p:ext uri="{D42A27DB-BD31-4B8C-83A1-F6EECF244321}">
                <p14:modId xmlns:p14="http://schemas.microsoft.com/office/powerpoint/2010/main" val="147866536"/>
              </p:ext>
            </p:extLst>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01B1A8DD-FED6-2C47-296D-0983D1E720B2}"/>
              </a:ext>
            </a:extLst>
          </p:cNvPr>
          <p:cNvGraphicFramePr>
            <a:graphicFrameLocks/>
          </p:cNvGraphicFramePr>
          <p:nvPr>
            <p:extLst>
              <p:ext uri="{D42A27DB-BD31-4B8C-83A1-F6EECF244321}">
                <p14:modId xmlns:p14="http://schemas.microsoft.com/office/powerpoint/2010/main" val="3562872573"/>
              </p:ext>
            </p:extLst>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sp>
        <p:nvSpPr>
          <p:cNvPr id="16" name="TextBox 15">
            <a:extLst>
              <a:ext uri="{FF2B5EF4-FFF2-40B4-BE49-F238E27FC236}">
                <a16:creationId xmlns:a16="http://schemas.microsoft.com/office/drawing/2014/main" id="{2B180312-FE46-D4C9-3734-1E3750820943}"/>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4DB211A7-591C-E03E-65DC-47EB4C0D8D03}"/>
              </a:ext>
            </a:extLst>
          </p:cNvPr>
          <p:cNvGraphicFramePr>
            <a:graphicFrameLocks noGrp="1"/>
          </p:cNvGraphicFramePr>
          <p:nvPr>
            <p:extLst>
              <p:ext uri="{D42A27DB-BD31-4B8C-83A1-F6EECF244321}">
                <p14:modId xmlns:p14="http://schemas.microsoft.com/office/powerpoint/2010/main" val="2790109015"/>
              </p:ext>
            </p:extLst>
          </p:nvPr>
        </p:nvGraphicFramePr>
        <p:xfrm>
          <a:off x="720534" y="1121410"/>
          <a:ext cx="6085434"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tblGrid>
              <a:tr h="235994">
                <a:tc>
                  <a:txBody>
                    <a:bodyPr/>
                    <a:lstStyle/>
                    <a:p>
                      <a:pPr algn="ctr">
                        <a:defRPr sz="1100">
                          <a:latin typeface="Nexa Book"/>
                        </a:defRPr>
                      </a:pPr>
                      <a:r>
                        <a:rPr b="1">
                          <a:solidFill>
                            <a:srgbClr val="575555"/>
                          </a:solidFill>
                        </a:rPr>
                        <a:t>Champagnes</a:t>
                      </a:r>
                    </a:p>
                  </a:txBody>
                  <a:tcPr anchor="ctr">
                    <a:solidFill>
                      <a:schemeClr val="bg2"/>
                    </a:solidFill>
                  </a:tcPr>
                </a:tc>
                <a:tc>
                  <a:txBody>
                    <a:bodyPr/>
                    <a:lstStyle/>
                    <a:p>
                      <a:pPr algn="ctr">
                        <a:defRPr sz="1100">
                          <a:latin typeface="Nexa Book"/>
                        </a:defRPr>
                      </a:pPr>
                      <a:r>
                        <a:rPr b="1">
                          <a:solidFill>
                            <a:srgbClr val="575555"/>
                          </a:solidFill>
                        </a:rPr>
                        <a:t>Mousseux</a:t>
                      </a:r>
                    </a:p>
                  </a:txBody>
                  <a:tcPr anchor="ctr">
                    <a:solidFill>
                      <a:schemeClr val="bg2"/>
                    </a:solidFill>
                  </a:tcPr>
                </a:tc>
                <a:tc>
                  <a:txBody>
                    <a:bodyPr/>
                    <a:lstStyle/>
                    <a:p>
                      <a:pPr algn="ctr">
                        <a:defRPr sz="1100">
                          <a:latin typeface="Nexa Book"/>
                        </a:defRPr>
                      </a:pPr>
                      <a:r>
                        <a:rPr b="1">
                          <a:solidFill>
                            <a:srgbClr val="575555"/>
                          </a:solidFill>
                        </a:rPr>
                        <a:t>Effervescents Sans Alcool</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1321176498"/>
      </p:ext>
    </p:extLst>
  </p:cSld>
  <p:clrMapOvr>
    <a:masterClrMapping/>
  </p:clrMapOvr>
</p:sld>
</file>

<file path=ppt/slides/slide3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1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Val De Loire | NICOLAS VC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02160040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586259"/>
            <a:ext cx="4869366" cy="881372"/>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109459594"/>
      </p:ext>
    </p:extLst>
  </p:cSld>
  <p:clrMapOvr>
    <a:masterClrMapping/>
  </p:clrMapOvr>
</p:sld>
</file>

<file path=ppt/slides/slide3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1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Val De Loire | NICOLAS QC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71928167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506802"/>
            <a:ext cx="4869366" cy="907413"/>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25102528"/>
      </p:ext>
    </p:extLst>
  </p:cSld>
  <p:clrMapOvr>
    <a:masterClrMapping/>
  </p:clrMapOvr>
</p:sld>
</file>

<file path=ppt/slides/slide3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1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Val De Loire | NICOLAS QC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7604056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519330"/>
            <a:ext cx="4869366" cy="903307"/>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497767216"/>
      </p:ext>
    </p:extLst>
  </p:cSld>
  <p:clrMapOvr>
    <a:masterClrMapping/>
  </p:clrMapOvr>
</p:sld>
</file>

<file path=ppt/slides/slide3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1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Val De Loire | NICOLAS CCP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03596352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609798"/>
            <a:ext cx="4869366" cy="873658"/>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194631726"/>
      </p:ext>
    </p:extLst>
  </p:cSld>
  <p:clrMapOvr>
    <a:masterClrMapping/>
  </p:clrMapOvr>
</p:sld>
</file>

<file path=ppt/slides/slide3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1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Val De Loire | NICOLAS IDF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58772359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527619"/>
            <a:ext cx="4869366" cy="900590"/>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410791866"/>
      </p:ext>
    </p:extLst>
  </p:cSld>
  <p:clrMapOvr>
    <a:masterClrMapping/>
  </p:clrMapOvr>
</p:sld>
</file>

<file path=ppt/slides/slide3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1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Val De Loire | NICOLAS PAC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09815059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588236"/>
            <a:ext cx="4869366" cy="88072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605283739"/>
      </p:ext>
    </p:extLst>
  </p:cSld>
  <p:clrMapOvr>
    <a:masterClrMapping/>
  </p:clrMapOvr>
</p:sld>
</file>

<file path=ppt/slides/slide3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1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Val De Loire | NICOLAS RH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46113520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550160"/>
            <a:ext cx="4869366" cy="893203"/>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557028224"/>
      </p:ext>
    </p:extLst>
  </p:cSld>
  <p:clrMapOvr>
    <a:masterClrMapping/>
  </p:clrMapOvr>
</p:sld>
</file>

<file path=ppt/slides/slide3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1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Val De Loire | NICOLAS AQU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80633823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484933"/>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710817"/>
            <a:ext cx="4869366" cy="840551"/>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777311873"/>
      </p:ext>
    </p:extLst>
  </p:cSld>
  <p:clrMapOvr>
    <a:masterClrMapping/>
  </p:clrMapOvr>
</p:sld>
</file>

<file path=ppt/slides/slide3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1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Val De Loire | NICOLAS ES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6715314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644343"/>
            <a:ext cx="4869366" cy="862336"/>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851305639"/>
      </p:ext>
    </p:extLst>
  </p:cSld>
  <p:clrMapOvr>
    <a:masterClrMapping/>
  </p:clrMapOvr>
</p:sld>
</file>

<file path=ppt/slides/slide3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1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Val De Loire | CA 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6874700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496274"/>
            <a:ext cx="4869366" cy="910863"/>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09276825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65918C-CF2D-B9BE-373E-8055AB4F589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BE947E9A-9EDC-50FE-5484-367359C894D7}"/>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DC475BB2-0528-29FB-C158-9EF2E6156FB0}"/>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C87CB3FA-1793-85BB-0720-68CB9A322CAF}"/>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300044B2-FAA5-2879-ADFC-6874BBAF83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DA8BB0C0-E087-2E71-1F6D-E725250BE3D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2</a:t>
            </a:fld>
            <a:endParaRPr lang="en-US" noProof="0"/>
          </a:p>
        </p:txBody>
      </p:sp>
      <p:sp>
        <p:nvSpPr>
          <p:cNvPr id="37" name="Text Placeholder 36">
            <a:extLst>
              <a:ext uri="{FF2B5EF4-FFF2-40B4-BE49-F238E27FC236}">
                <a16:creationId xmlns:a16="http://schemas.microsoft.com/office/drawing/2014/main" id="{4918FA18-B639-A629-2E9B-674B54B4AACA}"/>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37405B8B-A5F3-F9D8-A571-2F38544BBDBA}"/>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ector | CA A | P12M</a:t>
            </a:r>
          </a:p>
        </p:txBody>
      </p:sp>
      <p:sp>
        <p:nvSpPr>
          <p:cNvPr id="2" name="Title 1">
            <a:extLst>
              <a:ext uri="{FF2B5EF4-FFF2-40B4-BE49-F238E27FC236}">
                <a16:creationId xmlns:a16="http://schemas.microsoft.com/office/drawing/2014/main" id="{12784FBB-01F7-DE64-BC02-E8B59B51E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8694A9E2-2E6E-DE42-FC36-3888D1308CB4}"/>
              </a:ext>
            </a:extLst>
          </p:cNvPr>
          <p:cNvGraphicFramePr>
            <a:graphicFrameLocks noGrp="1"/>
          </p:cNvGraphicFramePr>
          <p:nvPr>
            <p:ph idx="4294967295"/>
            <p:extLst>
              <p:ext uri="{D42A27DB-BD31-4B8C-83A1-F6EECF244321}">
                <p14:modId xmlns:p14="http://schemas.microsoft.com/office/powerpoint/2010/main" val="2739897142"/>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F456CAE2-40D9-C89C-01D4-02D92ECC325F}"/>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9C31F180-BE4C-077E-6172-FE9EFF5651B0}"/>
              </a:ext>
            </a:extLst>
          </p:cNvPr>
          <p:cNvGraphicFramePr>
            <a:graphicFrameLocks/>
          </p:cNvGraphicFramePr>
          <p:nvPr>
            <p:extLst>
              <p:ext uri="{D42A27DB-BD31-4B8C-83A1-F6EECF244321}">
                <p14:modId xmlns:p14="http://schemas.microsoft.com/office/powerpoint/2010/main" val="3676271423"/>
              </p:ext>
            </p:extLst>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01B1A8DD-FED6-2C47-296D-0983D1E720B2}"/>
              </a:ext>
            </a:extLst>
          </p:cNvPr>
          <p:cNvGraphicFramePr>
            <a:graphicFrameLocks/>
          </p:cNvGraphicFramePr>
          <p:nvPr>
            <p:extLst>
              <p:ext uri="{D42A27DB-BD31-4B8C-83A1-F6EECF244321}">
                <p14:modId xmlns:p14="http://schemas.microsoft.com/office/powerpoint/2010/main" val="2020291029"/>
              </p:ext>
            </p:extLst>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sp>
        <p:nvSpPr>
          <p:cNvPr id="16" name="TextBox 15">
            <a:extLst>
              <a:ext uri="{FF2B5EF4-FFF2-40B4-BE49-F238E27FC236}">
                <a16:creationId xmlns:a16="http://schemas.microsoft.com/office/drawing/2014/main" id="{2B180312-FE46-D4C9-3734-1E3750820943}"/>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4DB211A7-591C-E03E-65DC-47EB4C0D8D03}"/>
              </a:ext>
            </a:extLst>
          </p:cNvPr>
          <p:cNvGraphicFramePr>
            <a:graphicFrameLocks noGrp="1"/>
          </p:cNvGraphicFramePr>
          <p:nvPr>
            <p:extLst>
              <p:ext uri="{D42A27DB-BD31-4B8C-83A1-F6EECF244321}">
                <p14:modId xmlns:p14="http://schemas.microsoft.com/office/powerpoint/2010/main" val="2790109015"/>
              </p:ext>
            </p:extLst>
          </p:nvPr>
        </p:nvGraphicFramePr>
        <p:xfrm>
          <a:off x="720534" y="1121410"/>
          <a:ext cx="6085434"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tblGrid>
              <a:tr h="235994">
                <a:tc>
                  <a:txBody>
                    <a:bodyPr/>
                    <a:lstStyle/>
                    <a:p>
                      <a:pPr algn="ctr">
                        <a:defRPr sz="1100">
                          <a:latin typeface="Nexa Book"/>
                        </a:defRPr>
                      </a:pPr>
                      <a:r>
                        <a:rPr b="1">
                          <a:solidFill>
                            <a:srgbClr val="575555"/>
                          </a:solidFill>
                        </a:rPr>
                        <a:t>Champagnes</a:t>
                      </a:r>
                    </a:p>
                  </a:txBody>
                  <a:tcPr anchor="ctr">
                    <a:solidFill>
                      <a:schemeClr val="bg2"/>
                    </a:solidFill>
                  </a:tcPr>
                </a:tc>
                <a:tc>
                  <a:txBody>
                    <a:bodyPr/>
                    <a:lstStyle/>
                    <a:p>
                      <a:pPr algn="ctr">
                        <a:defRPr sz="1100">
                          <a:latin typeface="Nexa Book"/>
                        </a:defRPr>
                      </a:pPr>
                      <a:r>
                        <a:rPr b="1">
                          <a:solidFill>
                            <a:srgbClr val="575555"/>
                          </a:solidFill>
                        </a:rPr>
                        <a:t>Mousseux</a:t>
                      </a:r>
                    </a:p>
                  </a:txBody>
                  <a:tcPr anchor="ctr">
                    <a:solidFill>
                      <a:schemeClr val="bg2"/>
                    </a:solidFill>
                  </a:tcPr>
                </a:tc>
                <a:tc>
                  <a:txBody>
                    <a:bodyPr/>
                    <a:lstStyle/>
                    <a:p>
                      <a:pPr algn="ctr">
                        <a:defRPr sz="1100">
                          <a:latin typeface="Nexa Book"/>
                        </a:defRPr>
                      </a:pPr>
                      <a:r>
                        <a:rPr b="1">
                          <a:solidFill>
                            <a:srgbClr val="575555"/>
                          </a:solidFill>
                        </a:rPr>
                        <a:t>Effervescents Sans Alcool</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558965651"/>
      </p:ext>
    </p:extLst>
  </p:cSld>
  <p:clrMapOvr>
    <a:masterClrMapping/>
  </p:clrMapOvr>
</p:sld>
</file>

<file path=ppt/slides/slide3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2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Val De Loire | CA B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90900394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621413"/>
            <a:ext cx="4869366" cy="869851"/>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673978762"/>
      </p:ext>
    </p:extLst>
  </p:cSld>
  <p:clrMapOvr>
    <a:masterClrMapping/>
  </p:clrMapOvr>
</p:sld>
</file>

<file path=ppt/slides/slide3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2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Val De Loire | CA C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03681548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578320"/>
            <a:ext cx="4869366" cy="88397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194920558"/>
      </p:ext>
    </p:extLst>
  </p:cSld>
  <p:clrMapOvr>
    <a:masterClrMapping/>
  </p:clrMapOvr>
</p:sld>
</file>

<file path=ppt/slides/slide3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2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Val De Loire | CA D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5312178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584278"/>
            <a:ext cx="4869366" cy="882021"/>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130643805"/>
      </p:ext>
    </p:extLst>
  </p:cSld>
  <p:clrMapOvr>
    <a:masterClrMapping/>
  </p:clrMapOvr>
</p:sld>
</file>

<file path=ppt/slides/slide3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2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Val De Loire | CA 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31394482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648127"/>
            <a:ext cx="4869366" cy="861096"/>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37707181"/>
      </p:ext>
    </p:extLst>
  </p:cSld>
  <p:clrMapOvr>
    <a:masterClrMapping/>
  </p:clrMapOvr>
</p:sld>
</file>

<file path=ppt/slides/slide3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2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Alsace | Nationa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48501416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622411"/>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847149"/>
            <a:ext cx="4869366" cy="795870"/>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663427"/>
            <a:ext cx="4869366" cy="1612148"/>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853557355"/>
      </p:ext>
    </p:extLst>
  </p:cSld>
  <p:clrMapOvr>
    <a:masterClrMapping/>
  </p:clrMapOvr>
</p:sld>
</file>

<file path=ppt/slides/slide3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2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Alsace | NICOLA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38183428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594151"/>
            <a:ext cx="4869366" cy="878786"/>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899472666"/>
      </p:ext>
    </p:extLst>
  </p:cSld>
  <p:clrMapOvr>
    <a:masterClrMapping/>
  </p:clrMapOvr>
</p:sld>
</file>

<file path=ppt/slides/slide3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2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Alsace | HMSM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45335588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628903"/>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853586"/>
            <a:ext cx="4869366" cy="793761"/>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667700"/>
            <a:ext cx="4869366" cy="1607875"/>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263509947"/>
      </p:ext>
    </p:extLst>
  </p:cSld>
  <p:clrMapOvr>
    <a:masterClrMapping/>
  </p:clrMapOvr>
</p:sld>
</file>

<file path=ppt/slides/slide3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2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Alsace | NICOLAS QC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02349346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506802"/>
            <a:ext cx="4869366" cy="907413"/>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157228979"/>
      </p:ext>
    </p:extLst>
  </p:cSld>
  <p:clrMapOvr>
    <a:masterClrMapping/>
  </p:clrMapOvr>
</p:sld>
</file>

<file path=ppt/slides/slide3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2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Alsace | NICOLAS VC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37289304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287201"/>
            <a:ext cx="4869366" cy="979383"/>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155814378"/>
      </p:ext>
    </p:extLst>
  </p:cSld>
  <p:clrMapOvr>
    <a:masterClrMapping/>
  </p:clrMapOvr>
</p:sld>
</file>

<file path=ppt/slides/slide3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2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Alsace | NICOLAS QC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61346849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545203"/>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26321084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65918C-CF2D-B9BE-373E-8055AB4F589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BE947E9A-9EDC-50FE-5484-367359C894D7}"/>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DC475BB2-0528-29FB-C158-9EF2E6156FB0}"/>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C87CB3FA-1793-85BB-0720-68CB9A322CAF}"/>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300044B2-FAA5-2879-ADFC-6874BBAF83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DA8BB0C0-E087-2E71-1F6D-E725250BE3D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3</a:t>
            </a:fld>
            <a:endParaRPr lang="en-US" noProof="0"/>
          </a:p>
        </p:txBody>
      </p:sp>
      <p:sp>
        <p:nvSpPr>
          <p:cNvPr id="37" name="Text Placeholder 36">
            <a:extLst>
              <a:ext uri="{FF2B5EF4-FFF2-40B4-BE49-F238E27FC236}">
                <a16:creationId xmlns:a16="http://schemas.microsoft.com/office/drawing/2014/main" id="{4918FA18-B639-A629-2E9B-674B54B4AACA}"/>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37405B8B-A5F3-F9D8-A571-2F38544BBDBA}"/>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ector | CA B | P12M</a:t>
            </a:r>
          </a:p>
        </p:txBody>
      </p:sp>
      <p:sp>
        <p:nvSpPr>
          <p:cNvPr id="2" name="Title 1">
            <a:extLst>
              <a:ext uri="{FF2B5EF4-FFF2-40B4-BE49-F238E27FC236}">
                <a16:creationId xmlns:a16="http://schemas.microsoft.com/office/drawing/2014/main" id="{12784FBB-01F7-DE64-BC02-E8B59B51E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8694A9E2-2E6E-DE42-FC36-3888D1308CB4}"/>
              </a:ext>
            </a:extLst>
          </p:cNvPr>
          <p:cNvGraphicFramePr>
            <a:graphicFrameLocks noGrp="1"/>
          </p:cNvGraphicFramePr>
          <p:nvPr>
            <p:ph idx="4294967295"/>
            <p:extLst>
              <p:ext uri="{D42A27DB-BD31-4B8C-83A1-F6EECF244321}">
                <p14:modId xmlns:p14="http://schemas.microsoft.com/office/powerpoint/2010/main" val="1418776957"/>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F456CAE2-40D9-C89C-01D4-02D92ECC325F}"/>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9C31F180-BE4C-077E-6172-FE9EFF5651B0}"/>
              </a:ext>
            </a:extLst>
          </p:cNvPr>
          <p:cNvGraphicFramePr>
            <a:graphicFrameLocks/>
          </p:cNvGraphicFramePr>
          <p:nvPr>
            <p:extLst>
              <p:ext uri="{D42A27DB-BD31-4B8C-83A1-F6EECF244321}">
                <p14:modId xmlns:p14="http://schemas.microsoft.com/office/powerpoint/2010/main" val="1966394682"/>
              </p:ext>
            </p:extLst>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01B1A8DD-FED6-2C47-296D-0983D1E720B2}"/>
              </a:ext>
            </a:extLst>
          </p:cNvPr>
          <p:cNvGraphicFramePr>
            <a:graphicFrameLocks/>
          </p:cNvGraphicFramePr>
          <p:nvPr>
            <p:extLst>
              <p:ext uri="{D42A27DB-BD31-4B8C-83A1-F6EECF244321}">
                <p14:modId xmlns:p14="http://schemas.microsoft.com/office/powerpoint/2010/main" val="2700368713"/>
              </p:ext>
            </p:extLst>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sp>
        <p:nvSpPr>
          <p:cNvPr id="16" name="TextBox 15">
            <a:extLst>
              <a:ext uri="{FF2B5EF4-FFF2-40B4-BE49-F238E27FC236}">
                <a16:creationId xmlns:a16="http://schemas.microsoft.com/office/drawing/2014/main" id="{2B180312-FE46-D4C9-3734-1E3750820943}"/>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4DB211A7-591C-E03E-65DC-47EB4C0D8D03}"/>
              </a:ext>
            </a:extLst>
          </p:cNvPr>
          <p:cNvGraphicFramePr>
            <a:graphicFrameLocks noGrp="1"/>
          </p:cNvGraphicFramePr>
          <p:nvPr>
            <p:extLst>
              <p:ext uri="{D42A27DB-BD31-4B8C-83A1-F6EECF244321}">
                <p14:modId xmlns:p14="http://schemas.microsoft.com/office/powerpoint/2010/main" val="2790109015"/>
              </p:ext>
            </p:extLst>
          </p:nvPr>
        </p:nvGraphicFramePr>
        <p:xfrm>
          <a:off x="720534" y="1121410"/>
          <a:ext cx="6085434"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tblGrid>
              <a:tr h="235994">
                <a:tc>
                  <a:txBody>
                    <a:bodyPr/>
                    <a:lstStyle/>
                    <a:p>
                      <a:pPr algn="ctr">
                        <a:defRPr sz="1100">
                          <a:latin typeface="Nexa Book"/>
                        </a:defRPr>
                      </a:pPr>
                      <a:r>
                        <a:rPr b="1">
                          <a:solidFill>
                            <a:srgbClr val="575555"/>
                          </a:solidFill>
                        </a:rPr>
                        <a:t>Champagnes</a:t>
                      </a:r>
                    </a:p>
                  </a:txBody>
                  <a:tcPr anchor="ctr">
                    <a:solidFill>
                      <a:schemeClr val="bg2"/>
                    </a:solidFill>
                  </a:tcPr>
                </a:tc>
                <a:tc>
                  <a:txBody>
                    <a:bodyPr/>
                    <a:lstStyle/>
                    <a:p>
                      <a:pPr algn="ctr">
                        <a:defRPr sz="1100">
                          <a:latin typeface="Nexa Book"/>
                        </a:defRPr>
                      </a:pPr>
                      <a:r>
                        <a:rPr b="1">
                          <a:solidFill>
                            <a:srgbClr val="575555"/>
                          </a:solidFill>
                        </a:rPr>
                        <a:t>Mousseux</a:t>
                      </a:r>
                    </a:p>
                  </a:txBody>
                  <a:tcPr anchor="ctr">
                    <a:solidFill>
                      <a:schemeClr val="bg2"/>
                    </a:solidFill>
                  </a:tcPr>
                </a:tc>
                <a:tc>
                  <a:txBody>
                    <a:bodyPr/>
                    <a:lstStyle/>
                    <a:p>
                      <a:pPr algn="ctr">
                        <a:defRPr sz="1100">
                          <a:latin typeface="Nexa Book"/>
                        </a:defRPr>
                      </a:pPr>
                      <a:r>
                        <a:rPr b="1">
                          <a:solidFill>
                            <a:srgbClr val="575555"/>
                          </a:solidFill>
                        </a:rPr>
                        <a:t>Effervescents Sans Alcool</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2382505702"/>
      </p:ext>
    </p:extLst>
  </p:cSld>
  <p:clrMapOvr>
    <a:masterClrMapping/>
  </p:clrMapOvr>
</p:sld>
</file>

<file path=ppt/slides/slide3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3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Alsace | NICOLAS QC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72892055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229924"/>
            <a:ext cx="4869366" cy="99815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305199143"/>
      </p:ext>
    </p:extLst>
  </p:cSld>
  <p:clrMapOvr>
    <a:masterClrMapping/>
  </p:clrMapOvr>
</p:sld>
</file>

<file path=ppt/slides/slide3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3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Alsace | NICOLAS CCP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59289759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70267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31601805"/>
      </p:ext>
    </p:extLst>
  </p:cSld>
  <p:clrMapOvr>
    <a:masterClrMapping/>
  </p:clrMapOvr>
</p:sld>
</file>

<file path=ppt/slides/slide3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3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Alsace | NICOLAS IDF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80772671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229924"/>
            <a:ext cx="4869366" cy="99815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903058075"/>
      </p:ext>
    </p:extLst>
  </p:cSld>
  <p:clrMapOvr>
    <a:masterClrMapping/>
  </p:clrMapOvr>
</p:sld>
</file>

<file path=ppt/slides/slide3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3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Alsace | NICOLAS PAC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55725040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229924"/>
            <a:ext cx="4869366" cy="99815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975709044"/>
      </p:ext>
    </p:extLst>
  </p:cSld>
  <p:clrMapOvr>
    <a:masterClrMapping/>
  </p:clrMapOvr>
</p:sld>
</file>

<file path=ppt/slides/slide3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3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Alsace | NICOLAS RH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22499081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229924"/>
            <a:ext cx="4869366" cy="99815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900831582"/>
      </p:ext>
    </p:extLst>
  </p:cSld>
  <p:clrMapOvr>
    <a:masterClrMapping/>
  </p:clrMapOvr>
</p:sld>
</file>

<file path=ppt/slides/slide3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3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Alsace | NICOLAS AQU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86987008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229924"/>
            <a:ext cx="4869366" cy="99815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551605222"/>
      </p:ext>
    </p:extLst>
  </p:cSld>
  <p:clrMapOvr>
    <a:masterClrMapping/>
  </p:clrMapOvr>
</p:sld>
</file>

<file path=ppt/slides/slide3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3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Alsace | NICOLAS ES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02138520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924772"/>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763979501"/>
      </p:ext>
    </p:extLst>
  </p:cSld>
  <p:clrMapOvr>
    <a:masterClrMapping/>
  </p:clrMapOvr>
</p:sld>
</file>

<file path=ppt/slides/slide3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3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Alsace | CA 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51956130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229924"/>
            <a:ext cx="4869366" cy="99815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915131689"/>
      </p:ext>
    </p:extLst>
  </p:cSld>
  <p:clrMapOvr>
    <a:masterClrMapping/>
  </p:clrMapOvr>
</p:sld>
</file>

<file path=ppt/slides/slide3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3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Alsace | CA B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11555624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483117"/>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92355279"/>
      </p:ext>
    </p:extLst>
  </p:cSld>
  <p:clrMapOvr>
    <a:masterClrMapping/>
  </p:clrMapOvr>
</p:sld>
</file>

<file path=ppt/slides/slide3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3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Alsace | CA C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28077417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349409"/>
            <a:ext cx="4869366" cy="95899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58309618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65918C-CF2D-B9BE-373E-8055AB4F589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BE947E9A-9EDC-50FE-5484-367359C894D7}"/>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DC475BB2-0528-29FB-C158-9EF2E6156FB0}"/>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C87CB3FA-1793-85BB-0720-68CB9A322CAF}"/>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300044B2-FAA5-2879-ADFC-6874BBAF83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DA8BB0C0-E087-2E71-1F6D-E725250BE3D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4</a:t>
            </a:fld>
            <a:endParaRPr lang="en-US" noProof="0"/>
          </a:p>
        </p:txBody>
      </p:sp>
      <p:sp>
        <p:nvSpPr>
          <p:cNvPr id="37" name="Text Placeholder 36">
            <a:extLst>
              <a:ext uri="{FF2B5EF4-FFF2-40B4-BE49-F238E27FC236}">
                <a16:creationId xmlns:a16="http://schemas.microsoft.com/office/drawing/2014/main" id="{4918FA18-B639-A629-2E9B-674B54B4AACA}"/>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37405B8B-A5F3-F9D8-A571-2F38544BBDBA}"/>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ector | CA C | P12M</a:t>
            </a:r>
          </a:p>
        </p:txBody>
      </p:sp>
      <p:sp>
        <p:nvSpPr>
          <p:cNvPr id="2" name="Title 1">
            <a:extLst>
              <a:ext uri="{FF2B5EF4-FFF2-40B4-BE49-F238E27FC236}">
                <a16:creationId xmlns:a16="http://schemas.microsoft.com/office/drawing/2014/main" id="{12784FBB-01F7-DE64-BC02-E8B59B51E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8694A9E2-2E6E-DE42-FC36-3888D1308CB4}"/>
              </a:ext>
            </a:extLst>
          </p:cNvPr>
          <p:cNvGraphicFramePr>
            <a:graphicFrameLocks noGrp="1"/>
          </p:cNvGraphicFramePr>
          <p:nvPr>
            <p:ph idx="4294967295"/>
            <p:extLst>
              <p:ext uri="{D42A27DB-BD31-4B8C-83A1-F6EECF244321}">
                <p14:modId xmlns:p14="http://schemas.microsoft.com/office/powerpoint/2010/main" val="3422595188"/>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F456CAE2-40D9-C89C-01D4-02D92ECC325F}"/>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9C31F180-BE4C-077E-6172-FE9EFF5651B0}"/>
              </a:ext>
            </a:extLst>
          </p:cNvPr>
          <p:cNvGraphicFramePr>
            <a:graphicFrameLocks/>
          </p:cNvGraphicFramePr>
          <p:nvPr>
            <p:extLst>
              <p:ext uri="{D42A27DB-BD31-4B8C-83A1-F6EECF244321}">
                <p14:modId xmlns:p14="http://schemas.microsoft.com/office/powerpoint/2010/main" val="327268814"/>
              </p:ext>
            </p:extLst>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01B1A8DD-FED6-2C47-296D-0983D1E720B2}"/>
              </a:ext>
            </a:extLst>
          </p:cNvPr>
          <p:cNvGraphicFramePr>
            <a:graphicFrameLocks/>
          </p:cNvGraphicFramePr>
          <p:nvPr>
            <p:extLst>
              <p:ext uri="{D42A27DB-BD31-4B8C-83A1-F6EECF244321}">
                <p14:modId xmlns:p14="http://schemas.microsoft.com/office/powerpoint/2010/main" val="801777870"/>
              </p:ext>
            </p:extLst>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sp>
        <p:nvSpPr>
          <p:cNvPr id="16" name="TextBox 15">
            <a:extLst>
              <a:ext uri="{FF2B5EF4-FFF2-40B4-BE49-F238E27FC236}">
                <a16:creationId xmlns:a16="http://schemas.microsoft.com/office/drawing/2014/main" id="{2B180312-FE46-D4C9-3734-1E3750820943}"/>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4DB211A7-591C-E03E-65DC-47EB4C0D8D03}"/>
              </a:ext>
            </a:extLst>
          </p:cNvPr>
          <p:cNvGraphicFramePr>
            <a:graphicFrameLocks noGrp="1"/>
          </p:cNvGraphicFramePr>
          <p:nvPr>
            <p:extLst>
              <p:ext uri="{D42A27DB-BD31-4B8C-83A1-F6EECF244321}">
                <p14:modId xmlns:p14="http://schemas.microsoft.com/office/powerpoint/2010/main" val="2790109015"/>
              </p:ext>
            </p:extLst>
          </p:nvPr>
        </p:nvGraphicFramePr>
        <p:xfrm>
          <a:off x="720534" y="1121410"/>
          <a:ext cx="6085434"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tblGrid>
              <a:tr h="235994">
                <a:tc>
                  <a:txBody>
                    <a:bodyPr/>
                    <a:lstStyle/>
                    <a:p>
                      <a:pPr algn="ctr">
                        <a:defRPr sz="1100">
                          <a:latin typeface="Nexa Book"/>
                        </a:defRPr>
                      </a:pPr>
                      <a:r>
                        <a:rPr b="1">
                          <a:solidFill>
                            <a:srgbClr val="575555"/>
                          </a:solidFill>
                        </a:rPr>
                        <a:t>Champagnes</a:t>
                      </a:r>
                    </a:p>
                  </a:txBody>
                  <a:tcPr anchor="ctr">
                    <a:solidFill>
                      <a:schemeClr val="bg2"/>
                    </a:solidFill>
                  </a:tcPr>
                </a:tc>
                <a:tc>
                  <a:txBody>
                    <a:bodyPr/>
                    <a:lstStyle/>
                    <a:p>
                      <a:pPr algn="ctr">
                        <a:defRPr sz="1100">
                          <a:latin typeface="Nexa Book"/>
                        </a:defRPr>
                      </a:pPr>
                      <a:r>
                        <a:rPr b="1">
                          <a:solidFill>
                            <a:srgbClr val="575555"/>
                          </a:solidFill>
                        </a:rPr>
                        <a:t>Mousseux</a:t>
                      </a:r>
                    </a:p>
                  </a:txBody>
                  <a:tcPr anchor="ctr">
                    <a:solidFill>
                      <a:schemeClr val="bg2"/>
                    </a:solidFill>
                  </a:tcPr>
                </a:tc>
                <a:tc>
                  <a:txBody>
                    <a:bodyPr/>
                    <a:lstStyle/>
                    <a:p>
                      <a:pPr algn="ctr">
                        <a:defRPr sz="1100">
                          <a:latin typeface="Nexa Book"/>
                        </a:defRPr>
                      </a:pPr>
                      <a:r>
                        <a:rPr b="1">
                          <a:solidFill>
                            <a:srgbClr val="575555"/>
                          </a:solidFill>
                        </a:rPr>
                        <a:t>Effervescents Sans Alcool</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2137750945"/>
      </p:ext>
    </p:extLst>
  </p:cSld>
  <p:clrMapOvr>
    <a:masterClrMapping/>
  </p:clrMapOvr>
</p:sld>
</file>

<file path=ppt/slides/slide3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4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Alsace | CA D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18429470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527770"/>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968327098"/>
      </p:ext>
    </p:extLst>
  </p:cSld>
  <p:clrMapOvr>
    <a:masterClrMapping/>
  </p:clrMapOvr>
</p:sld>
</file>

<file path=ppt/slides/slide3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4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Alsace | CA 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70280488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483117"/>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03737311"/>
      </p:ext>
    </p:extLst>
  </p:cSld>
  <p:clrMapOvr>
    <a:masterClrMapping/>
  </p:clrMapOvr>
</p:sld>
</file>

<file path=ppt/slides/slide3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4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Bordelais | Nationa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5076249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728273"/>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952129"/>
            <a:ext cx="4869366" cy="76146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733119"/>
            <a:ext cx="4869366" cy="1542456"/>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198259938"/>
      </p:ext>
    </p:extLst>
  </p:cSld>
  <p:clrMapOvr>
    <a:masterClrMapping/>
  </p:clrMapOvr>
</p:sld>
</file>

<file path=ppt/slides/slide3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4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Bordelais | NICOLA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90309841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265047"/>
            <a:ext cx="4869366" cy="986643"/>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900008940"/>
      </p:ext>
    </p:extLst>
  </p:cSld>
  <p:clrMapOvr>
    <a:masterClrMapping/>
  </p:clrMapOvr>
</p:sld>
</file>

<file path=ppt/slides/slide3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4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Bordelais | HMSM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93813493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734216"/>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958022"/>
            <a:ext cx="4869366" cy="75953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737032"/>
            <a:ext cx="4869366" cy="1538543"/>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413588968"/>
      </p:ext>
    </p:extLst>
  </p:cSld>
  <p:clrMapOvr>
    <a:masterClrMapping/>
  </p:clrMapOvr>
</p:sld>
</file>

<file path=ppt/slides/slide3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4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Bordelais | NICOLAS QC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89684376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265047"/>
            <a:ext cx="4869366" cy="986643"/>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687689810"/>
      </p:ext>
    </p:extLst>
  </p:cSld>
  <p:clrMapOvr>
    <a:masterClrMapping/>
  </p:clrMapOvr>
</p:sld>
</file>

<file path=ppt/slides/slide3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4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Bordelais | NICOLAS VC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42563970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301791"/>
            <a:ext cx="4869366" cy="974601"/>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803156114"/>
      </p:ext>
    </p:extLst>
  </p:cSld>
  <p:clrMapOvr>
    <a:masterClrMapping/>
  </p:clrMapOvr>
</p:sld>
</file>

<file path=ppt/slides/slide3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4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Bordelais | NICOLAS QC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94641533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313840"/>
            <a:ext cx="4869366" cy="970652"/>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137476360"/>
      </p:ext>
    </p:extLst>
  </p:cSld>
  <p:clrMapOvr>
    <a:masterClrMapping/>
  </p:clrMapOvr>
</p:sld>
</file>

<file path=ppt/slides/slide3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4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Bordelais | NICOLAS QC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83139664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335285"/>
            <a:ext cx="4869366" cy="96362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981211018"/>
      </p:ext>
    </p:extLst>
  </p:cSld>
  <p:clrMapOvr>
    <a:masterClrMapping/>
  </p:clrMapOvr>
</p:sld>
</file>

<file path=ppt/slides/slide3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4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Bordelais | NICOLAS CCP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64841649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287201"/>
            <a:ext cx="4869366" cy="979383"/>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38772875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65918C-CF2D-B9BE-373E-8055AB4F589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BE947E9A-9EDC-50FE-5484-367359C894D7}"/>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DC475BB2-0528-29FB-C158-9EF2E6156FB0}"/>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C87CB3FA-1793-85BB-0720-68CB9A322CAF}"/>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300044B2-FAA5-2879-ADFC-6874BBAF83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DA8BB0C0-E087-2E71-1F6D-E725250BE3D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5</a:t>
            </a:fld>
            <a:endParaRPr lang="en-US" noProof="0"/>
          </a:p>
        </p:txBody>
      </p:sp>
      <p:sp>
        <p:nvSpPr>
          <p:cNvPr id="37" name="Text Placeholder 36">
            <a:extLst>
              <a:ext uri="{FF2B5EF4-FFF2-40B4-BE49-F238E27FC236}">
                <a16:creationId xmlns:a16="http://schemas.microsoft.com/office/drawing/2014/main" id="{4918FA18-B639-A629-2E9B-674B54B4AACA}"/>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37405B8B-A5F3-F9D8-A571-2F38544BBDBA}"/>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ector | CA D | P12M</a:t>
            </a:r>
          </a:p>
        </p:txBody>
      </p:sp>
      <p:sp>
        <p:nvSpPr>
          <p:cNvPr id="2" name="Title 1">
            <a:extLst>
              <a:ext uri="{FF2B5EF4-FFF2-40B4-BE49-F238E27FC236}">
                <a16:creationId xmlns:a16="http://schemas.microsoft.com/office/drawing/2014/main" id="{12784FBB-01F7-DE64-BC02-E8B59B51E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8694A9E2-2E6E-DE42-FC36-3888D1308CB4}"/>
              </a:ext>
            </a:extLst>
          </p:cNvPr>
          <p:cNvGraphicFramePr>
            <a:graphicFrameLocks noGrp="1"/>
          </p:cNvGraphicFramePr>
          <p:nvPr>
            <p:ph idx="4294967295"/>
            <p:extLst>
              <p:ext uri="{D42A27DB-BD31-4B8C-83A1-F6EECF244321}">
                <p14:modId xmlns:p14="http://schemas.microsoft.com/office/powerpoint/2010/main" val="2387442287"/>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F456CAE2-40D9-C89C-01D4-02D92ECC325F}"/>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9C31F180-BE4C-077E-6172-FE9EFF5651B0}"/>
              </a:ext>
            </a:extLst>
          </p:cNvPr>
          <p:cNvGraphicFramePr>
            <a:graphicFrameLocks/>
          </p:cNvGraphicFramePr>
          <p:nvPr>
            <p:extLst>
              <p:ext uri="{D42A27DB-BD31-4B8C-83A1-F6EECF244321}">
                <p14:modId xmlns:p14="http://schemas.microsoft.com/office/powerpoint/2010/main" val="519599197"/>
              </p:ext>
            </p:extLst>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01B1A8DD-FED6-2C47-296D-0983D1E720B2}"/>
              </a:ext>
            </a:extLst>
          </p:cNvPr>
          <p:cNvGraphicFramePr>
            <a:graphicFrameLocks/>
          </p:cNvGraphicFramePr>
          <p:nvPr>
            <p:extLst>
              <p:ext uri="{D42A27DB-BD31-4B8C-83A1-F6EECF244321}">
                <p14:modId xmlns:p14="http://schemas.microsoft.com/office/powerpoint/2010/main" val="2418740886"/>
              </p:ext>
            </p:extLst>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sp>
        <p:nvSpPr>
          <p:cNvPr id="16" name="TextBox 15">
            <a:extLst>
              <a:ext uri="{FF2B5EF4-FFF2-40B4-BE49-F238E27FC236}">
                <a16:creationId xmlns:a16="http://schemas.microsoft.com/office/drawing/2014/main" id="{2B180312-FE46-D4C9-3734-1E3750820943}"/>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4DB211A7-591C-E03E-65DC-47EB4C0D8D03}"/>
              </a:ext>
            </a:extLst>
          </p:cNvPr>
          <p:cNvGraphicFramePr>
            <a:graphicFrameLocks noGrp="1"/>
          </p:cNvGraphicFramePr>
          <p:nvPr>
            <p:extLst>
              <p:ext uri="{D42A27DB-BD31-4B8C-83A1-F6EECF244321}">
                <p14:modId xmlns:p14="http://schemas.microsoft.com/office/powerpoint/2010/main" val="2790109015"/>
              </p:ext>
            </p:extLst>
          </p:nvPr>
        </p:nvGraphicFramePr>
        <p:xfrm>
          <a:off x="720534" y="1121410"/>
          <a:ext cx="6085434"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tblGrid>
              <a:tr h="235994">
                <a:tc>
                  <a:txBody>
                    <a:bodyPr/>
                    <a:lstStyle/>
                    <a:p>
                      <a:pPr algn="ctr">
                        <a:defRPr sz="1100">
                          <a:latin typeface="Nexa Book"/>
                        </a:defRPr>
                      </a:pPr>
                      <a:r>
                        <a:rPr b="1">
                          <a:solidFill>
                            <a:srgbClr val="575555"/>
                          </a:solidFill>
                        </a:rPr>
                        <a:t>Champagnes</a:t>
                      </a:r>
                    </a:p>
                  </a:txBody>
                  <a:tcPr anchor="ctr">
                    <a:solidFill>
                      <a:schemeClr val="bg2"/>
                    </a:solidFill>
                  </a:tcPr>
                </a:tc>
                <a:tc>
                  <a:txBody>
                    <a:bodyPr/>
                    <a:lstStyle/>
                    <a:p>
                      <a:pPr algn="ctr">
                        <a:defRPr sz="1100">
                          <a:latin typeface="Nexa Book"/>
                        </a:defRPr>
                      </a:pPr>
                      <a:r>
                        <a:rPr b="1">
                          <a:solidFill>
                            <a:srgbClr val="575555"/>
                          </a:solidFill>
                        </a:rPr>
                        <a:t>Mousseux</a:t>
                      </a:r>
                    </a:p>
                  </a:txBody>
                  <a:tcPr anchor="ctr">
                    <a:solidFill>
                      <a:schemeClr val="bg2"/>
                    </a:solidFill>
                  </a:tcPr>
                </a:tc>
                <a:tc>
                  <a:txBody>
                    <a:bodyPr/>
                    <a:lstStyle/>
                    <a:p>
                      <a:pPr algn="ctr">
                        <a:defRPr sz="1100">
                          <a:latin typeface="Nexa Book"/>
                        </a:defRPr>
                      </a:pPr>
                      <a:r>
                        <a:rPr b="1">
                          <a:solidFill>
                            <a:srgbClr val="575555"/>
                          </a:solidFill>
                        </a:rPr>
                        <a:t>Effervescents Sans Alcool</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3889907331"/>
      </p:ext>
    </p:extLst>
  </p:cSld>
  <p:clrMapOvr>
    <a:masterClrMapping/>
  </p:clrMapOvr>
</p:sld>
</file>

<file path=ppt/slides/slide3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5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Bordelais | NICOLAS IDF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4113851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274934"/>
            <a:ext cx="4869366" cy="983403"/>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657552467"/>
      </p:ext>
    </p:extLst>
  </p:cSld>
  <p:clrMapOvr>
    <a:masterClrMapping/>
  </p:clrMapOvr>
</p:sld>
</file>

<file path=ppt/slides/slide3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5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Bordelais | NICOLAS PAC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03285482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299369"/>
            <a:ext cx="4869366" cy="97539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916193775"/>
      </p:ext>
    </p:extLst>
  </p:cSld>
  <p:clrMapOvr>
    <a:masterClrMapping/>
  </p:clrMapOvr>
</p:sld>
</file>

<file path=ppt/slides/slide3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5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Bordelais | NICOLAS RH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94816643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342364"/>
            <a:ext cx="4869366" cy="96130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1334587"/>
      </p:ext>
    </p:extLst>
  </p:cSld>
  <p:clrMapOvr>
    <a:masterClrMapping/>
  </p:clrMapOvr>
</p:sld>
</file>

<file path=ppt/slides/slide3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5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Bordelais | NICOLAS AQU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74307513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204331"/>
            <a:ext cx="4869366" cy="837612"/>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740795261"/>
      </p:ext>
    </p:extLst>
  </p:cSld>
  <p:clrMapOvr>
    <a:masterClrMapping/>
  </p:clrMapOvr>
</p:sld>
</file>

<file path=ppt/slides/slide3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5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Bordelais | NICOLAS ES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78443309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457702"/>
            <a:ext cx="4869366" cy="92350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917582995"/>
      </p:ext>
    </p:extLst>
  </p:cSld>
  <p:clrMapOvr>
    <a:masterClrMapping/>
  </p:clrMapOvr>
</p:sld>
</file>

<file path=ppt/slides/slide3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5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Bordelais | CA 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28815161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265047"/>
            <a:ext cx="4869366" cy="986643"/>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276989"/>
            <a:ext cx="4869366" cy="1998586"/>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623237927"/>
      </p:ext>
    </p:extLst>
  </p:cSld>
  <p:clrMapOvr>
    <a:masterClrMapping/>
  </p:clrMapOvr>
</p:sld>
</file>

<file path=ppt/slides/slide3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5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Bordelais | CA B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983466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262565"/>
            <a:ext cx="4869366" cy="987457"/>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298222565"/>
      </p:ext>
    </p:extLst>
  </p:cSld>
  <p:clrMapOvr>
    <a:masterClrMapping/>
  </p:clrMapOvr>
</p:sld>
</file>

<file path=ppt/slides/slide3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5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Bordelais | CA C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7472542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204331"/>
            <a:ext cx="4869366" cy="996079"/>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377611371"/>
      </p:ext>
    </p:extLst>
  </p:cSld>
  <p:clrMapOvr>
    <a:masterClrMapping/>
  </p:clrMapOvr>
</p:sld>
</file>

<file path=ppt/slides/slide3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5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Bordelais | CA D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27886959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318632"/>
            <a:ext cx="4869366" cy="969082"/>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118008967"/>
      </p:ext>
    </p:extLst>
  </p:cSld>
  <p:clrMapOvr>
    <a:masterClrMapping/>
  </p:clrMapOvr>
</p:sld>
</file>

<file path=ppt/slides/slide3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5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Bordelais | CA 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64171057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296943"/>
            <a:ext cx="4869366" cy="976190"/>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88779910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65918C-CF2D-B9BE-373E-8055AB4F589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BE947E9A-9EDC-50FE-5484-367359C894D7}"/>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DC475BB2-0528-29FB-C158-9EF2E6156FB0}"/>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C87CB3FA-1793-85BB-0720-68CB9A322CAF}"/>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300044B2-FAA5-2879-ADFC-6874BBAF83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DA8BB0C0-E087-2E71-1F6D-E725250BE3D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6</a:t>
            </a:fld>
            <a:endParaRPr lang="en-US" noProof="0"/>
          </a:p>
        </p:txBody>
      </p:sp>
      <p:sp>
        <p:nvSpPr>
          <p:cNvPr id="37" name="Text Placeholder 36">
            <a:extLst>
              <a:ext uri="{FF2B5EF4-FFF2-40B4-BE49-F238E27FC236}">
                <a16:creationId xmlns:a16="http://schemas.microsoft.com/office/drawing/2014/main" id="{4918FA18-B639-A629-2E9B-674B54B4AACA}"/>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37405B8B-A5F3-F9D8-A571-2F38544BBDBA}"/>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ector | CA E | P12M</a:t>
            </a:r>
          </a:p>
        </p:txBody>
      </p:sp>
      <p:sp>
        <p:nvSpPr>
          <p:cNvPr id="2" name="Title 1">
            <a:extLst>
              <a:ext uri="{FF2B5EF4-FFF2-40B4-BE49-F238E27FC236}">
                <a16:creationId xmlns:a16="http://schemas.microsoft.com/office/drawing/2014/main" id="{12784FBB-01F7-DE64-BC02-E8B59B51E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8694A9E2-2E6E-DE42-FC36-3888D1308CB4}"/>
              </a:ext>
            </a:extLst>
          </p:cNvPr>
          <p:cNvGraphicFramePr>
            <a:graphicFrameLocks noGrp="1"/>
          </p:cNvGraphicFramePr>
          <p:nvPr>
            <p:ph idx="4294967295"/>
            <p:extLst>
              <p:ext uri="{D42A27DB-BD31-4B8C-83A1-F6EECF244321}">
                <p14:modId xmlns:p14="http://schemas.microsoft.com/office/powerpoint/2010/main" val="3601331326"/>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F456CAE2-40D9-C89C-01D4-02D92ECC325F}"/>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9C31F180-BE4C-077E-6172-FE9EFF5651B0}"/>
              </a:ext>
            </a:extLst>
          </p:cNvPr>
          <p:cNvGraphicFramePr>
            <a:graphicFrameLocks/>
          </p:cNvGraphicFramePr>
          <p:nvPr>
            <p:extLst>
              <p:ext uri="{D42A27DB-BD31-4B8C-83A1-F6EECF244321}">
                <p14:modId xmlns:p14="http://schemas.microsoft.com/office/powerpoint/2010/main" val="3230448552"/>
              </p:ext>
            </p:extLst>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01B1A8DD-FED6-2C47-296D-0983D1E720B2}"/>
              </a:ext>
            </a:extLst>
          </p:cNvPr>
          <p:cNvGraphicFramePr>
            <a:graphicFrameLocks/>
          </p:cNvGraphicFramePr>
          <p:nvPr>
            <p:extLst>
              <p:ext uri="{D42A27DB-BD31-4B8C-83A1-F6EECF244321}">
                <p14:modId xmlns:p14="http://schemas.microsoft.com/office/powerpoint/2010/main" val="204405005"/>
              </p:ext>
            </p:extLst>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sp>
        <p:nvSpPr>
          <p:cNvPr id="16" name="TextBox 15">
            <a:extLst>
              <a:ext uri="{FF2B5EF4-FFF2-40B4-BE49-F238E27FC236}">
                <a16:creationId xmlns:a16="http://schemas.microsoft.com/office/drawing/2014/main" id="{2B180312-FE46-D4C9-3734-1E3750820943}"/>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4DB211A7-591C-E03E-65DC-47EB4C0D8D03}"/>
              </a:ext>
            </a:extLst>
          </p:cNvPr>
          <p:cNvGraphicFramePr>
            <a:graphicFrameLocks noGrp="1"/>
          </p:cNvGraphicFramePr>
          <p:nvPr>
            <p:extLst>
              <p:ext uri="{D42A27DB-BD31-4B8C-83A1-F6EECF244321}">
                <p14:modId xmlns:p14="http://schemas.microsoft.com/office/powerpoint/2010/main" val="2790109015"/>
              </p:ext>
            </p:extLst>
          </p:nvPr>
        </p:nvGraphicFramePr>
        <p:xfrm>
          <a:off x="720534" y="1121410"/>
          <a:ext cx="6085434"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tblGrid>
              <a:tr h="235994">
                <a:tc>
                  <a:txBody>
                    <a:bodyPr/>
                    <a:lstStyle/>
                    <a:p>
                      <a:pPr algn="ctr">
                        <a:defRPr sz="1100">
                          <a:latin typeface="Nexa Book"/>
                        </a:defRPr>
                      </a:pPr>
                      <a:r>
                        <a:rPr b="1">
                          <a:solidFill>
                            <a:srgbClr val="575555"/>
                          </a:solidFill>
                        </a:rPr>
                        <a:t>Champagnes</a:t>
                      </a:r>
                    </a:p>
                  </a:txBody>
                  <a:tcPr anchor="ctr">
                    <a:solidFill>
                      <a:schemeClr val="bg2"/>
                    </a:solidFill>
                  </a:tcPr>
                </a:tc>
                <a:tc>
                  <a:txBody>
                    <a:bodyPr/>
                    <a:lstStyle/>
                    <a:p>
                      <a:pPr algn="ctr">
                        <a:defRPr sz="1100">
                          <a:latin typeface="Nexa Book"/>
                        </a:defRPr>
                      </a:pPr>
                      <a:r>
                        <a:rPr b="1">
                          <a:solidFill>
                            <a:srgbClr val="575555"/>
                          </a:solidFill>
                        </a:rPr>
                        <a:t>Mousseux</a:t>
                      </a:r>
                    </a:p>
                  </a:txBody>
                  <a:tcPr anchor="ctr">
                    <a:solidFill>
                      <a:schemeClr val="bg2"/>
                    </a:solidFill>
                  </a:tcPr>
                </a:tc>
                <a:tc>
                  <a:txBody>
                    <a:bodyPr/>
                    <a:lstStyle/>
                    <a:p>
                      <a:pPr algn="ctr">
                        <a:defRPr sz="1100">
                          <a:latin typeface="Nexa Book"/>
                        </a:defRPr>
                      </a:pPr>
                      <a:r>
                        <a:rPr b="1">
                          <a:solidFill>
                            <a:srgbClr val="575555"/>
                          </a:solidFill>
                        </a:rPr>
                        <a:t>Effervescents Sans Alcool</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141190655"/>
      </p:ext>
    </p:extLst>
  </p:cSld>
  <p:clrMapOvr>
    <a:masterClrMapping/>
  </p:clrMapOvr>
</p:sld>
</file>

<file path=ppt/slides/slide3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6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Effervescents | Nationa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3481455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2352731"/>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960228"/>
            <a:ext cx="4869366" cy="31534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577829570"/>
      </p:ext>
    </p:extLst>
  </p:cSld>
  <p:clrMapOvr>
    <a:masterClrMapping/>
  </p:clrMapOvr>
</p:sld>
</file>

<file path=ppt/slides/slide3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6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Effervescents | NICOLA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13308800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49036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709036"/>
            <a:ext cx="4869366" cy="845954"/>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569328"/>
            <a:ext cx="4869366" cy="559190"/>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142857"/>
            <a:ext cx="4869366" cy="1132718"/>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269871774"/>
      </p:ext>
    </p:extLst>
  </p:cSld>
  <p:clrMapOvr>
    <a:masterClrMapping/>
  </p:clrMapOvr>
</p:sld>
</file>

<file path=ppt/slides/slide3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6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Effervescents | HMSM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02328254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2308097"/>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516668"/>
            <a:ext cx="4869366" cy="250142"/>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771050"/>
            <a:ext cx="4869366" cy="165348"/>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940639"/>
            <a:ext cx="4869366" cy="334936"/>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795822554"/>
      </p:ext>
    </p:extLst>
  </p:cSld>
  <p:clrMapOvr>
    <a:masterClrMapping/>
  </p:clrMapOvr>
</p:sld>
</file>

<file path=ppt/slides/slide3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6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Effervescents | NICOLAS QC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79005519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509502"/>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728065"/>
            <a:ext cx="4869366" cy="839682"/>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581979"/>
            <a:ext cx="4869366" cy="55504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151255"/>
            <a:ext cx="4869366" cy="1124320"/>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469535438"/>
      </p:ext>
    </p:extLst>
  </p:cSld>
  <p:clrMapOvr>
    <a:masterClrMapping/>
  </p:clrMapOvr>
</p:sld>
</file>

<file path=ppt/slides/slide3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6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Effervescents | NICOLAS VC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67182879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534190"/>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752616"/>
            <a:ext cx="4869366" cy="831589"/>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598301"/>
            <a:ext cx="4869366" cy="54969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162091"/>
            <a:ext cx="4869366" cy="1113484"/>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40403344"/>
      </p:ext>
    </p:extLst>
  </p:cSld>
  <p:clrMapOvr>
    <a:masterClrMapping/>
  </p:clrMapOvr>
</p:sld>
</file>

<file path=ppt/slides/slide3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6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Effervescents | NICOLAS QC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46709125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382411"/>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601680"/>
            <a:ext cx="4869366" cy="881339"/>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497958"/>
            <a:ext cx="4869366" cy="582580"/>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095476"/>
            <a:ext cx="4869366" cy="1180099"/>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58775699"/>
      </p:ext>
    </p:extLst>
  </p:cSld>
  <p:clrMapOvr>
    <a:masterClrMapping/>
  </p:clrMapOvr>
</p:sld>
</file>

<file path=ppt/slides/slide3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6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Effervescents | NICOLAS QC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26534612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416746"/>
            <a:ext cx="4869366" cy="94229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375013"/>
            <a:ext cx="4869366" cy="622873"/>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013858"/>
            <a:ext cx="4869366" cy="126171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883615913"/>
      </p:ext>
    </p:extLst>
  </p:cSld>
  <p:clrMapOvr>
    <a:masterClrMapping/>
  </p:clrMapOvr>
</p:sld>
</file>

<file path=ppt/slides/slide3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6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Effervescents | NICOLAS CCP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90693715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491571"/>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710233"/>
            <a:ext cx="4869366" cy="845559"/>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570124"/>
            <a:ext cx="4869366" cy="558929"/>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143385"/>
            <a:ext cx="4869366" cy="1132190"/>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231733301"/>
      </p:ext>
    </p:extLst>
  </p:cSld>
  <p:clrMapOvr>
    <a:masterClrMapping/>
  </p:clrMapOvr>
</p:sld>
</file>

<file path=ppt/slides/slide3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6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Effervescents | NICOLAS IDF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07406774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43246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651457"/>
            <a:ext cx="4869366" cy="864932"/>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531050"/>
            <a:ext cx="4869366" cy="57173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117445"/>
            <a:ext cx="4869366" cy="1158130"/>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83324965"/>
      </p:ext>
    </p:extLst>
  </p:cSld>
  <p:clrMapOvr>
    <a:masterClrMapping/>
  </p:clrMapOvr>
</p:sld>
</file>

<file path=ppt/slides/slide3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6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Effervescents | NICOLAS PAC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19029760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422351"/>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641398"/>
            <a:ext cx="4869366" cy="868248"/>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524362"/>
            <a:ext cx="4869366" cy="573926"/>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113006"/>
            <a:ext cx="4869366" cy="1162569"/>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62308525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08FC55-424A-ACCC-676F-44C3CCC9796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415BD49-9CDB-C892-E279-946572C3A129}"/>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BE947E9A-9EDC-50FE-5484-367359C894D7}"/>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6A5025B9-0C85-A050-B069-0AC43B6B8204}"/>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1004F20C-B07D-4614-4481-965EA185837B}"/>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A91D8E7D-FEEC-5BA1-EB74-93E5E7482F85}"/>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7</a:t>
            </a:fld>
            <a:endParaRPr lang="en-US" noProof="0"/>
          </a:p>
        </p:txBody>
      </p:sp>
      <p:sp>
        <p:nvSpPr>
          <p:cNvPr id="37" name="Text Placeholder 36">
            <a:extLst>
              <a:ext uri="{FF2B5EF4-FFF2-40B4-BE49-F238E27FC236}">
                <a16:creationId xmlns:a16="http://schemas.microsoft.com/office/drawing/2014/main" id="{FA0F6888-D5CC-383A-47AD-80C683524A7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2E389274-4FCB-6DE6-41BB-F4D26E075546}"/>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egment | National | P12M</a:t>
            </a:r>
          </a:p>
        </p:txBody>
      </p:sp>
      <p:sp>
        <p:nvSpPr>
          <p:cNvPr id="2" name="Title 1">
            <a:extLst>
              <a:ext uri="{FF2B5EF4-FFF2-40B4-BE49-F238E27FC236}">
                <a16:creationId xmlns:a16="http://schemas.microsoft.com/office/drawing/2014/main" id="{0B37106B-65BB-38CE-2DE5-FACF202E6E13}"/>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3AD1043F-CB15-E170-B712-2A89D1DA680D}"/>
              </a:ext>
            </a:extLst>
          </p:cNvPr>
          <p:cNvGraphicFramePr>
            <a:graphicFrameLocks noGrp="1"/>
          </p:cNvGraphicFramePr>
          <p:nvPr>
            <p:ph idx="4294967295"/>
            <p:extLst>
              <p:ext uri="{D42A27DB-BD31-4B8C-83A1-F6EECF244321}">
                <p14:modId xmlns:p14="http://schemas.microsoft.com/office/powerpoint/2010/main" val="1286548598"/>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C7CB25F2-15EE-61CD-96F8-9E24F3CFB425}"/>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C8ACCE2D-6642-ED27-3E63-215D317EDF54}"/>
              </a:ext>
            </a:extLst>
          </p:cNvPr>
          <p:cNvGraphicFramePr>
            <a:graphicFrameLocks/>
          </p:cNvGraphicFramePr>
          <p:nvPr>
            <p:extLst>
              <p:ext uri="{D42A27DB-BD31-4B8C-83A1-F6EECF244321}">
                <p14:modId xmlns:p14="http://schemas.microsoft.com/office/powerpoint/2010/main" val="37712744"/>
              </p:ext>
            </p:extLst>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8D2AC029-204E-C851-0DBB-376972B8F647}"/>
              </a:ext>
            </a:extLst>
          </p:cNvPr>
          <p:cNvGraphicFramePr>
            <a:graphicFrameLocks/>
          </p:cNvGraphicFramePr>
          <p:nvPr>
            <p:extLst>
              <p:ext uri="{D42A27DB-BD31-4B8C-83A1-F6EECF244321}">
                <p14:modId xmlns:p14="http://schemas.microsoft.com/office/powerpoint/2010/main" val="3544346554"/>
              </p:ext>
            </p:extLst>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C1">
            <a:extLst>
              <a:ext uri="{FF2B5EF4-FFF2-40B4-BE49-F238E27FC236}">
                <a16:creationId xmlns:a16="http://schemas.microsoft.com/office/drawing/2014/main" id="{F3DC8CB2-3F2B-2774-573E-DFF620E84D4C}"/>
              </a:ext>
            </a:extLst>
          </p:cNvPr>
          <p:cNvGraphicFramePr>
            <a:graphicFrameLocks/>
          </p:cNvGraphicFramePr>
          <p:nvPr>
            <p:extLst>
              <p:ext uri="{D42A27DB-BD31-4B8C-83A1-F6EECF244321}">
                <p14:modId xmlns:p14="http://schemas.microsoft.com/office/powerpoint/2010/main" val="479509326"/>
              </p:ext>
            </p:extLst>
          </p:nvPr>
        </p:nvGraphicFramePr>
        <p:xfrm>
          <a:off x="6566444" y="1354754"/>
          <a:ext cx="2268000" cy="3374309"/>
        </p:xfrm>
        <a:graphic>
          <a:graphicData uri="http://schemas.openxmlformats.org/drawingml/2006/chart">
            <c:chart xmlns:c="http://schemas.openxmlformats.org/drawingml/2006/chart" xmlns:r="http://schemas.openxmlformats.org/officeDocument/2006/relationships" r:id="rId8"/>
          </a:graphicData>
        </a:graphic>
      </p:graphicFrame>
      <p:sp>
        <p:nvSpPr>
          <p:cNvPr id="16" name="TextBox 15">
            <a:extLst>
              <a:ext uri="{FF2B5EF4-FFF2-40B4-BE49-F238E27FC236}">
                <a16:creationId xmlns:a16="http://schemas.microsoft.com/office/drawing/2014/main" id="{8C8CB6BD-A844-74EC-CFEC-C58CFCC7C5EC}"/>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B18FE6A9-85ED-634C-B0DB-D9A4E7A1AD69}"/>
              </a:ext>
            </a:extLst>
          </p:cNvPr>
          <p:cNvGraphicFramePr>
            <a:graphicFrameLocks noGrp="1"/>
          </p:cNvGraphicFramePr>
          <p:nvPr/>
        </p:nvGraphicFramePr>
        <p:xfrm>
          <a:off x="720534" y="1121410"/>
          <a:ext cx="8113912"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gridCol w="2028478">
                  <a:extLst>
                    <a:ext uri="{9D8B030D-6E8A-4147-A177-3AD203B41FA5}">
                      <a16:colId xmlns:a16="http://schemas.microsoft.com/office/drawing/2014/main" val="3571608413"/>
                    </a:ext>
                  </a:extLst>
                </a:gridCol>
              </a:tblGrid>
              <a:tr h="235994">
                <a:tc>
                  <a:txBody>
                    <a:bodyPr/>
                    <a:lstStyle/>
                    <a:p>
                      <a:pPr algn="ctr">
                        <a:defRPr sz="1100">
                          <a:latin typeface="Nexa Book"/>
                        </a:defRPr>
                      </a:pPr>
                      <a:r>
                        <a:rPr b="1">
                          <a:solidFill>
                            <a:srgbClr val="575555"/>
                          </a:solidFill>
                        </a:rPr>
                        <a:t>Blanc De Blancs</a:t>
                      </a:r>
                    </a:p>
                  </a:txBody>
                  <a:tcPr anchor="ctr">
                    <a:solidFill>
                      <a:schemeClr val="bg2"/>
                    </a:solidFill>
                  </a:tcPr>
                </a:tc>
                <a:tc>
                  <a:txBody>
                    <a:bodyPr/>
                    <a:lstStyle/>
                    <a:p>
                      <a:pPr algn="ctr">
                        <a:defRPr sz="1100">
                          <a:latin typeface="Nexa Book"/>
                        </a:defRPr>
                      </a:pPr>
                      <a:r>
                        <a:rPr b="1">
                          <a:solidFill>
                            <a:srgbClr val="575555"/>
                          </a:solidFill>
                        </a:rPr>
                        <a:t>Bruts</a:t>
                      </a:r>
                    </a:p>
                  </a:txBody>
                  <a:tcPr anchor="ctr">
                    <a:solidFill>
                      <a:schemeClr val="bg2"/>
                    </a:solidFill>
                  </a:tcPr>
                </a:tc>
                <a:tc>
                  <a:txBody>
                    <a:bodyPr/>
                    <a:lstStyle/>
                    <a:p>
                      <a:pPr algn="ctr">
                        <a:defRPr sz="1100">
                          <a:latin typeface="Nexa Book"/>
                        </a:defRPr>
                      </a:pPr>
                      <a:r>
                        <a:rPr b="1">
                          <a:solidFill>
                            <a:srgbClr val="575555"/>
                          </a:solidFill>
                        </a:rPr>
                        <a:t>Crus</a:t>
                      </a:r>
                    </a:p>
                  </a:txBody>
                  <a:tcPr anchor="ctr">
                    <a:solidFill>
                      <a:schemeClr val="bg2"/>
                    </a:solidFill>
                  </a:tcPr>
                </a:tc>
                <a:tc>
                  <a:txBody>
                    <a:bodyPr/>
                    <a:lstStyle/>
                    <a:p>
                      <a:pPr algn="ctr">
                        <a:defRPr sz="1100">
                          <a:latin typeface="Nexa Book"/>
                        </a:defRPr>
                      </a:pPr>
                      <a:r>
                        <a:rPr b="1">
                          <a:solidFill>
                            <a:srgbClr val="575555"/>
                          </a:solidFill>
                        </a:rPr>
                        <a:t>Extra Brut</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477155779"/>
      </p:ext>
    </p:extLst>
  </p:cSld>
  <p:clrMapOvr>
    <a:masterClrMapping/>
  </p:clrMapOvr>
</p:sld>
</file>

<file path=ppt/slides/slide3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7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Effervescents | NICOLAS RH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06837848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61315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831143"/>
            <a:ext cx="4869366" cy="805706"/>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650506"/>
            <a:ext cx="4869366" cy="53258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196748"/>
            <a:ext cx="4869366" cy="107882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941074310"/>
      </p:ext>
    </p:extLst>
  </p:cSld>
  <p:clrMapOvr>
    <a:masterClrMapping/>
  </p:clrMapOvr>
</p:sld>
</file>

<file path=ppt/slides/slide3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7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Effervescents | NICOLAS AQU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86788353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628363"/>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846265"/>
            <a:ext cx="4869366" cy="800722"/>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660559"/>
            <a:ext cx="4869366" cy="529291"/>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203422"/>
            <a:ext cx="4869366" cy="1072153"/>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54675836"/>
      </p:ext>
    </p:extLst>
  </p:cSld>
  <p:clrMapOvr>
    <a:masterClrMapping/>
  </p:clrMapOvr>
</p:sld>
</file>

<file path=ppt/slides/slide3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7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Effervescents | NICOLAS ES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18848756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749430"/>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966660"/>
            <a:ext cx="4869366" cy="761039"/>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740598"/>
            <a:ext cx="4869366" cy="503059"/>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256557"/>
            <a:ext cx="4869366" cy="1019018"/>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124899739"/>
      </p:ext>
    </p:extLst>
  </p:cSld>
  <p:clrMapOvr>
    <a:masterClrMapping/>
  </p:clrMapOvr>
</p:sld>
</file>

<file path=ppt/slides/slide3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7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Effervescents | CA 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05970579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424887"/>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643920"/>
            <a:ext cx="4869366" cy="867417"/>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526039"/>
            <a:ext cx="4869366" cy="573377"/>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114119"/>
            <a:ext cx="4869366" cy="1161456"/>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008366391"/>
      </p:ext>
    </p:extLst>
  </p:cSld>
  <p:clrMapOvr>
    <a:masterClrMapping/>
  </p:clrMapOvr>
</p:sld>
</file>

<file path=ppt/slides/slide3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7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Effervescents | CA B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96543329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479477"/>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698206"/>
            <a:ext cx="4869366" cy="849523"/>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562129"/>
            <a:ext cx="4869366" cy="561549"/>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138077"/>
            <a:ext cx="4869366" cy="1137498"/>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776077270"/>
      </p:ext>
    </p:extLst>
  </p:cSld>
  <p:clrMapOvr>
    <a:masterClrMapping/>
  </p:clrMapOvr>
</p:sld>
</file>

<file path=ppt/slides/slide3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7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Effervescents | CA C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4409262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496377"/>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715013"/>
            <a:ext cx="4869366" cy="843984"/>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573302"/>
            <a:ext cx="4869366" cy="557888"/>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145495"/>
            <a:ext cx="4869366" cy="1130080"/>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279632106"/>
      </p:ext>
    </p:extLst>
  </p:cSld>
  <p:clrMapOvr>
    <a:masterClrMapping/>
  </p:clrMapOvr>
</p:sld>
</file>

<file path=ppt/slides/slide3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7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Effervescents | CA D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44757576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505935"/>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724518"/>
            <a:ext cx="4869366" cy="840851"/>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579621"/>
            <a:ext cx="4869366" cy="555816"/>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149690"/>
            <a:ext cx="4869366" cy="1125885"/>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433948710"/>
      </p:ext>
    </p:extLst>
  </p:cSld>
  <p:clrMapOvr>
    <a:masterClrMapping/>
  </p:clrMapOvr>
</p:sld>
</file>

<file path=ppt/slides/slide3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7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Effervescents | CA 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70601393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543471"/>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761845"/>
            <a:ext cx="4869366" cy="828548"/>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604436"/>
            <a:ext cx="4869366" cy="54768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166164"/>
            <a:ext cx="4869366" cy="1109411"/>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398540234"/>
      </p:ext>
    </p:extLst>
  </p:cSld>
  <p:clrMapOvr>
    <a:masterClrMapping/>
  </p:clrMapOvr>
</p:sld>
</file>

<file path=ppt/slides/slide3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7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hampagnes | Nationa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29796823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827640"/>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2044436"/>
            <a:ext cx="4869366" cy="735403"/>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792304"/>
            <a:ext cx="4869366" cy="48611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290883"/>
            <a:ext cx="4869366" cy="984692"/>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594766598"/>
      </p:ext>
    </p:extLst>
  </p:cSld>
  <p:clrMapOvr>
    <a:masterClrMapping/>
  </p:clrMapOvr>
</p:sld>
</file>

<file path=ppt/slides/slide3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7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hampagnes | NICOLA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0475274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24783"/>
            <a:ext cx="4869366" cy="1005568"/>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247395"/>
            <a:ext cx="4869366" cy="664697"/>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929136"/>
            <a:ext cx="4869366" cy="1346439"/>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47118841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08FC55-424A-ACCC-676F-44C3CCC9796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415BD49-9CDB-C892-E279-946572C3A129}"/>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BE947E9A-9EDC-50FE-5484-367359C894D7}"/>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6A5025B9-0C85-A050-B069-0AC43B6B8204}"/>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1004F20C-B07D-4614-4481-965EA185837B}"/>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A91D8E7D-FEEC-5BA1-EB74-93E5E7482F85}"/>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8</a:t>
            </a:fld>
            <a:endParaRPr lang="en-US" noProof="0"/>
          </a:p>
        </p:txBody>
      </p:sp>
      <p:sp>
        <p:nvSpPr>
          <p:cNvPr id="37" name="Text Placeholder 36">
            <a:extLst>
              <a:ext uri="{FF2B5EF4-FFF2-40B4-BE49-F238E27FC236}">
                <a16:creationId xmlns:a16="http://schemas.microsoft.com/office/drawing/2014/main" id="{FA0F6888-D5CC-383A-47AD-80C683524A7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2E389274-4FCB-6DE6-41BB-F4D26E075546}"/>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egment | National | P12M</a:t>
            </a:r>
          </a:p>
        </p:txBody>
      </p:sp>
      <p:sp>
        <p:nvSpPr>
          <p:cNvPr id="2" name="Title 1">
            <a:extLst>
              <a:ext uri="{FF2B5EF4-FFF2-40B4-BE49-F238E27FC236}">
                <a16:creationId xmlns:a16="http://schemas.microsoft.com/office/drawing/2014/main" id="{0B37106B-65BB-38CE-2DE5-FACF202E6E13}"/>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3AD1043F-CB15-E170-B712-2A89D1DA680D}"/>
              </a:ext>
            </a:extLst>
          </p:cNvPr>
          <p:cNvGraphicFramePr>
            <a:graphicFrameLocks noGrp="1"/>
          </p:cNvGraphicFramePr>
          <p:nvPr>
            <p:ph idx="4294967295"/>
            <p:extLst>
              <p:ext uri="{D42A27DB-BD31-4B8C-83A1-F6EECF244321}">
                <p14:modId xmlns:p14="http://schemas.microsoft.com/office/powerpoint/2010/main" val="3650746339"/>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C7CB25F2-15EE-61CD-96F8-9E24F3CFB425}"/>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C8ACCE2D-6642-ED27-3E63-215D317EDF54}"/>
              </a:ext>
            </a:extLst>
          </p:cNvPr>
          <p:cNvGraphicFramePr>
            <a:graphicFrameLocks/>
          </p:cNvGraphicFramePr>
          <p:nvPr>
            <p:extLst>
              <p:ext uri="{D42A27DB-BD31-4B8C-83A1-F6EECF244321}">
                <p14:modId xmlns:p14="http://schemas.microsoft.com/office/powerpoint/2010/main" val="3541249173"/>
              </p:ext>
            </p:extLst>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8D2AC029-204E-C851-0DBB-376972B8F647}"/>
              </a:ext>
            </a:extLst>
          </p:cNvPr>
          <p:cNvGraphicFramePr>
            <a:graphicFrameLocks/>
          </p:cNvGraphicFramePr>
          <p:nvPr>
            <p:extLst>
              <p:ext uri="{D42A27DB-BD31-4B8C-83A1-F6EECF244321}">
                <p14:modId xmlns:p14="http://schemas.microsoft.com/office/powerpoint/2010/main" val="3786929628"/>
              </p:ext>
            </p:extLst>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C1">
            <a:extLst>
              <a:ext uri="{FF2B5EF4-FFF2-40B4-BE49-F238E27FC236}">
                <a16:creationId xmlns:a16="http://schemas.microsoft.com/office/drawing/2014/main" id="{F3DC8CB2-3F2B-2774-573E-DFF620E84D4C}"/>
              </a:ext>
            </a:extLst>
          </p:cNvPr>
          <p:cNvGraphicFramePr>
            <a:graphicFrameLocks/>
          </p:cNvGraphicFramePr>
          <p:nvPr>
            <p:extLst>
              <p:ext uri="{D42A27DB-BD31-4B8C-83A1-F6EECF244321}">
                <p14:modId xmlns:p14="http://schemas.microsoft.com/office/powerpoint/2010/main" val="838136906"/>
              </p:ext>
            </p:extLst>
          </p:nvPr>
        </p:nvGraphicFramePr>
        <p:xfrm>
          <a:off x="6566444" y="1354754"/>
          <a:ext cx="2268000" cy="3374309"/>
        </p:xfrm>
        <a:graphic>
          <a:graphicData uri="http://schemas.openxmlformats.org/drawingml/2006/chart">
            <c:chart xmlns:c="http://schemas.openxmlformats.org/drawingml/2006/chart" xmlns:r="http://schemas.openxmlformats.org/officeDocument/2006/relationships" r:id="rId8"/>
          </a:graphicData>
        </a:graphic>
      </p:graphicFrame>
      <p:sp>
        <p:nvSpPr>
          <p:cNvPr id="16" name="TextBox 15">
            <a:extLst>
              <a:ext uri="{FF2B5EF4-FFF2-40B4-BE49-F238E27FC236}">
                <a16:creationId xmlns:a16="http://schemas.microsoft.com/office/drawing/2014/main" id="{8C8CB6BD-A844-74EC-CFEC-C58CFCC7C5EC}"/>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B18FE6A9-85ED-634C-B0DB-D9A4E7A1AD69}"/>
              </a:ext>
            </a:extLst>
          </p:cNvPr>
          <p:cNvGraphicFramePr>
            <a:graphicFrameLocks noGrp="1"/>
          </p:cNvGraphicFramePr>
          <p:nvPr/>
        </p:nvGraphicFramePr>
        <p:xfrm>
          <a:off x="720534" y="1121410"/>
          <a:ext cx="8113912"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gridCol w="2028478">
                  <a:extLst>
                    <a:ext uri="{9D8B030D-6E8A-4147-A177-3AD203B41FA5}">
                      <a16:colId xmlns:a16="http://schemas.microsoft.com/office/drawing/2014/main" val="3571608413"/>
                    </a:ext>
                  </a:extLst>
                </a:gridCol>
              </a:tblGrid>
              <a:tr h="235994">
                <a:tc>
                  <a:txBody>
                    <a:bodyPr/>
                    <a:lstStyle/>
                    <a:p>
                      <a:pPr algn="ctr">
                        <a:defRPr sz="1100">
                          <a:latin typeface="Nexa Book"/>
                        </a:defRPr>
                      </a:pPr>
                      <a:r>
                        <a:rPr b="1">
                          <a:solidFill>
                            <a:srgbClr val="575555"/>
                          </a:solidFill>
                        </a:rPr>
                        <a:t>Millesimes</a:t>
                      </a:r>
                    </a:p>
                  </a:txBody>
                  <a:tcPr anchor="ctr">
                    <a:solidFill>
                      <a:schemeClr val="bg2"/>
                    </a:solidFill>
                  </a:tcPr>
                </a:tc>
                <a:tc>
                  <a:txBody>
                    <a:bodyPr/>
                    <a:lstStyle/>
                    <a:p>
                      <a:pPr algn="ctr">
                        <a:defRPr sz="1100">
                          <a:latin typeface="Nexa Book"/>
                        </a:defRPr>
                      </a:pPr>
                      <a:r>
                        <a:rPr b="1">
                          <a:solidFill>
                            <a:srgbClr val="575555"/>
                          </a:solidFill>
                        </a:rPr>
                        <a:t>Rosés</a:t>
                      </a:r>
                    </a:p>
                  </a:txBody>
                  <a:tcPr anchor="ctr">
                    <a:solidFill>
                      <a:schemeClr val="bg2"/>
                    </a:solidFill>
                  </a:tcPr>
                </a:tc>
                <a:tc>
                  <a:txBody>
                    <a:bodyPr/>
                    <a:lstStyle/>
                    <a:p>
                      <a:pPr algn="ctr">
                        <a:defRPr sz="1100">
                          <a:latin typeface="Nexa Book"/>
                        </a:defRPr>
                      </a:pPr>
                      <a:r>
                        <a:rPr b="1">
                          <a:solidFill>
                            <a:srgbClr val="575555"/>
                          </a:solidFill>
                        </a:rPr>
                        <a:t>Mousseux Bourgogne</a:t>
                      </a:r>
                    </a:p>
                  </a:txBody>
                  <a:tcPr anchor="ctr">
                    <a:solidFill>
                      <a:schemeClr val="bg2"/>
                    </a:solidFill>
                  </a:tcPr>
                </a:tc>
                <a:tc>
                  <a:txBody>
                    <a:bodyPr/>
                    <a:lstStyle/>
                    <a:p>
                      <a:pPr algn="ctr">
                        <a:defRPr sz="1100">
                          <a:latin typeface="Nexa Book"/>
                        </a:defRPr>
                      </a:pPr>
                      <a:r>
                        <a:rPr b="1">
                          <a:solidFill>
                            <a:srgbClr val="575555"/>
                          </a:solidFill>
                        </a:rPr>
                        <a:t>Mousseux Italiens</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966018311"/>
      </p:ext>
    </p:extLst>
  </p:cSld>
  <p:clrMapOvr>
    <a:masterClrMapping/>
  </p:clrMapOvr>
</p:sld>
</file>

<file path=ppt/slides/slide3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8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hampagnes | HMSM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71319367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722799"/>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940177"/>
            <a:ext cx="4869366" cy="769768"/>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722992"/>
            <a:ext cx="4869366" cy="508829"/>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244869"/>
            <a:ext cx="4869366" cy="1030706"/>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874456559"/>
      </p:ext>
    </p:extLst>
  </p:cSld>
  <p:clrMapOvr>
    <a:masterClrMapping/>
  </p:clrMapOvr>
</p:sld>
</file>

<file path=ppt/slides/slide3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8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hampagnes | NICOLAS QC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9629278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23089"/>
            <a:ext cx="4869366" cy="1006126"/>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246269"/>
            <a:ext cx="4869366" cy="665066"/>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928389"/>
            <a:ext cx="4869366" cy="1347186"/>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487169984"/>
      </p:ext>
    </p:extLst>
  </p:cSld>
  <p:clrMapOvr>
    <a:masterClrMapping/>
  </p:clrMapOvr>
</p:sld>
</file>

<file path=ppt/slides/slide3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8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hampagnes | NICOLAS VC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1064288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94269"/>
            <a:ext cx="4869366" cy="98266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293590"/>
            <a:ext cx="4869366" cy="649558"/>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959804"/>
            <a:ext cx="4869366" cy="1315771"/>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260128361"/>
      </p:ext>
    </p:extLst>
  </p:cSld>
  <p:clrMapOvr>
    <a:masterClrMapping/>
  </p:clrMapOvr>
</p:sld>
</file>

<file path=ppt/slides/slide3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8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hampagnes | NICOLAS QC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90833437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970051"/>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191892"/>
            <a:ext cx="4869366" cy="682887"/>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892290"/>
            <a:ext cx="4869366" cy="1383285"/>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211997521"/>
      </p:ext>
    </p:extLst>
  </p:cSld>
  <p:clrMapOvr>
    <a:masterClrMapping/>
  </p:clrMapOvr>
</p:sld>
</file>

<file path=ppt/slides/slide3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8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hampagnes | NICOLAS QC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48776049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91598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138276"/>
            <a:ext cx="4869366" cy="700459"/>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856696"/>
            <a:ext cx="4869366" cy="1418879"/>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999672527"/>
      </p:ext>
    </p:extLst>
  </p:cSld>
  <p:clrMapOvr>
    <a:masterClrMapping/>
  </p:clrMapOvr>
</p:sld>
</file>

<file path=ppt/slides/slide3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8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hampagnes | NICOLAS CCP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29045892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967652"/>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189513"/>
            <a:ext cx="4869366" cy="683667"/>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890710"/>
            <a:ext cx="4869366" cy="1384865"/>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451867733"/>
      </p:ext>
    </p:extLst>
  </p:cSld>
  <p:clrMapOvr>
    <a:masterClrMapping/>
  </p:clrMapOvr>
</p:sld>
</file>

<file path=ppt/slides/slide3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8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hampagnes | NICOLAS IDF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72410343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1007698"/>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229225"/>
            <a:ext cx="4869366" cy="670652"/>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917074"/>
            <a:ext cx="4869366" cy="1358501"/>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689653522"/>
      </p:ext>
    </p:extLst>
  </p:cSld>
  <p:clrMapOvr>
    <a:masterClrMapping/>
  </p:clrMapOvr>
</p:sld>
</file>

<file path=ppt/slides/slide3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8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hampagnes | NICOLAS PAC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49057325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1004226"/>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225782"/>
            <a:ext cx="4869366" cy="671781"/>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914788"/>
            <a:ext cx="4869366" cy="136078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858859417"/>
      </p:ext>
    </p:extLst>
  </p:cSld>
  <p:clrMapOvr>
    <a:masterClrMapping/>
  </p:clrMapOvr>
</p:sld>
</file>

<file path=ppt/slides/slide3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8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hampagnes | NICOLAS RH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47233823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36588"/>
            <a:ext cx="4869366" cy="1001677"/>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255243"/>
            <a:ext cx="4869366" cy="66212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934346"/>
            <a:ext cx="4869366" cy="1341229"/>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005836071"/>
      </p:ext>
    </p:extLst>
  </p:cSld>
  <p:clrMapOvr>
    <a:masterClrMapping/>
  </p:clrMapOvr>
</p:sld>
</file>

<file path=ppt/slides/slide3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8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hampagnes | NICOLAS AQU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69868781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386701"/>
            <a:ext cx="4869366" cy="952198"/>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355039"/>
            <a:ext cx="4869366" cy="629419"/>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000597"/>
            <a:ext cx="4869366" cy="1274978"/>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15111574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65918C-CF2D-B9BE-373E-8055AB4F589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BE947E9A-9EDC-50FE-5484-367359C894D7}"/>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DC475BB2-0528-29FB-C158-9EF2E6156FB0}"/>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C87CB3FA-1793-85BB-0720-68CB9A322CAF}"/>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300044B2-FAA5-2879-ADFC-6874BBAF83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DA8BB0C0-E087-2E71-1F6D-E725250BE3D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9</a:t>
            </a:fld>
            <a:endParaRPr lang="en-US" noProof="0"/>
          </a:p>
        </p:txBody>
      </p:sp>
      <p:sp>
        <p:nvSpPr>
          <p:cNvPr id="37" name="Text Placeholder 36">
            <a:extLst>
              <a:ext uri="{FF2B5EF4-FFF2-40B4-BE49-F238E27FC236}">
                <a16:creationId xmlns:a16="http://schemas.microsoft.com/office/drawing/2014/main" id="{4918FA18-B639-A629-2E9B-674B54B4AACA}"/>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37405B8B-A5F3-F9D8-A571-2F38544BBDBA}"/>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egment | National | P12M</a:t>
            </a:r>
          </a:p>
        </p:txBody>
      </p:sp>
      <p:sp>
        <p:nvSpPr>
          <p:cNvPr id="2" name="Title 1">
            <a:extLst>
              <a:ext uri="{FF2B5EF4-FFF2-40B4-BE49-F238E27FC236}">
                <a16:creationId xmlns:a16="http://schemas.microsoft.com/office/drawing/2014/main" id="{12784FBB-01F7-DE64-BC02-E8B59B51E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8694A9E2-2E6E-DE42-FC36-3888D1308CB4}"/>
              </a:ext>
            </a:extLst>
          </p:cNvPr>
          <p:cNvGraphicFramePr>
            <a:graphicFrameLocks noGrp="1"/>
          </p:cNvGraphicFramePr>
          <p:nvPr>
            <p:ph idx="4294967295"/>
            <p:extLst>
              <p:ext uri="{D42A27DB-BD31-4B8C-83A1-F6EECF244321}">
                <p14:modId xmlns:p14="http://schemas.microsoft.com/office/powerpoint/2010/main" val="908626993"/>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F456CAE2-40D9-C89C-01D4-02D92ECC325F}"/>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9C31F180-BE4C-077E-6172-FE9EFF5651B0}"/>
              </a:ext>
            </a:extLst>
          </p:cNvPr>
          <p:cNvGraphicFramePr>
            <a:graphicFrameLocks/>
          </p:cNvGraphicFramePr>
          <p:nvPr>
            <p:extLst>
              <p:ext uri="{D42A27DB-BD31-4B8C-83A1-F6EECF244321}">
                <p14:modId xmlns:p14="http://schemas.microsoft.com/office/powerpoint/2010/main" val="92555242"/>
              </p:ext>
            </p:extLst>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01B1A8DD-FED6-2C47-296D-0983D1E720B2}"/>
              </a:ext>
            </a:extLst>
          </p:cNvPr>
          <p:cNvGraphicFramePr>
            <a:graphicFrameLocks/>
          </p:cNvGraphicFramePr>
          <p:nvPr>
            <p:extLst>
              <p:ext uri="{D42A27DB-BD31-4B8C-83A1-F6EECF244321}">
                <p14:modId xmlns:p14="http://schemas.microsoft.com/office/powerpoint/2010/main" val="2266977683"/>
              </p:ext>
            </p:extLst>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sp>
        <p:nvSpPr>
          <p:cNvPr id="16" name="TextBox 15">
            <a:extLst>
              <a:ext uri="{FF2B5EF4-FFF2-40B4-BE49-F238E27FC236}">
                <a16:creationId xmlns:a16="http://schemas.microsoft.com/office/drawing/2014/main" id="{2B180312-FE46-D4C9-3734-1E3750820943}"/>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4DB211A7-591C-E03E-65DC-47EB4C0D8D03}"/>
              </a:ext>
            </a:extLst>
          </p:cNvPr>
          <p:cNvGraphicFramePr>
            <a:graphicFrameLocks noGrp="1"/>
          </p:cNvGraphicFramePr>
          <p:nvPr>
            <p:extLst>
              <p:ext uri="{D42A27DB-BD31-4B8C-83A1-F6EECF244321}">
                <p14:modId xmlns:p14="http://schemas.microsoft.com/office/powerpoint/2010/main" val="2790109015"/>
              </p:ext>
            </p:extLst>
          </p:nvPr>
        </p:nvGraphicFramePr>
        <p:xfrm>
          <a:off x="720534" y="1121410"/>
          <a:ext cx="6085434"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tblGrid>
              <a:tr h="235994">
                <a:tc>
                  <a:txBody>
                    <a:bodyPr/>
                    <a:lstStyle/>
                    <a:p>
                      <a:pPr algn="ctr">
                        <a:defRPr sz="1100">
                          <a:latin typeface="Nexa Book"/>
                        </a:defRPr>
                      </a:pPr>
                      <a:r>
                        <a:rPr b="1">
                          <a:solidFill>
                            <a:srgbClr val="575555"/>
                          </a:solidFill>
                        </a:rPr>
                        <a:t>Mousseux Val De Loire</a:t>
                      </a:r>
                    </a:p>
                  </a:txBody>
                  <a:tcPr anchor="ctr">
                    <a:solidFill>
                      <a:schemeClr val="bg2"/>
                    </a:solidFill>
                  </a:tcPr>
                </a:tc>
                <a:tc>
                  <a:txBody>
                    <a:bodyPr/>
                    <a:lstStyle/>
                    <a:p>
                      <a:pPr algn="ctr">
                        <a:defRPr sz="1100">
                          <a:latin typeface="Nexa Book"/>
                        </a:defRPr>
                      </a:pPr>
                      <a:r>
                        <a:rPr b="1">
                          <a:solidFill>
                            <a:srgbClr val="575555"/>
                          </a:solidFill>
                        </a:rPr>
                        <a:t>Mousseux Alsace</a:t>
                      </a:r>
                    </a:p>
                  </a:txBody>
                  <a:tcPr anchor="ctr">
                    <a:solidFill>
                      <a:schemeClr val="bg2"/>
                    </a:solidFill>
                  </a:tcPr>
                </a:tc>
                <a:tc>
                  <a:txBody>
                    <a:bodyPr/>
                    <a:lstStyle/>
                    <a:p>
                      <a:pPr algn="ctr">
                        <a:defRPr sz="1100">
                          <a:latin typeface="Nexa Book"/>
                        </a:defRPr>
                      </a:pPr>
                      <a:r>
                        <a:rPr b="1">
                          <a:solidFill>
                            <a:srgbClr val="575555"/>
                          </a:solidFill>
                        </a:rPr>
                        <a:t>Mousseux Bordelais</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2621494571"/>
      </p:ext>
    </p:extLst>
  </p:cSld>
  <p:clrMapOvr>
    <a:masterClrMapping/>
  </p:clrMapOvr>
</p:sld>
</file>

<file path=ppt/slides/slide3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9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hampagnes | NICOLAS ES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409735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352913"/>
            <a:ext cx="4869366" cy="9633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332576"/>
            <a:ext cx="4869366" cy="636781"/>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985685"/>
            <a:ext cx="4869366" cy="1289890"/>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429481468"/>
      </p:ext>
    </p:extLst>
  </p:cSld>
  <p:clrMapOvr>
    <a:masterClrMapping/>
  </p:clrMapOvr>
</p:sld>
</file>

<file path=ppt/slides/slide3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9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hampagnes | CA 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75482440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1007698"/>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229225"/>
            <a:ext cx="4869366" cy="670652"/>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917074"/>
            <a:ext cx="4869366" cy="1358501"/>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671770051"/>
      </p:ext>
    </p:extLst>
  </p:cSld>
  <p:clrMapOvr>
    <a:masterClrMapping/>
  </p:clrMapOvr>
</p:sld>
</file>

<file path=ppt/slides/slide3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9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hampagnes | CA B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14161278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1006542"/>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228079"/>
            <a:ext cx="4869366" cy="671028"/>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916313"/>
            <a:ext cx="4869366" cy="1359262"/>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891939495"/>
      </p:ext>
    </p:extLst>
  </p:cSld>
  <p:clrMapOvr>
    <a:masterClrMapping/>
  </p:clrMapOvr>
</p:sld>
</file>

<file path=ppt/slides/slide3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9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hampagnes | CA C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23489814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36588"/>
            <a:ext cx="4869366" cy="1001677"/>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255243"/>
            <a:ext cx="4869366" cy="66212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934346"/>
            <a:ext cx="4869366" cy="1341229"/>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368779234"/>
      </p:ext>
    </p:extLst>
  </p:cSld>
  <p:clrMapOvr>
    <a:masterClrMapping/>
  </p:clrMapOvr>
</p:sld>
</file>

<file path=ppt/slides/slide3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9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hampagnes | CA D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99151346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28165"/>
            <a:ext cx="4869366" cy="1004453"/>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249643"/>
            <a:ext cx="4869366" cy="663960"/>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930629"/>
            <a:ext cx="4869366" cy="1344946"/>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7870606"/>
      </p:ext>
    </p:extLst>
  </p:cSld>
  <p:clrMapOvr>
    <a:masterClrMapping/>
  </p:clrMapOvr>
</p:sld>
</file>

<file path=ppt/slides/slide3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9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hampagnes | CA 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10648651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34907"/>
            <a:ext cx="4869366" cy="1002231"/>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254126"/>
            <a:ext cx="4869366" cy="662492"/>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933605"/>
            <a:ext cx="4869366" cy="1341970"/>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524547600"/>
      </p:ext>
    </p:extLst>
  </p:cSld>
  <p:clrMapOvr>
    <a:masterClrMapping/>
  </p:clrMapOvr>
</p:sld>
</file>

<file path=ppt/slides/slide3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9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 Nationa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19817597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379793"/>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599077"/>
            <a:ext cx="4869366" cy="882197"/>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496227"/>
            <a:ext cx="4869366" cy="583147"/>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094327"/>
            <a:ext cx="4869366" cy="1181248"/>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771785130"/>
      </p:ext>
    </p:extLst>
  </p:cSld>
  <p:clrMapOvr>
    <a:masterClrMapping/>
  </p:clrMapOvr>
</p:sld>
</file>

<file path=ppt/slides/slide3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9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 NICOLA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62303718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330997"/>
            <a:ext cx="4869366" cy="970559"/>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318006"/>
            <a:ext cx="4869366" cy="641556"/>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976013"/>
            <a:ext cx="4869366" cy="1299562"/>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184811077"/>
      </p:ext>
    </p:extLst>
  </p:cSld>
  <p:clrMapOvr>
    <a:masterClrMapping/>
  </p:clrMapOvr>
</p:sld>
</file>

<file path=ppt/slides/slide3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9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 HMSM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26310816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391535"/>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610753"/>
            <a:ext cx="4869366" cy="878349"/>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503990"/>
            <a:ext cx="4869366" cy="580603"/>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099481"/>
            <a:ext cx="4869366" cy="1176094"/>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928999263"/>
      </p:ext>
    </p:extLst>
  </p:cSld>
  <p:clrMapOvr>
    <a:masterClrMapping/>
  </p:clrMapOvr>
</p:sld>
</file>

<file path=ppt/slides/slide3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9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 NICOLAS QC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89213201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318325"/>
            <a:ext cx="4869366" cy="974736"/>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309582"/>
            <a:ext cx="4869366" cy="644317"/>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970420"/>
            <a:ext cx="4869366" cy="1305155"/>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19842372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17F39D-9FE7-D5EF-D981-D08E2C3E7E72}"/>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6C569F5-3F88-086F-5B00-1E8A66D0F786}"/>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1E5943C8-93A2-CE99-9DC9-6106E372503B}"/>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58EF6AC-09CE-D3E4-3CE4-FEF3C28940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7F0F218-5714-F2E2-17DE-F734014EA97B}"/>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a:t>
            </a:fld>
            <a:endParaRPr lang="en-US" noProof="0"/>
          </a:p>
        </p:txBody>
      </p:sp>
      <p:sp>
        <p:nvSpPr>
          <p:cNvPr id="37" name="Text Placeholder 36">
            <a:extLst>
              <a:ext uri="{FF2B5EF4-FFF2-40B4-BE49-F238E27FC236}">
                <a16:creationId xmlns:a16="http://schemas.microsoft.com/office/drawing/2014/main" id="{5136C012-8234-3446-6BA4-D2A4ED46798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09B51F99-F9B2-A31A-6316-FFD484BF748A}"/>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Category | NICOLAS QCN | P12M</a:t>
            </a:r>
          </a:p>
        </p:txBody>
      </p:sp>
      <p:sp>
        <p:nvSpPr>
          <p:cNvPr id="2" name="Title 1">
            <a:extLst>
              <a:ext uri="{FF2B5EF4-FFF2-40B4-BE49-F238E27FC236}">
                <a16:creationId xmlns:a16="http://schemas.microsoft.com/office/drawing/2014/main" id="{119F61F6-E75A-45A7-FB48-021A4AD44DFE}"/>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452FBD9-A58C-004E-EBFE-BF25D0D39B4C}"/>
              </a:ext>
            </a:extLst>
          </p:cNvPr>
          <p:cNvGraphicFramePr>
            <a:graphicFrameLocks noGrp="1"/>
          </p:cNvGraphicFramePr>
          <p:nvPr>
            <p:ph idx="4294967295"/>
            <p:extLst>
              <p:ext uri="{D42A27DB-BD31-4B8C-83A1-F6EECF244321}">
                <p14:modId xmlns:p14="http://schemas.microsoft.com/office/powerpoint/2010/main" val="2263965048"/>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B0F72B-C6D2-6D8D-0FC6-9AC4097CBCC1}"/>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sp>
        <p:nvSpPr>
          <p:cNvPr id="16" name="TextBox 15">
            <a:extLst>
              <a:ext uri="{FF2B5EF4-FFF2-40B4-BE49-F238E27FC236}">
                <a16:creationId xmlns:a16="http://schemas.microsoft.com/office/drawing/2014/main" id="{46D148F4-12D7-0EF3-ABFE-35612660B26D}"/>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F3F720E0-CF35-ADEF-C27B-40DD4DEC2868}"/>
              </a:ext>
            </a:extLst>
          </p:cNvPr>
          <p:cNvGraphicFramePr>
            <a:graphicFrameLocks noGrp="1"/>
          </p:cNvGraphicFramePr>
          <p:nvPr>
            <p:extLst>
              <p:ext uri="{D42A27DB-BD31-4B8C-83A1-F6EECF244321}">
                <p14:modId xmlns:p14="http://schemas.microsoft.com/office/powerpoint/2010/main" val="635621620"/>
              </p:ext>
            </p:extLst>
          </p:nvPr>
        </p:nvGraphicFramePr>
        <p:xfrm>
          <a:off x="720534" y="1121410"/>
          <a:ext cx="2028478"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tblGrid>
              <a:tr h="235994">
                <a:tc>
                  <a:txBody>
                    <a:bodyPr/>
                    <a:lstStyle/>
                    <a:p>
                      <a:pPr algn="ctr">
                        <a:defRPr sz="1100">
                          <a:latin typeface="Nexa Book"/>
                        </a:defRPr>
                      </a:pPr>
                      <a:r>
                        <a:rPr b="1">
                          <a:solidFill>
                            <a:srgbClr val="575555"/>
                          </a:solidFill>
                        </a:rPr>
                        <a:t>Effervescents</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2212813093"/>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08FC55-424A-ACCC-676F-44C3CCC9796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415BD49-9CDB-C892-E279-946572C3A129}"/>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BE947E9A-9EDC-50FE-5484-367359C894D7}"/>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6A5025B9-0C85-A050-B069-0AC43B6B8204}"/>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1004F20C-B07D-4614-4481-965EA185837B}"/>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A91D8E7D-FEEC-5BA1-EB74-93E5E7482F85}"/>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0</a:t>
            </a:fld>
            <a:endParaRPr lang="en-US" noProof="0"/>
          </a:p>
        </p:txBody>
      </p:sp>
      <p:sp>
        <p:nvSpPr>
          <p:cNvPr id="37" name="Text Placeholder 36">
            <a:extLst>
              <a:ext uri="{FF2B5EF4-FFF2-40B4-BE49-F238E27FC236}">
                <a16:creationId xmlns:a16="http://schemas.microsoft.com/office/drawing/2014/main" id="{FA0F6888-D5CC-383A-47AD-80C683524A7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2E389274-4FCB-6DE6-41BB-F4D26E075546}"/>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egment | NICOLAS | P12M</a:t>
            </a:r>
          </a:p>
        </p:txBody>
      </p:sp>
      <p:sp>
        <p:nvSpPr>
          <p:cNvPr id="2" name="Title 1">
            <a:extLst>
              <a:ext uri="{FF2B5EF4-FFF2-40B4-BE49-F238E27FC236}">
                <a16:creationId xmlns:a16="http://schemas.microsoft.com/office/drawing/2014/main" id="{0B37106B-65BB-38CE-2DE5-FACF202E6E13}"/>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3AD1043F-CB15-E170-B712-2A89D1DA680D}"/>
              </a:ext>
            </a:extLst>
          </p:cNvPr>
          <p:cNvGraphicFramePr>
            <a:graphicFrameLocks noGrp="1"/>
          </p:cNvGraphicFramePr>
          <p:nvPr>
            <p:ph idx="4294967295"/>
            <p:extLst>
              <p:ext uri="{D42A27DB-BD31-4B8C-83A1-F6EECF244321}">
                <p14:modId xmlns:p14="http://schemas.microsoft.com/office/powerpoint/2010/main" val="1056881789"/>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C7CB25F2-15EE-61CD-96F8-9E24F3CFB425}"/>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C8ACCE2D-6642-ED27-3E63-215D317EDF54}"/>
              </a:ext>
            </a:extLst>
          </p:cNvPr>
          <p:cNvGraphicFramePr>
            <a:graphicFrameLocks/>
          </p:cNvGraphicFramePr>
          <p:nvPr>
            <p:extLst>
              <p:ext uri="{D42A27DB-BD31-4B8C-83A1-F6EECF244321}">
                <p14:modId xmlns:p14="http://schemas.microsoft.com/office/powerpoint/2010/main" val="1737669901"/>
              </p:ext>
            </p:extLst>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8D2AC029-204E-C851-0DBB-376972B8F647}"/>
              </a:ext>
            </a:extLst>
          </p:cNvPr>
          <p:cNvGraphicFramePr>
            <a:graphicFrameLocks/>
          </p:cNvGraphicFramePr>
          <p:nvPr>
            <p:extLst>
              <p:ext uri="{D42A27DB-BD31-4B8C-83A1-F6EECF244321}">
                <p14:modId xmlns:p14="http://schemas.microsoft.com/office/powerpoint/2010/main" val="3030791713"/>
              </p:ext>
            </p:extLst>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C1">
            <a:extLst>
              <a:ext uri="{FF2B5EF4-FFF2-40B4-BE49-F238E27FC236}">
                <a16:creationId xmlns:a16="http://schemas.microsoft.com/office/drawing/2014/main" id="{F3DC8CB2-3F2B-2774-573E-DFF620E84D4C}"/>
              </a:ext>
            </a:extLst>
          </p:cNvPr>
          <p:cNvGraphicFramePr>
            <a:graphicFrameLocks/>
          </p:cNvGraphicFramePr>
          <p:nvPr>
            <p:extLst>
              <p:ext uri="{D42A27DB-BD31-4B8C-83A1-F6EECF244321}">
                <p14:modId xmlns:p14="http://schemas.microsoft.com/office/powerpoint/2010/main" val="3498721988"/>
              </p:ext>
            </p:extLst>
          </p:nvPr>
        </p:nvGraphicFramePr>
        <p:xfrm>
          <a:off x="6566444" y="1354754"/>
          <a:ext cx="2268000" cy="3374309"/>
        </p:xfrm>
        <a:graphic>
          <a:graphicData uri="http://schemas.openxmlformats.org/drawingml/2006/chart">
            <c:chart xmlns:c="http://schemas.openxmlformats.org/drawingml/2006/chart" xmlns:r="http://schemas.openxmlformats.org/officeDocument/2006/relationships" r:id="rId8"/>
          </a:graphicData>
        </a:graphic>
      </p:graphicFrame>
      <p:sp>
        <p:nvSpPr>
          <p:cNvPr id="16" name="TextBox 15">
            <a:extLst>
              <a:ext uri="{FF2B5EF4-FFF2-40B4-BE49-F238E27FC236}">
                <a16:creationId xmlns:a16="http://schemas.microsoft.com/office/drawing/2014/main" id="{8C8CB6BD-A844-74EC-CFEC-C58CFCC7C5EC}"/>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B18FE6A9-85ED-634C-B0DB-D9A4E7A1AD69}"/>
              </a:ext>
            </a:extLst>
          </p:cNvPr>
          <p:cNvGraphicFramePr>
            <a:graphicFrameLocks noGrp="1"/>
          </p:cNvGraphicFramePr>
          <p:nvPr/>
        </p:nvGraphicFramePr>
        <p:xfrm>
          <a:off x="720534" y="1121410"/>
          <a:ext cx="8113912"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gridCol w="2028478">
                  <a:extLst>
                    <a:ext uri="{9D8B030D-6E8A-4147-A177-3AD203B41FA5}">
                      <a16:colId xmlns:a16="http://schemas.microsoft.com/office/drawing/2014/main" val="3571608413"/>
                    </a:ext>
                  </a:extLst>
                </a:gridCol>
              </a:tblGrid>
              <a:tr h="235994">
                <a:tc>
                  <a:txBody>
                    <a:bodyPr/>
                    <a:lstStyle/>
                    <a:p>
                      <a:pPr algn="ctr">
                        <a:defRPr sz="1100">
                          <a:latin typeface="Nexa Book"/>
                        </a:defRPr>
                      </a:pPr>
                      <a:r>
                        <a:rPr b="1">
                          <a:solidFill>
                            <a:srgbClr val="575555"/>
                          </a:solidFill>
                        </a:rPr>
                        <a:t>Blanc De Blancs</a:t>
                      </a:r>
                    </a:p>
                  </a:txBody>
                  <a:tcPr anchor="ctr">
                    <a:solidFill>
                      <a:schemeClr val="bg2"/>
                    </a:solidFill>
                  </a:tcPr>
                </a:tc>
                <a:tc>
                  <a:txBody>
                    <a:bodyPr/>
                    <a:lstStyle/>
                    <a:p>
                      <a:pPr algn="ctr">
                        <a:defRPr sz="1100">
                          <a:latin typeface="Nexa Book"/>
                        </a:defRPr>
                      </a:pPr>
                      <a:r>
                        <a:rPr b="1">
                          <a:solidFill>
                            <a:srgbClr val="575555"/>
                          </a:solidFill>
                        </a:rPr>
                        <a:t>Bruts</a:t>
                      </a:r>
                    </a:p>
                  </a:txBody>
                  <a:tcPr anchor="ctr">
                    <a:solidFill>
                      <a:schemeClr val="bg2"/>
                    </a:solidFill>
                  </a:tcPr>
                </a:tc>
                <a:tc>
                  <a:txBody>
                    <a:bodyPr/>
                    <a:lstStyle/>
                    <a:p>
                      <a:pPr algn="ctr">
                        <a:defRPr sz="1100">
                          <a:latin typeface="Nexa Book"/>
                        </a:defRPr>
                      </a:pPr>
                      <a:r>
                        <a:rPr b="1">
                          <a:solidFill>
                            <a:srgbClr val="575555"/>
                          </a:solidFill>
                        </a:rPr>
                        <a:t>Crus</a:t>
                      </a:r>
                    </a:p>
                  </a:txBody>
                  <a:tcPr anchor="ctr">
                    <a:solidFill>
                      <a:schemeClr val="bg2"/>
                    </a:solidFill>
                  </a:tcPr>
                </a:tc>
                <a:tc>
                  <a:txBody>
                    <a:bodyPr/>
                    <a:lstStyle/>
                    <a:p>
                      <a:pPr algn="ctr">
                        <a:defRPr sz="1100">
                          <a:latin typeface="Nexa Book"/>
                        </a:defRPr>
                      </a:pPr>
                      <a:r>
                        <a:rPr b="1">
                          <a:solidFill>
                            <a:srgbClr val="575555"/>
                          </a:solidFill>
                        </a:rPr>
                        <a:t>Extra Brut</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2587219902"/>
      </p:ext>
    </p:extLst>
  </p:cSld>
  <p:clrMapOvr>
    <a:masterClrMapping/>
  </p:clrMapOvr>
</p:sld>
</file>

<file path=ppt/slides/slide4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0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 NICOLAS VC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6287556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303938"/>
            <a:ext cx="4869366" cy="979478"/>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300018"/>
            <a:ext cx="4869366" cy="647451"/>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964071"/>
            <a:ext cx="4869366" cy="1311504"/>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455229537"/>
      </p:ext>
    </p:extLst>
  </p:cSld>
  <p:clrMapOvr>
    <a:masterClrMapping/>
  </p:clrMapOvr>
</p:sld>
</file>

<file path=ppt/slides/slide4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0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 NICOLAS QC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92398016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332573"/>
            <a:ext cx="4869366" cy="970039"/>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319054"/>
            <a:ext cx="4869366" cy="641212"/>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976709"/>
            <a:ext cx="4869366" cy="1298866"/>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319944651"/>
      </p:ext>
    </p:extLst>
  </p:cSld>
  <p:clrMapOvr>
    <a:masterClrMapping/>
  </p:clrMapOvr>
</p:sld>
</file>

<file path=ppt/slides/slide4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0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 NICOLAS QC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64508065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71462"/>
            <a:ext cx="4869366" cy="990182"/>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278427"/>
            <a:ext cx="4869366" cy="654527"/>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949737"/>
            <a:ext cx="4869366" cy="1325838"/>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486453004"/>
      </p:ext>
    </p:extLst>
  </p:cSld>
  <p:clrMapOvr>
    <a:masterClrMapping/>
  </p:clrMapOvr>
</p:sld>
</file>

<file path=ppt/slides/slide4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0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 NICOLAS CCP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26038420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443258"/>
            <a:ext cx="4869366" cy="933557"/>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392638"/>
            <a:ext cx="4869366" cy="617097"/>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025558"/>
            <a:ext cx="4869366" cy="125001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1612021"/>
      </p:ext>
    </p:extLst>
  </p:cSld>
  <p:clrMapOvr>
    <a:masterClrMapping/>
  </p:clrMapOvr>
</p:sld>
</file>

<file path=ppt/slides/slide4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0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 NICOLAS IDF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48193143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89411"/>
            <a:ext cx="4869366" cy="984266"/>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290360"/>
            <a:ext cx="4869366" cy="650616"/>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957659"/>
            <a:ext cx="4869366" cy="1317916"/>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05531615"/>
      </p:ext>
    </p:extLst>
  </p:cSld>
  <p:clrMapOvr>
    <a:masterClrMapping/>
  </p:clrMapOvr>
</p:sld>
</file>

<file path=ppt/slides/slide4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0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 NICOLAS PAC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42843309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403304"/>
            <a:ext cx="4869366" cy="946726"/>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366076"/>
            <a:ext cx="4869366" cy="625802"/>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007925"/>
            <a:ext cx="4869366" cy="1267650"/>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4544030"/>
      </p:ext>
    </p:extLst>
  </p:cSld>
  <p:clrMapOvr>
    <a:masterClrMapping/>
  </p:clrMapOvr>
</p:sld>
</file>

<file path=ppt/slides/slide4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0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 NICOLAS RH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20552607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379090"/>
            <a:ext cx="4869366" cy="954707"/>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349979"/>
            <a:ext cx="4869366" cy="631077"/>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997239"/>
            <a:ext cx="4869366" cy="1278336"/>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870950408"/>
      </p:ext>
    </p:extLst>
  </p:cSld>
  <p:clrMapOvr>
    <a:masterClrMapping/>
  </p:clrMapOvr>
</p:sld>
</file>

<file path=ppt/slides/slide4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0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 NICOLAS AQU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14748479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443258"/>
            <a:ext cx="4869366" cy="933557"/>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392638"/>
            <a:ext cx="4869366" cy="617097"/>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025558"/>
            <a:ext cx="4869366" cy="125001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024274475"/>
      </p:ext>
    </p:extLst>
  </p:cSld>
  <p:clrMapOvr>
    <a:masterClrMapping/>
  </p:clrMapOvr>
</p:sld>
</file>

<file path=ppt/slides/slide4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0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 NICOLAS ES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1456457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14591"/>
            <a:ext cx="4869366" cy="1008927"/>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240619"/>
            <a:ext cx="4869366" cy="666918"/>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924638"/>
            <a:ext cx="4869366" cy="135093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804078015"/>
      </p:ext>
    </p:extLst>
  </p:cSld>
  <p:clrMapOvr>
    <a:masterClrMapping/>
  </p:clrMapOvr>
</p:sld>
</file>

<file path=ppt/slides/slide4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0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 CA 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1105220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326258"/>
            <a:ext cx="4869366" cy="972121"/>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314856"/>
            <a:ext cx="4869366" cy="642588"/>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973921"/>
            <a:ext cx="4869366" cy="1301654"/>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90305817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08FC55-424A-ACCC-676F-44C3CCC9796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415BD49-9CDB-C892-E279-946572C3A129}"/>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BE947E9A-9EDC-50FE-5484-367359C894D7}"/>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6A5025B9-0C85-A050-B069-0AC43B6B8204}"/>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1004F20C-B07D-4614-4481-965EA185837B}"/>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A91D8E7D-FEEC-5BA1-EB74-93E5E7482F85}"/>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1</a:t>
            </a:fld>
            <a:endParaRPr lang="en-US" noProof="0"/>
          </a:p>
        </p:txBody>
      </p:sp>
      <p:sp>
        <p:nvSpPr>
          <p:cNvPr id="37" name="Text Placeholder 36">
            <a:extLst>
              <a:ext uri="{FF2B5EF4-FFF2-40B4-BE49-F238E27FC236}">
                <a16:creationId xmlns:a16="http://schemas.microsoft.com/office/drawing/2014/main" id="{FA0F6888-D5CC-383A-47AD-80C683524A7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2E389274-4FCB-6DE6-41BB-F4D26E075546}"/>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egment | NICOLAS | P12M</a:t>
            </a:r>
          </a:p>
        </p:txBody>
      </p:sp>
      <p:sp>
        <p:nvSpPr>
          <p:cNvPr id="2" name="Title 1">
            <a:extLst>
              <a:ext uri="{FF2B5EF4-FFF2-40B4-BE49-F238E27FC236}">
                <a16:creationId xmlns:a16="http://schemas.microsoft.com/office/drawing/2014/main" id="{0B37106B-65BB-38CE-2DE5-FACF202E6E13}"/>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3AD1043F-CB15-E170-B712-2A89D1DA680D}"/>
              </a:ext>
            </a:extLst>
          </p:cNvPr>
          <p:cNvGraphicFramePr>
            <a:graphicFrameLocks noGrp="1"/>
          </p:cNvGraphicFramePr>
          <p:nvPr>
            <p:ph idx="4294967295"/>
            <p:extLst>
              <p:ext uri="{D42A27DB-BD31-4B8C-83A1-F6EECF244321}">
                <p14:modId xmlns:p14="http://schemas.microsoft.com/office/powerpoint/2010/main" val="401113225"/>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C7CB25F2-15EE-61CD-96F8-9E24F3CFB425}"/>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C8ACCE2D-6642-ED27-3E63-215D317EDF54}"/>
              </a:ext>
            </a:extLst>
          </p:cNvPr>
          <p:cNvGraphicFramePr>
            <a:graphicFrameLocks/>
          </p:cNvGraphicFramePr>
          <p:nvPr>
            <p:extLst>
              <p:ext uri="{D42A27DB-BD31-4B8C-83A1-F6EECF244321}">
                <p14:modId xmlns:p14="http://schemas.microsoft.com/office/powerpoint/2010/main" val="7306372"/>
              </p:ext>
            </p:extLst>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8D2AC029-204E-C851-0DBB-376972B8F647}"/>
              </a:ext>
            </a:extLst>
          </p:cNvPr>
          <p:cNvGraphicFramePr>
            <a:graphicFrameLocks/>
          </p:cNvGraphicFramePr>
          <p:nvPr>
            <p:extLst>
              <p:ext uri="{D42A27DB-BD31-4B8C-83A1-F6EECF244321}">
                <p14:modId xmlns:p14="http://schemas.microsoft.com/office/powerpoint/2010/main" val="3314619718"/>
              </p:ext>
            </p:extLst>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C1">
            <a:extLst>
              <a:ext uri="{FF2B5EF4-FFF2-40B4-BE49-F238E27FC236}">
                <a16:creationId xmlns:a16="http://schemas.microsoft.com/office/drawing/2014/main" id="{F3DC8CB2-3F2B-2774-573E-DFF620E84D4C}"/>
              </a:ext>
            </a:extLst>
          </p:cNvPr>
          <p:cNvGraphicFramePr>
            <a:graphicFrameLocks/>
          </p:cNvGraphicFramePr>
          <p:nvPr>
            <p:extLst>
              <p:ext uri="{D42A27DB-BD31-4B8C-83A1-F6EECF244321}">
                <p14:modId xmlns:p14="http://schemas.microsoft.com/office/powerpoint/2010/main" val="1204449491"/>
              </p:ext>
            </p:extLst>
          </p:nvPr>
        </p:nvGraphicFramePr>
        <p:xfrm>
          <a:off x="6566444" y="1354754"/>
          <a:ext cx="2268000" cy="3374309"/>
        </p:xfrm>
        <a:graphic>
          <a:graphicData uri="http://schemas.openxmlformats.org/drawingml/2006/chart">
            <c:chart xmlns:c="http://schemas.openxmlformats.org/drawingml/2006/chart" xmlns:r="http://schemas.openxmlformats.org/officeDocument/2006/relationships" r:id="rId8"/>
          </a:graphicData>
        </a:graphic>
      </p:graphicFrame>
      <p:sp>
        <p:nvSpPr>
          <p:cNvPr id="16" name="TextBox 15">
            <a:extLst>
              <a:ext uri="{FF2B5EF4-FFF2-40B4-BE49-F238E27FC236}">
                <a16:creationId xmlns:a16="http://schemas.microsoft.com/office/drawing/2014/main" id="{8C8CB6BD-A844-74EC-CFEC-C58CFCC7C5EC}"/>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B18FE6A9-85ED-634C-B0DB-D9A4E7A1AD69}"/>
              </a:ext>
            </a:extLst>
          </p:cNvPr>
          <p:cNvGraphicFramePr>
            <a:graphicFrameLocks noGrp="1"/>
          </p:cNvGraphicFramePr>
          <p:nvPr/>
        </p:nvGraphicFramePr>
        <p:xfrm>
          <a:off x="720534" y="1121410"/>
          <a:ext cx="8113912"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gridCol w="2028478">
                  <a:extLst>
                    <a:ext uri="{9D8B030D-6E8A-4147-A177-3AD203B41FA5}">
                      <a16:colId xmlns:a16="http://schemas.microsoft.com/office/drawing/2014/main" val="3571608413"/>
                    </a:ext>
                  </a:extLst>
                </a:gridCol>
              </a:tblGrid>
              <a:tr h="235994">
                <a:tc>
                  <a:txBody>
                    <a:bodyPr/>
                    <a:lstStyle/>
                    <a:p>
                      <a:pPr algn="ctr">
                        <a:defRPr sz="1100">
                          <a:latin typeface="Nexa Book"/>
                        </a:defRPr>
                      </a:pPr>
                      <a:r>
                        <a:rPr b="1">
                          <a:solidFill>
                            <a:srgbClr val="575555"/>
                          </a:solidFill>
                        </a:rPr>
                        <a:t>Millesimes</a:t>
                      </a:r>
                    </a:p>
                  </a:txBody>
                  <a:tcPr anchor="ctr">
                    <a:solidFill>
                      <a:schemeClr val="bg2"/>
                    </a:solidFill>
                  </a:tcPr>
                </a:tc>
                <a:tc>
                  <a:txBody>
                    <a:bodyPr/>
                    <a:lstStyle/>
                    <a:p>
                      <a:pPr algn="ctr">
                        <a:defRPr sz="1100">
                          <a:latin typeface="Nexa Book"/>
                        </a:defRPr>
                      </a:pPr>
                      <a:r>
                        <a:rPr b="1">
                          <a:solidFill>
                            <a:srgbClr val="575555"/>
                          </a:solidFill>
                        </a:rPr>
                        <a:t>Rosés</a:t>
                      </a:r>
                    </a:p>
                  </a:txBody>
                  <a:tcPr anchor="ctr">
                    <a:solidFill>
                      <a:schemeClr val="bg2"/>
                    </a:solidFill>
                  </a:tcPr>
                </a:tc>
                <a:tc>
                  <a:txBody>
                    <a:bodyPr/>
                    <a:lstStyle/>
                    <a:p>
                      <a:pPr algn="ctr">
                        <a:defRPr sz="1100">
                          <a:latin typeface="Nexa Book"/>
                        </a:defRPr>
                      </a:pPr>
                      <a:r>
                        <a:rPr b="1">
                          <a:solidFill>
                            <a:srgbClr val="575555"/>
                          </a:solidFill>
                        </a:rPr>
                        <a:t>Mousseux Bourgogne</a:t>
                      </a:r>
                    </a:p>
                  </a:txBody>
                  <a:tcPr anchor="ctr">
                    <a:solidFill>
                      <a:schemeClr val="bg2"/>
                    </a:solidFill>
                  </a:tcPr>
                </a:tc>
                <a:tc>
                  <a:txBody>
                    <a:bodyPr/>
                    <a:lstStyle/>
                    <a:p>
                      <a:pPr algn="ctr">
                        <a:defRPr sz="1100">
                          <a:latin typeface="Nexa Book"/>
                        </a:defRPr>
                      </a:pPr>
                      <a:r>
                        <a:rPr b="1">
                          <a:solidFill>
                            <a:srgbClr val="575555"/>
                          </a:solidFill>
                        </a:rPr>
                        <a:t>Mousseux Italiens</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2463006724"/>
      </p:ext>
    </p:extLst>
  </p:cSld>
  <p:clrMapOvr>
    <a:masterClrMapping/>
  </p:clrMapOvr>
</p:sld>
</file>

<file path=ppt/slides/slide4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1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 CA B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27551491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326258"/>
            <a:ext cx="4869366" cy="972121"/>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314856"/>
            <a:ext cx="4869366" cy="642588"/>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973921"/>
            <a:ext cx="4869366" cy="1301654"/>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214359588"/>
      </p:ext>
    </p:extLst>
  </p:cSld>
  <p:clrMapOvr>
    <a:masterClrMapping/>
  </p:clrMapOvr>
</p:sld>
</file>

<file path=ppt/slides/slide4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1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 CA C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17029882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307148"/>
            <a:ext cx="4869366" cy="978420"/>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302151"/>
            <a:ext cx="4869366" cy="646752"/>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965487"/>
            <a:ext cx="4869366" cy="1310088"/>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587800968"/>
      </p:ext>
    </p:extLst>
  </p:cSld>
  <p:clrMapOvr>
    <a:masterClrMapping/>
  </p:clrMapOvr>
</p:sld>
</file>

<file path=ppt/slides/slide4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1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 CA D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06460124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323090"/>
            <a:ext cx="4869366" cy="97316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312750"/>
            <a:ext cx="4869366" cy="643279"/>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972523"/>
            <a:ext cx="4869366" cy="1303052"/>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43758359"/>
      </p:ext>
    </p:extLst>
  </p:cSld>
  <p:clrMapOvr>
    <a:masterClrMapping/>
  </p:clrMapOvr>
</p:sld>
</file>

<file path=ppt/slides/slide4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1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 CA 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21259626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337292"/>
            <a:ext cx="4869366" cy="968484"/>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322191"/>
            <a:ext cx="4869366" cy="64018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978791"/>
            <a:ext cx="4869366" cy="1296784"/>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76456566"/>
      </p:ext>
    </p:extLst>
  </p:cSld>
  <p:clrMapOvr>
    <a:masterClrMapping/>
  </p:clrMapOvr>
</p:sld>
</file>

<file path=ppt/slides/slide4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1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Effervescents Sans Alcool | Nationa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77356982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2358199"/>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566491"/>
            <a:ext cx="4869366" cy="233720"/>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804173"/>
            <a:ext cx="4869366" cy="154493"/>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962628"/>
            <a:ext cx="4869366" cy="31294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078421412"/>
      </p:ext>
    </p:extLst>
  </p:cSld>
  <p:clrMapOvr>
    <a:masterClrMapping/>
  </p:clrMapOvr>
</p:sld>
</file>

<file path=ppt/slides/slide4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1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Effervescents Sans Alcool | NICOLA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0456355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517784"/>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736301"/>
            <a:ext cx="4869366" cy="836967"/>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587455"/>
            <a:ext cx="4869366" cy="553249"/>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154890"/>
            <a:ext cx="4869366" cy="1120685"/>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797826433"/>
      </p:ext>
    </p:extLst>
  </p:cSld>
  <p:clrMapOvr>
    <a:masterClrMapping/>
  </p:clrMapOvr>
</p:sld>
</file>

<file path=ppt/slides/slide4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1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Effervescents Sans Alcool | HMSM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26203128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498773"/>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717396"/>
            <a:ext cx="4869366" cy="843198"/>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574886"/>
            <a:ext cx="4869366" cy="557368"/>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146546"/>
            <a:ext cx="4869366" cy="1129029"/>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707133174"/>
      </p:ext>
    </p:extLst>
  </p:cSld>
  <p:clrMapOvr>
    <a:masterClrMapping/>
  </p:clrMapOvr>
</p:sld>
</file>

<file path=ppt/slides/slide4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1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Effervescents Sans Alcool | NICOLAS QC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92614242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520141"/>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738645"/>
            <a:ext cx="4869366" cy="836194"/>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589013"/>
            <a:ext cx="4869366" cy="552739"/>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155925"/>
            <a:ext cx="4869366" cy="1119650"/>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537714617"/>
      </p:ext>
    </p:extLst>
  </p:cSld>
  <p:clrMapOvr>
    <a:masterClrMapping/>
  </p:clrMapOvr>
</p:sld>
</file>

<file path=ppt/slides/slide4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1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Effervescents Sans Alcool | NICOLAS VC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77148178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681171"/>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898780"/>
            <a:ext cx="4869366" cy="783413"/>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695471"/>
            <a:ext cx="4869366" cy="517849"/>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226599"/>
            <a:ext cx="4869366" cy="1048976"/>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825290687"/>
      </p:ext>
    </p:extLst>
  </p:cSld>
  <p:clrMapOvr>
    <a:masterClrMapping/>
  </p:clrMapOvr>
</p:sld>
</file>

<file path=ppt/slides/slide4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1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Effervescents Sans Alcool | NICOLAS QC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38712456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501165"/>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719774"/>
            <a:ext cx="4869366" cy="842414"/>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576467"/>
            <a:ext cx="4869366" cy="556850"/>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147596"/>
            <a:ext cx="4869366" cy="1127979"/>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216939134"/>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65918C-CF2D-B9BE-373E-8055AB4F589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BE947E9A-9EDC-50FE-5484-367359C894D7}"/>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DC475BB2-0528-29FB-C158-9EF2E6156FB0}"/>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C87CB3FA-1793-85BB-0720-68CB9A322CAF}"/>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300044B2-FAA5-2879-ADFC-6874BBAF83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DA8BB0C0-E087-2E71-1F6D-E725250BE3D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2</a:t>
            </a:fld>
            <a:endParaRPr lang="en-US" noProof="0"/>
          </a:p>
        </p:txBody>
      </p:sp>
      <p:sp>
        <p:nvSpPr>
          <p:cNvPr id="37" name="Text Placeholder 36">
            <a:extLst>
              <a:ext uri="{FF2B5EF4-FFF2-40B4-BE49-F238E27FC236}">
                <a16:creationId xmlns:a16="http://schemas.microsoft.com/office/drawing/2014/main" id="{4918FA18-B639-A629-2E9B-674B54B4AACA}"/>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37405B8B-A5F3-F9D8-A571-2F38544BBDBA}"/>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egment | NICOLAS | P12M</a:t>
            </a:r>
          </a:p>
        </p:txBody>
      </p:sp>
      <p:sp>
        <p:nvSpPr>
          <p:cNvPr id="2" name="Title 1">
            <a:extLst>
              <a:ext uri="{FF2B5EF4-FFF2-40B4-BE49-F238E27FC236}">
                <a16:creationId xmlns:a16="http://schemas.microsoft.com/office/drawing/2014/main" id="{12784FBB-01F7-DE64-BC02-E8B59B51E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8694A9E2-2E6E-DE42-FC36-3888D1308CB4}"/>
              </a:ext>
            </a:extLst>
          </p:cNvPr>
          <p:cNvGraphicFramePr>
            <a:graphicFrameLocks noGrp="1"/>
          </p:cNvGraphicFramePr>
          <p:nvPr>
            <p:ph idx="4294967295"/>
            <p:extLst>
              <p:ext uri="{D42A27DB-BD31-4B8C-83A1-F6EECF244321}">
                <p14:modId xmlns:p14="http://schemas.microsoft.com/office/powerpoint/2010/main" val="1264450417"/>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F456CAE2-40D9-C89C-01D4-02D92ECC325F}"/>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9C31F180-BE4C-077E-6172-FE9EFF5651B0}"/>
              </a:ext>
            </a:extLst>
          </p:cNvPr>
          <p:cNvGraphicFramePr>
            <a:graphicFrameLocks/>
          </p:cNvGraphicFramePr>
          <p:nvPr>
            <p:extLst>
              <p:ext uri="{D42A27DB-BD31-4B8C-83A1-F6EECF244321}">
                <p14:modId xmlns:p14="http://schemas.microsoft.com/office/powerpoint/2010/main" val="1160825601"/>
              </p:ext>
            </p:extLst>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01B1A8DD-FED6-2C47-296D-0983D1E720B2}"/>
              </a:ext>
            </a:extLst>
          </p:cNvPr>
          <p:cNvGraphicFramePr>
            <a:graphicFrameLocks/>
          </p:cNvGraphicFramePr>
          <p:nvPr>
            <p:extLst>
              <p:ext uri="{D42A27DB-BD31-4B8C-83A1-F6EECF244321}">
                <p14:modId xmlns:p14="http://schemas.microsoft.com/office/powerpoint/2010/main" val="1184010876"/>
              </p:ext>
            </p:extLst>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sp>
        <p:nvSpPr>
          <p:cNvPr id="16" name="TextBox 15">
            <a:extLst>
              <a:ext uri="{FF2B5EF4-FFF2-40B4-BE49-F238E27FC236}">
                <a16:creationId xmlns:a16="http://schemas.microsoft.com/office/drawing/2014/main" id="{2B180312-FE46-D4C9-3734-1E3750820943}"/>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4DB211A7-591C-E03E-65DC-47EB4C0D8D03}"/>
              </a:ext>
            </a:extLst>
          </p:cNvPr>
          <p:cNvGraphicFramePr>
            <a:graphicFrameLocks noGrp="1"/>
          </p:cNvGraphicFramePr>
          <p:nvPr>
            <p:extLst>
              <p:ext uri="{D42A27DB-BD31-4B8C-83A1-F6EECF244321}">
                <p14:modId xmlns:p14="http://schemas.microsoft.com/office/powerpoint/2010/main" val="2790109015"/>
              </p:ext>
            </p:extLst>
          </p:nvPr>
        </p:nvGraphicFramePr>
        <p:xfrm>
          <a:off x="720534" y="1121410"/>
          <a:ext cx="6085434"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tblGrid>
              <a:tr h="235994">
                <a:tc>
                  <a:txBody>
                    <a:bodyPr/>
                    <a:lstStyle/>
                    <a:p>
                      <a:pPr algn="ctr">
                        <a:defRPr sz="1100">
                          <a:latin typeface="Nexa Book"/>
                        </a:defRPr>
                      </a:pPr>
                      <a:r>
                        <a:rPr b="1">
                          <a:solidFill>
                            <a:srgbClr val="575555"/>
                          </a:solidFill>
                        </a:rPr>
                        <a:t>Mousseux Val De Loire</a:t>
                      </a:r>
                    </a:p>
                  </a:txBody>
                  <a:tcPr anchor="ctr">
                    <a:solidFill>
                      <a:schemeClr val="bg2"/>
                    </a:solidFill>
                  </a:tcPr>
                </a:tc>
                <a:tc>
                  <a:txBody>
                    <a:bodyPr/>
                    <a:lstStyle/>
                    <a:p>
                      <a:pPr algn="ctr">
                        <a:defRPr sz="1100">
                          <a:latin typeface="Nexa Book"/>
                        </a:defRPr>
                      </a:pPr>
                      <a:r>
                        <a:rPr b="1">
                          <a:solidFill>
                            <a:srgbClr val="575555"/>
                          </a:solidFill>
                        </a:rPr>
                        <a:t>Mousseux Alsace</a:t>
                      </a:r>
                    </a:p>
                  </a:txBody>
                  <a:tcPr anchor="ctr">
                    <a:solidFill>
                      <a:schemeClr val="bg2"/>
                    </a:solidFill>
                  </a:tcPr>
                </a:tc>
                <a:tc>
                  <a:txBody>
                    <a:bodyPr/>
                    <a:lstStyle/>
                    <a:p>
                      <a:pPr algn="ctr">
                        <a:defRPr sz="1100">
                          <a:latin typeface="Nexa Book"/>
                        </a:defRPr>
                      </a:pPr>
                      <a:r>
                        <a:rPr b="1">
                          <a:solidFill>
                            <a:srgbClr val="575555"/>
                          </a:solidFill>
                        </a:rPr>
                        <a:t>Mousseux Bordelais</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698181964"/>
      </p:ext>
    </p:extLst>
  </p:cSld>
  <p:clrMapOvr>
    <a:masterClrMapping/>
  </p:clrMapOvr>
</p:sld>
</file>

<file path=ppt/slides/slide4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2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Effervescents Sans Alcool | NICOLAS QC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87963154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334148"/>
            <a:ext cx="4869366" cy="969520"/>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320101"/>
            <a:ext cx="4869366" cy="640869"/>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977403"/>
            <a:ext cx="4869366" cy="1298172"/>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043882902"/>
      </p:ext>
    </p:extLst>
  </p:cSld>
  <p:clrMapOvr>
    <a:masterClrMapping/>
  </p:clrMapOvr>
</p:sld>
</file>

<file path=ppt/slides/slide4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2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Effervescents Sans Alcool | NICOLAS CCP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58588261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456183"/>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675042"/>
            <a:ext cx="4869366" cy="857159"/>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546729"/>
            <a:ext cx="4869366" cy="566596"/>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127854"/>
            <a:ext cx="4869366" cy="1147721"/>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143588354"/>
      </p:ext>
    </p:extLst>
  </p:cSld>
  <p:clrMapOvr>
    <a:masterClrMapping/>
  </p:clrMapOvr>
</p:sld>
</file>

<file path=ppt/slides/slide4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2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Effervescents Sans Alcool | NICOLAS IDF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94666914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489161"/>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707837"/>
            <a:ext cx="4869366" cy="846349"/>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568531"/>
            <a:ext cx="4869366" cy="559451"/>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142328"/>
            <a:ext cx="4869366" cy="113324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19303216"/>
      </p:ext>
    </p:extLst>
  </p:cSld>
  <p:clrMapOvr>
    <a:masterClrMapping/>
  </p:clrMapOvr>
</p:sld>
</file>

<file path=ppt/slides/slide4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2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Effervescents Sans Alcool | NICOLAS PAC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37542105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534190"/>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752616"/>
            <a:ext cx="4869366" cy="831589"/>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598301"/>
            <a:ext cx="4869366" cy="54969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162091"/>
            <a:ext cx="4869366" cy="1113484"/>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882739662"/>
      </p:ext>
    </p:extLst>
  </p:cSld>
  <p:clrMapOvr>
    <a:masterClrMapping/>
  </p:clrMapOvr>
</p:sld>
</file>

<file path=ppt/slides/slide4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2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Effervescents Sans Alcool | NICOLAS RH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48131511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514241"/>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732778"/>
            <a:ext cx="4869366" cy="838128"/>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585112"/>
            <a:ext cx="4869366" cy="554017"/>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153335"/>
            <a:ext cx="4869366" cy="1122240"/>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233249616"/>
      </p:ext>
    </p:extLst>
  </p:cSld>
  <p:clrMapOvr>
    <a:masterClrMapping/>
  </p:clrMapOvr>
</p:sld>
</file>

<file path=ppt/slides/slide4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2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Effervescents Sans Alcool | NICOLAS AQU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44575958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404462"/>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623608"/>
            <a:ext cx="4869366" cy="874112"/>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512536"/>
            <a:ext cx="4869366" cy="577802"/>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105154"/>
            <a:ext cx="4869366" cy="1170421"/>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432328094"/>
      </p:ext>
    </p:extLst>
  </p:cSld>
  <p:clrMapOvr>
    <a:masterClrMapping/>
  </p:clrMapOvr>
</p:sld>
</file>

<file path=ppt/slides/slide4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2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Effervescents Sans Alcool | NICOLAS ES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61142474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493425"/>
            <a:ext cx="4869366" cy="917021"/>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425990"/>
            <a:ext cx="4869366" cy="606166"/>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047699"/>
            <a:ext cx="4869366" cy="1227876"/>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732692618"/>
      </p:ext>
    </p:extLst>
  </p:cSld>
  <p:clrMapOvr>
    <a:masterClrMapping/>
  </p:clrMapOvr>
</p:sld>
</file>

<file path=ppt/slides/slide4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2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Effervescents Sans Alcool | CA 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64065880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387632"/>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606872"/>
            <a:ext cx="4869366" cy="879628"/>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501410"/>
            <a:ext cx="4869366" cy="581449"/>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097768"/>
            <a:ext cx="4869366" cy="117780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525462724"/>
      </p:ext>
    </p:extLst>
  </p:cSld>
  <p:clrMapOvr>
    <a:masterClrMapping/>
  </p:clrMapOvr>
</p:sld>
</file>

<file path=ppt/slides/slide4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2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Effervescents Sans Alcool | CA B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71496749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522493"/>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740984"/>
            <a:ext cx="4869366" cy="835423"/>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590568"/>
            <a:ext cx="4869366" cy="552229"/>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156957"/>
            <a:ext cx="4869366" cy="1118618"/>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094426031"/>
      </p:ext>
    </p:extLst>
  </p:cSld>
  <p:clrMapOvr>
    <a:masterClrMapping/>
  </p:clrMapOvr>
</p:sld>
</file>

<file path=ppt/slides/slide4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2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Effervescents Sans Alcool | CA C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04252247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507125"/>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725701"/>
            <a:ext cx="4869366" cy="840461"/>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580408"/>
            <a:ext cx="4869366" cy="555559"/>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150212"/>
            <a:ext cx="4869366" cy="1125363"/>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664290650"/>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08FC55-424A-ACCC-676F-44C3CCC9796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415BD49-9CDB-C892-E279-946572C3A129}"/>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BE947E9A-9EDC-50FE-5484-367359C894D7}"/>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6A5025B9-0C85-A050-B069-0AC43B6B8204}"/>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1004F20C-B07D-4614-4481-965EA185837B}"/>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A91D8E7D-FEEC-5BA1-EB74-93E5E7482F85}"/>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3</a:t>
            </a:fld>
            <a:endParaRPr lang="en-US" noProof="0"/>
          </a:p>
        </p:txBody>
      </p:sp>
      <p:sp>
        <p:nvSpPr>
          <p:cNvPr id="37" name="Text Placeholder 36">
            <a:extLst>
              <a:ext uri="{FF2B5EF4-FFF2-40B4-BE49-F238E27FC236}">
                <a16:creationId xmlns:a16="http://schemas.microsoft.com/office/drawing/2014/main" id="{FA0F6888-D5CC-383A-47AD-80C683524A7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2E389274-4FCB-6DE6-41BB-F4D26E075546}"/>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egment | HMSM | P12M</a:t>
            </a:r>
          </a:p>
        </p:txBody>
      </p:sp>
      <p:sp>
        <p:nvSpPr>
          <p:cNvPr id="2" name="Title 1">
            <a:extLst>
              <a:ext uri="{FF2B5EF4-FFF2-40B4-BE49-F238E27FC236}">
                <a16:creationId xmlns:a16="http://schemas.microsoft.com/office/drawing/2014/main" id="{0B37106B-65BB-38CE-2DE5-FACF202E6E13}"/>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3AD1043F-CB15-E170-B712-2A89D1DA680D}"/>
              </a:ext>
            </a:extLst>
          </p:cNvPr>
          <p:cNvGraphicFramePr>
            <a:graphicFrameLocks noGrp="1"/>
          </p:cNvGraphicFramePr>
          <p:nvPr>
            <p:ph idx="4294967295"/>
            <p:extLst>
              <p:ext uri="{D42A27DB-BD31-4B8C-83A1-F6EECF244321}">
                <p14:modId xmlns:p14="http://schemas.microsoft.com/office/powerpoint/2010/main" val="2455355723"/>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C7CB25F2-15EE-61CD-96F8-9E24F3CFB425}"/>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C8ACCE2D-6642-ED27-3E63-215D317EDF54}"/>
              </a:ext>
            </a:extLst>
          </p:cNvPr>
          <p:cNvGraphicFramePr>
            <a:graphicFrameLocks/>
          </p:cNvGraphicFramePr>
          <p:nvPr>
            <p:extLst>
              <p:ext uri="{D42A27DB-BD31-4B8C-83A1-F6EECF244321}">
                <p14:modId xmlns:p14="http://schemas.microsoft.com/office/powerpoint/2010/main" val="3750377141"/>
              </p:ext>
            </p:extLst>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8D2AC029-204E-C851-0DBB-376972B8F647}"/>
              </a:ext>
            </a:extLst>
          </p:cNvPr>
          <p:cNvGraphicFramePr>
            <a:graphicFrameLocks/>
          </p:cNvGraphicFramePr>
          <p:nvPr>
            <p:extLst>
              <p:ext uri="{D42A27DB-BD31-4B8C-83A1-F6EECF244321}">
                <p14:modId xmlns:p14="http://schemas.microsoft.com/office/powerpoint/2010/main" val="669556221"/>
              </p:ext>
            </p:extLst>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C1">
            <a:extLst>
              <a:ext uri="{FF2B5EF4-FFF2-40B4-BE49-F238E27FC236}">
                <a16:creationId xmlns:a16="http://schemas.microsoft.com/office/drawing/2014/main" id="{F3DC8CB2-3F2B-2774-573E-DFF620E84D4C}"/>
              </a:ext>
            </a:extLst>
          </p:cNvPr>
          <p:cNvGraphicFramePr>
            <a:graphicFrameLocks/>
          </p:cNvGraphicFramePr>
          <p:nvPr>
            <p:extLst>
              <p:ext uri="{D42A27DB-BD31-4B8C-83A1-F6EECF244321}">
                <p14:modId xmlns:p14="http://schemas.microsoft.com/office/powerpoint/2010/main" val="1483640815"/>
              </p:ext>
            </p:extLst>
          </p:nvPr>
        </p:nvGraphicFramePr>
        <p:xfrm>
          <a:off x="6566444" y="1354754"/>
          <a:ext cx="2268000" cy="3374309"/>
        </p:xfrm>
        <a:graphic>
          <a:graphicData uri="http://schemas.openxmlformats.org/drawingml/2006/chart">
            <c:chart xmlns:c="http://schemas.openxmlformats.org/drawingml/2006/chart" xmlns:r="http://schemas.openxmlformats.org/officeDocument/2006/relationships" r:id="rId8"/>
          </a:graphicData>
        </a:graphic>
      </p:graphicFrame>
      <p:sp>
        <p:nvSpPr>
          <p:cNvPr id="16" name="TextBox 15">
            <a:extLst>
              <a:ext uri="{FF2B5EF4-FFF2-40B4-BE49-F238E27FC236}">
                <a16:creationId xmlns:a16="http://schemas.microsoft.com/office/drawing/2014/main" id="{8C8CB6BD-A844-74EC-CFEC-C58CFCC7C5EC}"/>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B18FE6A9-85ED-634C-B0DB-D9A4E7A1AD69}"/>
              </a:ext>
            </a:extLst>
          </p:cNvPr>
          <p:cNvGraphicFramePr>
            <a:graphicFrameLocks noGrp="1"/>
          </p:cNvGraphicFramePr>
          <p:nvPr/>
        </p:nvGraphicFramePr>
        <p:xfrm>
          <a:off x="720534" y="1121410"/>
          <a:ext cx="8113912"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gridCol w="2028478">
                  <a:extLst>
                    <a:ext uri="{9D8B030D-6E8A-4147-A177-3AD203B41FA5}">
                      <a16:colId xmlns:a16="http://schemas.microsoft.com/office/drawing/2014/main" val="3571608413"/>
                    </a:ext>
                  </a:extLst>
                </a:gridCol>
              </a:tblGrid>
              <a:tr h="235994">
                <a:tc>
                  <a:txBody>
                    <a:bodyPr/>
                    <a:lstStyle/>
                    <a:p>
                      <a:pPr algn="ctr">
                        <a:defRPr sz="1100">
                          <a:latin typeface="Nexa Book"/>
                        </a:defRPr>
                      </a:pPr>
                      <a:r>
                        <a:rPr b="1">
                          <a:solidFill>
                            <a:srgbClr val="575555"/>
                          </a:solidFill>
                        </a:rPr>
                        <a:t>Blanc De Blancs</a:t>
                      </a:r>
                    </a:p>
                  </a:txBody>
                  <a:tcPr anchor="ctr">
                    <a:solidFill>
                      <a:schemeClr val="bg2"/>
                    </a:solidFill>
                  </a:tcPr>
                </a:tc>
                <a:tc>
                  <a:txBody>
                    <a:bodyPr/>
                    <a:lstStyle/>
                    <a:p>
                      <a:pPr algn="ctr">
                        <a:defRPr sz="1100">
                          <a:latin typeface="Nexa Book"/>
                        </a:defRPr>
                      </a:pPr>
                      <a:r>
                        <a:rPr b="1">
                          <a:solidFill>
                            <a:srgbClr val="575555"/>
                          </a:solidFill>
                        </a:rPr>
                        <a:t>Bruts</a:t>
                      </a:r>
                    </a:p>
                  </a:txBody>
                  <a:tcPr anchor="ctr">
                    <a:solidFill>
                      <a:schemeClr val="bg2"/>
                    </a:solidFill>
                  </a:tcPr>
                </a:tc>
                <a:tc>
                  <a:txBody>
                    <a:bodyPr/>
                    <a:lstStyle/>
                    <a:p>
                      <a:pPr algn="ctr">
                        <a:defRPr sz="1100">
                          <a:latin typeface="Nexa Book"/>
                        </a:defRPr>
                      </a:pPr>
                      <a:r>
                        <a:rPr b="1">
                          <a:solidFill>
                            <a:srgbClr val="575555"/>
                          </a:solidFill>
                        </a:rPr>
                        <a:t>Extra Brut</a:t>
                      </a:r>
                    </a:p>
                  </a:txBody>
                  <a:tcPr anchor="ctr">
                    <a:solidFill>
                      <a:schemeClr val="bg2"/>
                    </a:solidFill>
                  </a:tcPr>
                </a:tc>
                <a:tc>
                  <a:txBody>
                    <a:bodyPr/>
                    <a:lstStyle/>
                    <a:p>
                      <a:pPr algn="ctr">
                        <a:defRPr sz="1100">
                          <a:latin typeface="Nexa Book"/>
                        </a:defRPr>
                      </a:pPr>
                      <a:r>
                        <a:rPr b="1">
                          <a:solidFill>
                            <a:srgbClr val="575555"/>
                          </a:solidFill>
                        </a:rPr>
                        <a:t>Millesimes</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351562004"/>
      </p:ext>
    </p:extLst>
  </p:cSld>
  <p:clrMapOvr>
    <a:masterClrMapping/>
  </p:clrMapOvr>
</p:sld>
</file>

<file path=ppt/slides/slide4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3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Effervescents Sans Alcool | CA D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30822403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672875"/>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890531"/>
            <a:ext cx="4869366" cy="786132"/>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689987"/>
            <a:ext cx="4869366" cy="519646"/>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222958"/>
            <a:ext cx="4869366" cy="105261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774623427"/>
      </p:ext>
    </p:extLst>
  </p:cSld>
  <p:clrMapOvr>
    <a:masterClrMapping/>
  </p:clrMapOvr>
</p:sld>
</file>

<file path=ppt/slides/slide4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3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Effervescents Sans Alcool | CA 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98640405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766851"/>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983984"/>
            <a:ext cx="4869366" cy="755329"/>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752115"/>
            <a:ext cx="4869366" cy="49928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264203"/>
            <a:ext cx="4869366" cy="1011372"/>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292910365"/>
      </p:ext>
    </p:extLst>
  </p:cSld>
  <p:clrMapOvr>
    <a:masterClrMapping/>
  </p:clrMapOvr>
</p:sld>
</file>

<file path=ppt/slides/slide4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3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Blanc De Blancs | Nationa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8169487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451225"/>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670112"/>
            <a:ext cx="4869366" cy="858784"/>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543452"/>
            <a:ext cx="4869366" cy="567670"/>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125678"/>
            <a:ext cx="4869366" cy="114989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720721280"/>
      </p:ext>
    </p:extLst>
  </p:cSld>
  <p:clrMapOvr>
    <a:masterClrMapping/>
  </p:clrMapOvr>
</p:sld>
</file>

<file path=ppt/slides/slide4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3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Blanc De Blancs | NICOLA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77351055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67495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899255"/>
            <a:ext cx="4869366" cy="77879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698018"/>
            <a:ext cx="4869366" cy="15775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286535755"/>
      </p:ext>
    </p:extLst>
  </p:cSld>
  <p:clrMapOvr>
    <a:masterClrMapping/>
  </p:clrMapOvr>
</p:sld>
</file>

<file path=ppt/slides/slide4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3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Blanc De Blancs | HMSM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98559546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976420"/>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2192389"/>
            <a:ext cx="4869366" cy="686636"/>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394833978"/>
      </p:ext>
    </p:extLst>
  </p:cSld>
  <p:clrMapOvr>
    <a:masterClrMapping/>
  </p:clrMapOvr>
</p:sld>
</file>

<file path=ppt/slides/slide4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3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Blanc De Blancs | NICOLAS QC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50090047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770686"/>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994189"/>
            <a:ext cx="4869366" cy="747681"/>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761041"/>
            <a:ext cx="4869366" cy="1514534"/>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807743053"/>
      </p:ext>
    </p:extLst>
  </p:cSld>
  <p:clrMapOvr>
    <a:masterClrMapping/>
  </p:clrMapOvr>
</p:sld>
</file>

<file path=ppt/slides/slide4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3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Blanc De Blancs | NICOLAS VC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76411178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836257"/>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059213"/>
            <a:ext cx="4869366" cy="726370"/>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804209"/>
            <a:ext cx="4869366" cy="1471366"/>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81254071"/>
      </p:ext>
    </p:extLst>
  </p:cSld>
  <p:clrMapOvr>
    <a:masterClrMapping/>
  </p:clrMapOvr>
</p:sld>
</file>

<file path=ppt/slides/slide4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3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Blanc De Blancs | NICOLAS QC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28871775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135386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2567738"/>
            <a:ext cx="4869366" cy="562918"/>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140198"/>
            <a:ext cx="4869366" cy="372098"/>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521837"/>
            <a:ext cx="4869366" cy="753738"/>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105893035"/>
      </p:ext>
    </p:extLst>
  </p:cSld>
  <p:clrMapOvr>
    <a:masterClrMapping/>
  </p:clrMapOvr>
</p:sld>
</file>

<file path=ppt/slides/slide4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3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Blanc De Blancs | NICOLAS QC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07602048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1226653"/>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2441232"/>
            <a:ext cx="4869366" cy="604616"/>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056096"/>
            <a:ext cx="4869366" cy="399661"/>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466005"/>
            <a:ext cx="4869366" cy="809570"/>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024708278"/>
      </p:ext>
    </p:extLst>
  </p:cSld>
  <p:clrMapOvr>
    <a:masterClrMapping/>
  </p:clrMapOvr>
</p:sld>
</file>

<file path=ppt/slides/slide4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3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Blanc De Blancs | NICOLAS CCP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59319807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859948"/>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2076564"/>
            <a:ext cx="4869366" cy="724813"/>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813663"/>
            <a:ext cx="4869366" cy="47911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305062"/>
            <a:ext cx="4869366" cy="970513"/>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109249739"/>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08FC55-424A-ACCC-676F-44C3CCC9796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415BD49-9CDB-C892-E279-946572C3A129}"/>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BE947E9A-9EDC-50FE-5484-367359C894D7}"/>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6A5025B9-0C85-A050-B069-0AC43B6B8204}"/>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1004F20C-B07D-4614-4481-965EA185837B}"/>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A91D8E7D-FEEC-5BA1-EB74-93E5E7482F85}"/>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4</a:t>
            </a:fld>
            <a:endParaRPr lang="en-US" noProof="0"/>
          </a:p>
        </p:txBody>
      </p:sp>
      <p:sp>
        <p:nvSpPr>
          <p:cNvPr id="37" name="Text Placeholder 36">
            <a:extLst>
              <a:ext uri="{FF2B5EF4-FFF2-40B4-BE49-F238E27FC236}">
                <a16:creationId xmlns:a16="http://schemas.microsoft.com/office/drawing/2014/main" id="{FA0F6888-D5CC-383A-47AD-80C683524A7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2E389274-4FCB-6DE6-41BB-F4D26E075546}"/>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egment | HMSM | P12M</a:t>
            </a:r>
          </a:p>
        </p:txBody>
      </p:sp>
      <p:sp>
        <p:nvSpPr>
          <p:cNvPr id="2" name="Title 1">
            <a:extLst>
              <a:ext uri="{FF2B5EF4-FFF2-40B4-BE49-F238E27FC236}">
                <a16:creationId xmlns:a16="http://schemas.microsoft.com/office/drawing/2014/main" id="{0B37106B-65BB-38CE-2DE5-FACF202E6E13}"/>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3AD1043F-CB15-E170-B712-2A89D1DA680D}"/>
              </a:ext>
            </a:extLst>
          </p:cNvPr>
          <p:cNvGraphicFramePr>
            <a:graphicFrameLocks noGrp="1"/>
          </p:cNvGraphicFramePr>
          <p:nvPr>
            <p:ph idx="4294967295"/>
            <p:extLst>
              <p:ext uri="{D42A27DB-BD31-4B8C-83A1-F6EECF244321}">
                <p14:modId xmlns:p14="http://schemas.microsoft.com/office/powerpoint/2010/main" val="3700433361"/>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C7CB25F2-15EE-61CD-96F8-9E24F3CFB425}"/>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C8ACCE2D-6642-ED27-3E63-215D317EDF54}"/>
              </a:ext>
            </a:extLst>
          </p:cNvPr>
          <p:cNvGraphicFramePr>
            <a:graphicFrameLocks/>
          </p:cNvGraphicFramePr>
          <p:nvPr>
            <p:extLst>
              <p:ext uri="{D42A27DB-BD31-4B8C-83A1-F6EECF244321}">
                <p14:modId xmlns:p14="http://schemas.microsoft.com/office/powerpoint/2010/main" val="682291965"/>
              </p:ext>
            </p:extLst>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8D2AC029-204E-C851-0DBB-376972B8F647}"/>
              </a:ext>
            </a:extLst>
          </p:cNvPr>
          <p:cNvGraphicFramePr>
            <a:graphicFrameLocks/>
          </p:cNvGraphicFramePr>
          <p:nvPr>
            <p:extLst>
              <p:ext uri="{D42A27DB-BD31-4B8C-83A1-F6EECF244321}">
                <p14:modId xmlns:p14="http://schemas.microsoft.com/office/powerpoint/2010/main" val="3736308396"/>
              </p:ext>
            </p:extLst>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C1">
            <a:extLst>
              <a:ext uri="{FF2B5EF4-FFF2-40B4-BE49-F238E27FC236}">
                <a16:creationId xmlns:a16="http://schemas.microsoft.com/office/drawing/2014/main" id="{F3DC8CB2-3F2B-2774-573E-DFF620E84D4C}"/>
              </a:ext>
            </a:extLst>
          </p:cNvPr>
          <p:cNvGraphicFramePr>
            <a:graphicFrameLocks/>
          </p:cNvGraphicFramePr>
          <p:nvPr>
            <p:extLst>
              <p:ext uri="{D42A27DB-BD31-4B8C-83A1-F6EECF244321}">
                <p14:modId xmlns:p14="http://schemas.microsoft.com/office/powerpoint/2010/main" val="3794511234"/>
              </p:ext>
            </p:extLst>
          </p:nvPr>
        </p:nvGraphicFramePr>
        <p:xfrm>
          <a:off x="6566444" y="1354754"/>
          <a:ext cx="2268000" cy="3374309"/>
        </p:xfrm>
        <a:graphic>
          <a:graphicData uri="http://schemas.openxmlformats.org/drawingml/2006/chart">
            <c:chart xmlns:c="http://schemas.openxmlformats.org/drawingml/2006/chart" xmlns:r="http://schemas.openxmlformats.org/officeDocument/2006/relationships" r:id="rId8"/>
          </a:graphicData>
        </a:graphic>
      </p:graphicFrame>
      <p:sp>
        <p:nvSpPr>
          <p:cNvPr id="16" name="TextBox 15">
            <a:extLst>
              <a:ext uri="{FF2B5EF4-FFF2-40B4-BE49-F238E27FC236}">
                <a16:creationId xmlns:a16="http://schemas.microsoft.com/office/drawing/2014/main" id="{8C8CB6BD-A844-74EC-CFEC-C58CFCC7C5EC}"/>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B18FE6A9-85ED-634C-B0DB-D9A4E7A1AD69}"/>
              </a:ext>
            </a:extLst>
          </p:cNvPr>
          <p:cNvGraphicFramePr>
            <a:graphicFrameLocks noGrp="1"/>
          </p:cNvGraphicFramePr>
          <p:nvPr/>
        </p:nvGraphicFramePr>
        <p:xfrm>
          <a:off x="720534" y="1121410"/>
          <a:ext cx="8113912"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gridCol w="2028478">
                  <a:extLst>
                    <a:ext uri="{9D8B030D-6E8A-4147-A177-3AD203B41FA5}">
                      <a16:colId xmlns:a16="http://schemas.microsoft.com/office/drawing/2014/main" val="3571608413"/>
                    </a:ext>
                  </a:extLst>
                </a:gridCol>
              </a:tblGrid>
              <a:tr h="235994">
                <a:tc>
                  <a:txBody>
                    <a:bodyPr/>
                    <a:lstStyle/>
                    <a:p>
                      <a:pPr algn="ctr">
                        <a:defRPr sz="1100">
                          <a:latin typeface="Nexa Book"/>
                        </a:defRPr>
                      </a:pPr>
                      <a:r>
                        <a:rPr b="1">
                          <a:solidFill>
                            <a:srgbClr val="575555"/>
                          </a:solidFill>
                        </a:rPr>
                        <a:t>Rosés</a:t>
                      </a:r>
                    </a:p>
                  </a:txBody>
                  <a:tcPr anchor="ctr">
                    <a:solidFill>
                      <a:schemeClr val="bg2"/>
                    </a:solidFill>
                  </a:tcPr>
                </a:tc>
                <a:tc>
                  <a:txBody>
                    <a:bodyPr/>
                    <a:lstStyle/>
                    <a:p>
                      <a:pPr algn="ctr">
                        <a:defRPr sz="1100">
                          <a:latin typeface="Nexa Book"/>
                        </a:defRPr>
                      </a:pPr>
                      <a:r>
                        <a:rPr b="1">
                          <a:solidFill>
                            <a:srgbClr val="575555"/>
                          </a:solidFill>
                        </a:rPr>
                        <a:t>Mousseux Bourgogne</a:t>
                      </a:r>
                    </a:p>
                  </a:txBody>
                  <a:tcPr anchor="ctr">
                    <a:solidFill>
                      <a:schemeClr val="bg2"/>
                    </a:solidFill>
                  </a:tcPr>
                </a:tc>
                <a:tc>
                  <a:txBody>
                    <a:bodyPr/>
                    <a:lstStyle/>
                    <a:p>
                      <a:pPr algn="ctr">
                        <a:defRPr sz="1100">
                          <a:latin typeface="Nexa Book"/>
                        </a:defRPr>
                      </a:pPr>
                      <a:r>
                        <a:rPr b="1">
                          <a:solidFill>
                            <a:srgbClr val="575555"/>
                          </a:solidFill>
                        </a:rPr>
                        <a:t>Mousseux Italiens</a:t>
                      </a:r>
                    </a:p>
                  </a:txBody>
                  <a:tcPr anchor="ctr">
                    <a:solidFill>
                      <a:schemeClr val="bg2"/>
                    </a:solidFill>
                  </a:tcPr>
                </a:tc>
                <a:tc>
                  <a:txBody>
                    <a:bodyPr/>
                    <a:lstStyle/>
                    <a:p>
                      <a:pPr algn="ctr">
                        <a:defRPr sz="1100">
                          <a:latin typeface="Nexa Book"/>
                        </a:defRPr>
                      </a:pPr>
                      <a:r>
                        <a:rPr b="1">
                          <a:solidFill>
                            <a:srgbClr val="575555"/>
                          </a:solidFill>
                        </a:rPr>
                        <a:t>Mousseux Val De Loire</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4234565414"/>
      </p:ext>
    </p:extLst>
  </p:cSld>
  <p:clrMapOvr>
    <a:masterClrMapping/>
  </p:clrMapOvr>
</p:sld>
</file>

<file path=ppt/slides/slide4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4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Blanc De Blancs | NICOLAS IDF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84967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636968"/>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861585"/>
            <a:ext cx="4869366" cy="791139"/>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673010"/>
            <a:ext cx="4869366" cy="1602565"/>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876526679"/>
      </p:ext>
    </p:extLst>
  </p:cSld>
  <p:clrMapOvr>
    <a:masterClrMapping/>
  </p:clrMapOvr>
</p:sld>
</file>

<file path=ppt/slides/slide4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4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Blanc De Blancs | NICOLAS PAC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51300992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1117112"/>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2332299"/>
            <a:ext cx="4869366" cy="640521"/>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983677"/>
            <a:ext cx="4869366" cy="42339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417928"/>
            <a:ext cx="4869366" cy="85764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386751703"/>
      </p:ext>
    </p:extLst>
  </p:cSld>
  <p:clrMapOvr>
    <a:masterClrMapping/>
  </p:clrMapOvr>
</p:sld>
</file>

<file path=ppt/slides/slide4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4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Blanc De Blancs | NICOLAS RH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68319690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679620"/>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903881"/>
            <a:ext cx="4869366" cy="777278"/>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701089"/>
            <a:ext cx="4869366" cy="1574486"/>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873261710"/>
      </p:ext>
    </p:extLst>
  </p:cSld>
  <p:clrMapOvr>
    <a:masterClrMapping/>
  </p:clrMapOvr>
</p:sld>
</file>

<file path=ppt/slides/slide4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4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Blanc De Blancs | NICOLAS AQU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04175418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78637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009747"/>
            <a:ext cx="4869366" cy="742582"/>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771370"/>
            <a:ext cx="4869366" cy="1504205"/>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549627640"/>
      </p:ext>
    </p:extLst>
  </p:cSld>
  <p:clrMapOvr>
    <a:masterClrMapping/>
  </p:clrMapOvr>
</p:sld>
</file>

<file path=ppt/slides/slide4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4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Blanc De Blancs | NICOLAS ES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20891740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624037"/>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841964"/>
            <a:ext cx="4869366" cy="802140"/>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657700"/>
            <a:ext cx="4869366" cy="530228"/>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201523"/>
            <a:ext cx="4869366" cy="1074052"/>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250487712"/>
      </p:ext>
    </p:extLst>
  </p:cSld>
  <p:clrMapOvr>
    <a:masterClrMapping/>
  </p:clrMapOvr>
</p:sld>
</file>

<file path=ppt/slides/slide4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4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Blanc De Blancs | CA 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1558638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1034310"/>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2249957"/>
            <a:ext cx="4869366" cy="667661"/>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928935"/>
            <a:ext cx="4869366" cy="44133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381587"/>
            <a:ext cx="4869366" cy="893988"/>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073425823"/>
      </p:ext>
    </p:extLst>
  </p:cSld>
  <p:clrMapOvr>
    <a:masterClrMapping/>
  </p:clrMapOvr>
</p:sld>
</file>

<file path=ppt/slides/slide4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4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Blanc De Blancs | CA B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3055541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68889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913079"/>
            <a:ext cx="4869366" cy="774263"/>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707196"/>
            <a:ext cx="4869366" cy="1568379"/>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924565587"/>
      </p:ext>
    </p:extLst>
  </p:cSld>
  <p:clrMapOvr>
    <a:masterClrMapping/>
  </p:clrMapOvr>
</p:sld>
</file>

<file path=ppt/slides/slide4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4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Blanc De Blancs | CA C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3672118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716296"/>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940252"/>
            <a:ext cx="4869366" cy="765358"/>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725235"/>
            <a:ext cx="4869366" cy="1550340"/>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923743399"/>
      </p:ext>
    </p:extLst>
  </p:cSld>
  <p:clrMapOvr>
    <a:masterClrMapping/>
  </p:clrMapOvr>
</p:sld>
</file>

<file path=ppt/slides/slide4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4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Blanc De Blancs | CA D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5561115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68889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913079"/>
            <a:ext cx="4869366" cy="774263"/>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707196"/>
            <a:ext cx="4869366" cy="1568379"/>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191889347"/>
      </p:ext>
    </p:extLst>
  </p:cSld>
  <p:clrMapOvr>
    <a:masterClrMapping/>
  </p:clrMapOvr>
</p:sld>
</file>

<file path=ppt/slides/slide4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4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Blanc De Blancs | CA 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42307403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783539"/>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006934"/>
            <a:ext cx="4869366" cy="74350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769503"/>
            <a:ext cx="4869366" cy="1506072"/>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8652126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F7821A1-2F42-C18A-3A14-0530E70D8A18}"/>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DC475BB2-0528-29FB-C158-9EF2E6156FB0}"/>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A6C569F5-3F88-086F-5B00-1E8A66D0F786}"/>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250C62E0-50F3-8C98-8A6C-00F3BBB96302}"/>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9746381B-5429-20C5-0029-A24C957D1C40}"/>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BCD8A60D-9E09-5437-EE3D-2051F5857F7B}"/>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5</a:t>
            </a:fld>
            <a:endParaRPr lang="en-US" noProof="0"/>
          </a:p>
        </p:txBody>
      </p:sp>
      <p:sp>
        <p:nvSpPr>
          <p:cNvPr id="37" name="Text Placeholder 36">
            <a:extLst>
              <a:ext uri="{FF2B5EF4-FFF2-40B4-BE49-F238E27FC236}">
                <a16:creationId xmlns:a16="http://schemas.microsoft.com/office/drawing/2014/main" id="{A4F500DF-07D6-F3F4-D8F8-0A850530D857}"/>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48099170-CF4A-17A7-D8E1-C8D5FA773FD7}"/>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egment | HMSM | P12M</a:t>
            </a:r>
          </a:p>
        </p:txBody>
      </p:sp>
      <p:sp>
        <p:nvSpPr>
          <p:cNvPr id="2" name="Title 1">
            <a:extLst>
              <a:ext uri="{FF2B5EF4-FFF2-40B4-BE49-F238E27FC236}">
                <a16:creationId xmlns:a16="http://schemas.microsoft.com/office/drawing/2014/main" id="{EC2E6E30-3D89-617C-9DCF-CEDDBE7FCC0C}"/>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DAAAD5C8-F0B7-3265-8959-069CFDD4A1E7}"/>
              </a:ext>
            </a:extLst>
          </p:cNvPr>
          <p:cNvGraphicFramePr>
            <a:graphicFrameLocks noGrp="1"/>
          </p:cNvGraphicFramePr>
          <p:nvPr>
            <p:ph idx="4294967295"/>
            <p:extLst>
              <p:ext uri="{D42A27DB-BD31-4B8C-83A1-F6EECF244321}">
                <p14:modId xmlns:p14="http://schemas.microsoft.com/office/powerpoint/2010/main" val="3047798105"/>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DEB88E8D-6B5F-DE01-AAF6-32AD94BA3F03}"/>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24C607CE-76BC-9557-8899-739EB84BB985}"/>
              </a:ext>
            </a:extLst>
          </p:cNvPr>
          <p:cNvGraphicFramePr>
            <a:graphicFrameLocks/>
          </p:cNvGraphicFramePr>
          <p:nvPr>
            <p:extLst>
              <p:ext uri="{D42A27DB-BD31-4B8C-83A1-F6EECF244321}">
                <p14:modId xmlns:p14="http://schemas.microsoft.com/office/powerpoint/2010/main" val="1095937500"/>
              </p:ext>
            </p:extLst>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sp>
        <p:nvSpPr>
          <p:cNvPr id="16" name="TextBox 15">
            <a:extLst>
              <a:ext uri="{FF2B5EF4-FFF2-40B4-BE49-F238E27FC236}">
                <a16:creationId xmlns:a16="http://schemas.microsoft.com/office/drawing/2014/main" id="{91EA33FD-D7F4-2B7D-DCF9-187EAC1C77AB}"/>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E4DDF06F-92F0-1389-A3D1-5EC7AC06EDBA}"/>
              </a:ext>
            </a:extLst>
          </p:cNvPr>
          <p:cNvGraphicFramePr>
            <a:graphicFrameLocks noGrp="1"/>
          </p:cNvGraphicFramePr>
          <p:nvPr>
            <p:extLst>
              <p:ext uri="{D42A27DB-BD31-4B8C-83A1-F6EECF244321}">
                <p14:modId xmlns:p14="http://schemas.microsoft.com/office/powerpoint/2010/main" val="2001560134"/>
              </p:ext>
            </p:extLst>
          </p:nvPr>
        </p:nvGraphicFramePr>
        <p:xfrm>
          <a:off x="720534" y="1121410"/>
          <a:ext cx="4056956"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tblGrid>
              <a:tr h="235994">
                <a:tc>
                  <a:txBody>
                    <a:bodyPr/>
                    <a:lstStyle/>
                    <a:p>
                      <a:pPr algn="ctr">
                        <a:defRPr sz="1100">
                          <a:latin typeface="Nexa Book"/>
                        </a:defRPr>
                      </a:pPr>
                      <a:r>
                        <a:rPr b="1">
                          <a:solidFill>
                            <a:srgbClr val="575555"/>
                          </a:solidFill>
                        </a:rPr>
                        <a:t>Mousseux Alsace</a:t>
                      </a:r>
                    </a:p>
                  </a:txBody>
                  <a:tcPr anchor="ctr">
                    <a:solidFill>
                      <a:schemeClr val="bg2"/>
                    </a:solidFill>
                  </a:tcPr>
                </a:tc>
                <a:tc>
                  <a:txBody>
                    <a:bodyPr/>
                    <a:lstStyle/>
                    <a:p>
                      <a:pPr algn="ctr">
                        <a:defRPr sz="1100">
                          <a:latin typeface="Nexa Book"/>
                        </a:defRPr>
                      </a:pPr>
                      <a:r>
                        <a:rPr b="1">
                          <a:solidFill>
                            <a:srgbClr val="575555"/>
                          </a:solidFill>
                        </a:rPr>
                        <a:t>Mousseux Bordelais</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1128511022"/>
      </p:ext>
    </p:extLst>
  </p:cSld>
  <p:clrMapOvr>
    <a:masterClrMapping/>
  </p:clrMapOvr>
</p:sld>
</file>

<file path=ppt/slides/slide4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5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Bruts | Nationa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3286706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760107"/>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977278"/>
            <a:ext cx="4869366" cy="757539"/>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747657"/>
            <a:ext cx="4869366" cy="500746"/>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261243"/>
            <a:ext cx="4869366" cy="1014332"/>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649651596"/>
      </p:ext>
    </p:extLst>
  </p:cSld>
  <p:clrMapOvr>
    <a:masterClrMapping/>
  </p:clrMapOvr>
</p:sld>
</file>

<file path=ppt/slides/slide4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5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Bruts | NICOLA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7847813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783539"/>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006934"/>
            <a:ext cx="4869366" cy="74350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769503"/>
            <a:ext cx="4869366" cy="1506072"/>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626658328"/>
      </p:ext>
    </p:extLst>
  </p:cSld>
  <p:clrMapOvr>
    <a:masterClrMapping/>
  </p:clrMapOvr>
</p:sld>
</file>

<file path=ppt/slides/slide4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5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Bruts | HMSM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54470239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749430"/>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966660"/>
            <a:ext cx="4869366" cy="761039"/>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740598"/>
            <a:ext cx="4869366" cy="503059"/>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256557"/>
            <a:ext cx="4869366" cy="1019018"/>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97426102"/>
      </p:ext>
    </p:extLst>
  </p:cSld>
  <p:clrMapOvr>
    <a:masterClrMapping/>
  </p:clrMapOvr>
</p:sld>
</file>

<file path=ppt/slides/slide4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5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Bruts | NICOLAS QC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37540893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78920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012553"/>
            <a:ext cx="4869366" cy="741662"/>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773233"/>
            <a:ext cx="4869366" cy="1502342"/>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348025711"/>
      </p:ext>
    </p:extLst>
  </p:cSld>
  <p:clrMapOvr>
    <a:masterClrMapping/>
  </p:clrMapOvr>
</p:sld>
</file>

<file path=ppt/slides/slide4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5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Bruts | NICOLAS VC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03012086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840316"/>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063238"/>
            <a:ext cx="4869366" cy="725051"/>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806881"/>
            <a:ext cx="4869366" cy="1468694"/>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059664893"/>
      </p:ext>
    </p:extLst>
  </p:cSld>
  <p:clrMapOvr>
    <a:masterClrMapping/>
  </p:clrMapOvr>
</p:sld>
</file>

<file path=ppt/slides/slide4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5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Bruts | NICOLAS QC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99929973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725290"/>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949171"/>
            <a:ext cx="4869366" cy="76243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731156"/>
            <a:ext cx="4869366" cy="1544419"/>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785013487"/>
      </p:ext>
    </p:extLst>
  </p:cSld>
  <p:clrMapOvr>
    <a:masterClrMapping/>
  </p:clrMapOvr>
</p:sld>
</file>

<file path=ppt/slides/slide4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5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Bruts | NICOLAS QC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2411824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654527"/>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878997"/>
            <a:ext cx="4869366" cy="785433"/>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684570"/>
            <a:ext cx="4869366" cy="1591005"/>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143597265"/>
      </p:ext>
    </p:extLst>
  </p:cSld>
  <p:clrMapOvr>
    <a:masterClrMapping/>
  </p:clrMapOvr>
</p:sld>
</file>

<file path=ppt/slides/slide4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5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Bruts | NICOLAS CCP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07977605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744544"/>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968264"/>
            <a:ext cx="4869366" cy="756177"/>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743831"/>
            <a:ext cx="4869366" cy="1531744"/>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864814018"/>
      </p:ext>
    </p:extLst>
  </p:cSld>
  <p:clrMapOvr>
    <a:masterClrMapping/>
  </p:clrMapOvr>
</p:sld>
</file>

<file path=ppt/slides/slide4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5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Bruts | NICOLAS IDF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61038765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766370"/>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989908"/>
            <a:ext cx="4869366" cy="74908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758200"/>
            <a:ext cx="4869366" cy="1517375"/>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443317972"/>
      </p:ext>
    </p:extLst>
  </p:cSld>
  <p:clrMapOvr>
    <a:masterClrMapping/>
  </p:clrMapOvr>
</p:sld>
</file>

<file path=ppt/slides/slide4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5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Bruts | NICOLAS PAC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12196094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78637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009747"/>
            <a:ext cx="4869366" cy="742582"/>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771370"/>
            <a:ext cx="4869366" cy="1504205"/>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437285895"/>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08FC55-424A-ACCC-676F-44C3CCC9796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415BD49-9CDB-C892-E279-946572C3A129}"/>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BE947E9A-9EDC-50FE-5484-367359C894D7}"/>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6A5025B9-0C85-A050-B069-0AC43B6B8204}"/>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1004F20C-B07D-4614-4481-965EA185837B}"/>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A91D8E7D-FEEC-5BA1-EB74-93E5E7482F85}"/>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6</a:t>
            </a:fld>
            <a:endParaRPr lang="en-US" noProof="0"/>
          </a:p>
        </p:txBody>
      </p:sp>
      <p:sp>
        <p:nvSpPr>
          <p:cNvPr id="37" name="Text Placeholder 36">
            <a:extLst>
              <a:ext uri="{FF2B5EF4-FFF2-40B4-BE49-F238E27FC236}">
                <a16:creationId xmlns:a16="http://schemas.microsoft.com/office/drawing/2014/main" id="{FA0F6888-D5CC-383A-47AD-80C683524A7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2E389274-4FCB-6DE6-41BB-F4D26E075546}"/>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egment | NICOLAS QCN | P12M</a:t>
            </a:r>
          </a:p>
        </p:txBody>
      </p:sp>
      <p:sp>
        <p:nvSpPr>
          <p:cNvPr id="2" name="Title 1">
            <a:extLst>
              <a:ext uri="{FF2B5EF4-FFF2-40B4-BE49-F238E27FC236}">
                <a16:creationId xmlns:a16="http://schemas.microsoft.com/office/drawing/2014/main" id="{0B37106B-65BB-38CE-2DE5-FACF202E6E13}"/>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3AD1043F-CB15-E170-B712-2A89D1DA680D}"/>
              </a:ext>
            </a:extLst>
          </p:cNvPr>
          <p:cNvGraphicFramePr>
            <a:graphicFrameLocks noGrp="1"/>
          </p:cNvGraphicFramePr>
          <p:nvPr>
            <p:ph idx="4294967295"/>
            <p:extLst>
              <p:ext uri="{D42A27DB-BD31-4B8C-83A1-F6EECF244321}">
                <p14:modId xmlns:p14="http://schemas.microsoft.com/office/powerpoint/2010/main" val="2104525955"/>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C7CB25F2-15EE-61CD-96F8-9E24F3CFB425}"/>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C8ACCE2D-6642-ED27-3E63-215D317EDF54}"/>
              </a:ext>
            </a:extLst>
          </p:cNvPr>
          <p:cNvGraphicFramePr>
            <a:graphicFrameLocks/>
          </p:cNvGraphicFramePr>
          <p:nvPr>
            <p:extLst>
              <p:ext uri="{D42A27DB-BD31-4B8C-83A1-F6EECF244321}">
                <p14:modId xmlns:p14="http://schemas.microsoft.com/office/powerpoint/2010/main" val="406336898"/>
              </p:ext>
            </p:extLst>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8D2AC029-204E-C851-0DBB-376972B8F647}"/>
              </a:ext>
            </a:extLst>
          </p:cNvPr>
          <p:cNvGraphicFramePr>
            <a:graphicFrameLocks/>
          </p:cNvGraphicFramePr>
          <p:nvPr>
            <p:extLst>
              <p:ext uri="{D42A27DB-BD31-4B8C-83A1-F6EECF244321}">
                <p14:modId xmlns:p14="http://schemas.microsoft.com/office/powerpoint/2010/main" val="680326794"/>
              </p:ext>
            </p:extLst>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C1">
            <a:extLst>
              <a:ext uri="{FF2B5EF4-FFF2-40B4-BE49-F238E27FC236}">
                <a16:creationId xmlns:a16="http://schemas.microsoft.com/office/drawing/2014/main" id="{F3DC8CB2-3F2B-2774-573E-DFF620E84D4C}"/>
              </a:ext>
            </a:extLst>
          </p:cNvPr>
          <p:cNvGraphicFramePr>
            <a:graphicFrameLocks/>
          </p:cNvGraphicFramePr>
          <p:nvPr>
            <p:extLst>
              <p:ext uri="{D42A27DB-BD31-4B8C-83A1-F6EECF244321}">
                <p14:modId xmlns:p14="http://schemas.microsoft.com/office/powerpoint/2010/main" val="1648726181"/>
              </p:ext>
            </p:extLst>
          </p:nvPr>
        </p:nvGraphicFramePr>
        <p:xfrm>
          <a:off x="6566444" y="1354754"/>
          <a:ext cx="2268000" cy="3374309"/>
        </p:xfrm>
        <a:graphic>
          <a:graphicData uri="http://schemas.openxmlformats.org/drawingml/2006/chart">
            <c:chart xmlns:c="http://schemas.openxmlformats.org/drawingml/2006/chart" xmlns:r="http://schemas.openxmlformats.org/officeDocument/2006/relationships" r:id="rId8"/>
          </a:graphicData>
        </a:graphic>
      </p:graphicFrame>
      <p:sp>
        <p:nvSpPr>
          <p:cNvPr id="16" name="TextBox 15">
            <a:extLst>
              <a:ext uri="{FF2B5EF4-FFF2-40B4-BE49-F238E27FC236}">
                <a16:creationId xmlns:a16="http://schemas.microsoft.com/office/drawing/2014/main" id="{8C8CB6BD-A844-74EC-CFEC-C58CFCC7C5EC}"/>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B18FE6A9-85ED-634C-B0DB-D9A4E7A1AD69}"/>
              </a:ext>
            </a:extLst>
          </p:cNvPr>
          <p:cNvGraphicFramePr>
            <a:graphicFrameLocks noGrp="1"/>
          </p:cNvGraphicFramePr>
          <p:nvPr/>
        </p:nvGraphicFramePr>
        <p:xfrm>
          <a:off x="720534" y="1121410"/>
          <a:ext cx="8113912"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gridCol w="2028478">
                  <a:extLst>
                    <a:ext uri="{9D8B030D-6E8A-4147-A177-3AD203B41FA5}">
                      <a16:colId xmlns:a16="http://schemas.microsoft.com/office/drawing/2014/main" val="3571608413"/>
                    </a:ext>
                  </a:extLst>
                </a:gridCol>
              </a:tblGrid>
              <a:tr h="235994">
                <a:tc>
                  <a:txBody>
                    <a:bodyPr/>
                    <a:lstStyle/>
                    <a:p>
                      <a:pPr algn="ctr">
                        <a:defRPr sz="1100">
                          <a:latin typeface="Nexa Book"/>
                        </a:defRPr>
                      </a:pPr>
                      <a:r>
                        <a:rPr b="1">
                          <a:solidFill>
                            <a:srgbClr val="575555"/>
                          </a:solidFill>
                        </a:rPr>
                        <a:t>Blanc De Blancs</a:t>
                      </a:r>
                    </a:p>
                  </a:txBody>
                  <a:tcPr anchor="ctr">
                    <a:solidFill>
                      <a:schemeClr val="bg2"/>
                    </a:solidFill>
                  </a:tcPr>
                </a:tc>
                <a:tc>
                  <a:txBody>
                    <a:bodyPr/>
                    <a:lstStyle/>
                    <a:p>
                      <a:pPr algn="ctr">
                        <a:defRPr sz="1100">
                          <a:latin typeface="Nexa Book"/>
                        </a:defRPr>
                      </a:pPr>
                      <a:r>
                        <a:rPr b="1">
                          <a:solidFill>
                            <a:srgbClr val="575555"/>
                          </a:solidFill>
                        </a:rPr>
                        <a:t>Bruts</a:t>
                      </a:r>
                    </a:p>
                  </a:txBody>
                  <a:tcPr anchor="ctr">
                    <a:solidFill>
                      <a:schemeClr val="bg2"/>
                    </a:solidFill>
                  </a:tcPr>
                </a:tc>
                <a:tc>
                  <a:txBody>
                    <a:bodyPr/>
                    <a:lstStyle/>
                    <a:p>
                      <a:pPr algn="ctr">
                        <a:defRPr sz="1100">
                          <a:latin typeface="Nexa Book"/>
                        </a:defRPr>
                      </a:pPr>
                      <a:r>
                        <a:rPr b="1">
                          <a:solidFill>
                            <a:srgbClr val="575555"/>
                          </a:solidFill>
                        </a:rPr>
                        <a:t>Crus</a:t>
                      </a:r>
                    </a:p>
                  </a:txBody>
                  <a:tcPr anchor="ctr">
                    <a:solidFill>
                      <a:schemeClr val="bg2"/>
                    </a:solidFill>
                  </a:tcPr>
                </a:tc>
                <a:tc>
                  <a:txBody>
                    <a:bodyPr/>
                    <a:lstStyle/>
                    <a:p>
                      <a:pPr algn="ctr">
                        <a:defRPr sz="1100">
                          <a:latin typeface="Nexa Book"/>
                        </a:defRPr>
                      </a:pPr>
                      <a:r>
                        <a:rPr b="1">
                          <a:solidFill>
                            <a:srgbClr val="575555"/>
                          </a:solidFill>
                        </a:rPr>
                        <a:t>Extra Brut</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375281399"/>
      </p:ext>
    </p:extLst>
  </p:cSld>
  <p:clrMapOvr>
    <a:masterClrMapping/>
  </p:clrMapOvr>
</p:sld>
</file>

<file path=ppt/slides/slide4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6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Bruts | NICOLAS RH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18731828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750404"/>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974076"/>
            <a:ext cx="4869366" cy="754273"/>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747689"/>
            <a:ext cx="4869366" cy="1527886"/>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044519144"/>
      </p:ext>
    </p:extLst>
  </p:cSld>
  <p:clrMapOvr>
    <a:masterClrMapping/>
  </p:clrMapOvr>
</p:sld>
</file>

<file path=ppt/slides/slide4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6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Bruts | NICOLAS AQU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62672248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893057"/>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115539"/>
            <a:ext cx="4869366" cy="707911"/>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841602"/>
            <a:ext cx="4869366" cy="1433973"/>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643255037"/>
      </p:ext>
    </p:extLst>
  </p:cSld>
  <p:clrMapOvr>
    <a:masterClrMapping/>
  </p:clrMapOvr>
</p:sld>
</file>

<file path=ppt/slides/slide4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6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Bruts | NICOLAS ES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29553575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884008"/>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106566"/>
            <a:ext cx="4869366" cy="710851"/>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835645"/>
            <a:ext cx="4869366" cy="1439930"/>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072544800"/>
      </p:ext>
    </p:extLst>
  </p:cSld>
  <p:clrMapOvr>
    <a:masterClrMapping/>
  </p:clrMapOvr>
</p:sld>
</file>

<file path=ppt/slides/slide4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6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Bruts | CA 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5217589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741602"/>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965347"/>
            <a:ext cx="4869366" cy="757133"/>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741894"/>
            <a:ext cx="4869366" cy="1533681"/>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17866606"/>
      </p:ext>
    </p:extLst>
  </p:cSld>
  <p:clrMapOvr>
    <a:masterClrMapping/>
  </p:clrMapOvr>
</p:sld>
</file>

<file path=ppt/slides/slide4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6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Bruts | CA B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08172452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790617"/>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013953"/>
            <a:ext cx="4869366" cy="741203"/>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774162"/>
            <a:ext cx="4869366" cy="1501413"/>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166815480"/>
      </p:ext>
    </p:extLst>
  </p:cSld>
  <p:clrMapOvr>
    <a:masterClrMapping/>
  </p:clrMapOvr>
</p:sld>
</file>

<file path=ppt/slides/slide4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6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Bruts | CA C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01561311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804643"/>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027862"/>
            <a:ext cx="4869366" cy="7366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783396"/>
            <a:ext cx="4869366" cy="1492179"/>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636399064"/>
      </p:ext>
    </p:extLst>
  </p:cSld>
  <p:clrMapOvr>
    <a:masterClrMapping/>
  </p:clrMapOvr>
</p:sld>
</file>

<file path=ppt/slides/slide4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6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Bruts | CA D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37370371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78920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012553"/>
            <a:ext cx="4869366" cy="741662"/>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773233"/>
            <a:ext cx="4869366" cy="1502342"/>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02136138"/>
      </p:ext>
    </p:extLst>
  </p:cSld>
  <p:clrMapOvr>
    <a:masterClrMapping/>
  </p:clrMapOvr>
</p:sld>
</file>

<file path=ppt/slides/slide4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6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Bruts | CA 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59153918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804643"/>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027862"/>
            <a:ext cx="4869366" cy="7366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783396"/>
            <a:ext cx="4869366" cy="1492179"/>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8120754"/>
      </p:ext>
    </p:extLst>
  </p:cSld>
  <p:clrMapOvr>
    <a:masterClrMapping/>
  </p:clrMapOvr>
</p:sld>
</file>

<file path=ppt/slides/slide4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6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rus | Nationa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97159628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451169"/>
            <a:ext cx="4869366" cy="9256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593128468"/>
      </p:ext>
    </p:extLst>
  </p:cSld>
  <p:clrMapOvr>
    <a:masterClrMapping/>
  </p:clrMapOvr>
</p:sld>
</file>

<file path=ppt/slides/slide4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6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rus | NICOLA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91007524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413570"/>
            <a:ext cx="4869366" cy="937968"/>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165292797"/>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08FC55-424A-ACCC-676F-44C3CCC9796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415BD49-9CDB-C892-E279-946572C3A129}"/>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BE947E9A-9EDC-50FE-5484-367359C894D7}"/>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6A5025B9-0C85-A050-B069-0AC43B6B8204}"/>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1004F20C-B07D-4614-4481-965EA185837B}"/>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A91D8E7D-FEEC-5BA1-EB74-93E5E7482F85}"/>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7</a:t>
            </a:fld>
            <a:endParaRPr lang="en-US" noProof="0"/>
          </a:p>
        </p:txBody>
      </p:sp>
      <p:sp>
        <p:nvSpPr>
          <p:cNvPr id="37" name="Text Placeholder 36">
            <a:extLst>
              <a:ext uri="{FF2B5EF4-FFF2-40B4-BE49-F238E27FC236}">
                <a16:creationId xmlns:a16="http://schemas.microsoft.com/office/drawing/2014/main" id="{FA0F6888-D5CC-383A-47AD-80C683524A7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2E389274-4FCB-6DE6-41BB-F4D26E075546}"/>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egment | NICOLAS QCN | P12M</a:t>
            </a:r>
          </a:p>
        </p:txBody>
      </p:sp>
      <p:sp>
        <p:nvSpPr>
          <p:cNvPr id="2" name="Title 1">
            <a:extLst>
              <a:ext uri="{FF2B5EF4-FFF2-40B4-BE49-F238E27FC236}">
                <a16:creationId xmlns:a16="http://schemas.microsoft.com/office/drawing/2014/main" id="{0B37106B-65BB-38CE-2DE5-FACF202E6E13}"/>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3AD1043F-CB15-E170-B712-2A89D1DA680D}"/>
              </a:ext>
            </a:extLst>
          </p:cNvPr>
          <p:cNvGraphicFramePr>
            <a:graphicFrameLocks noGrp="1"/>
          </p:cNvGraphicFramePr>
          <p:nvPr>
            <p:ph idx="4294967295"/>
            <p:extLst>
              <p:ext uri="{D42A27DB-BD31-4B8C-83A1-F6EECF244321}">
                <p14:modId xmlns:p14="http://schemas.microsoft.com/office/powerpoint/2010/main" val="3895198101"/>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C7CB25F2-15EE-61CD-96F8-9E24F3CFB425}"/>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C8ACCE2D-6642-ED27-3E63-215D317EDF54}"/>
              </a:ext>
            </a:extLst>
          </p:cNvPr>
          <p:cNvGraphicFramePr>
            <a:graphicFrameLocks/>
          </p:cNvGraphicFramePr>
          <p:nvPr>
            <p:extLst>
              <p:ext uri="{D42A27DB-BD31-4B8C-83A1-F6EECF244321}">
                <p14:modId xmlns:p14="http://schemas.microsoft.com/office/powerpoint/2010/main" val="598573844"/>
              </p:ext>
            </p:extLst>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8D2AC029-204E-C851-0DBB-376972B8F647}"/>
              </a:ext>
            </a:extLst>
          </p:cNvPr>
          <p:cNvGraphicFramePr>
            <a:graphicFrameLocks/>
          </p:cNvGraphicFramePr>
          <p:nvPr>
            <p:extLst>
              <p:ext uri="{D42A27DB-BD31-4B8C-83A1-F6EECF244321}">
                <p14:modId xmlns:p14="http://schemas.microsoft.com/office/powerpoint/2010/main" val="915757431"/>
              </p:ext>
            </p:extLst>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C1">
            <a:extLst>
              <a:ext uri="{FF2B5EF4-FFF2-40B4-BE49-F238E27FC236}">
                <a16:creationId xmlns:a16="http://schemas.microsoft.com/office/drawing/2014/main" id="{F3DC8CB2-3F2B-2774-573E-DFF620E84D4C}"/>
              </a:ext>
            </a:extLst>
          </p:cNvPr>
          <p:cNvGraphicFramePr>
            <a:graphicFrameLocks/>
          </p:cNvGraphicFramePr>
          <p:nvPr>
            <p:extLst>
              <p:ext uri="{D42A27DB-BD31-4B8C-83A1-F6EECF244321}">
                <p14:modId xmlns:p14="http://schemas.microsoft.com/office/powerpoint/2010/main" val="2581998157"/>
              </p:ext>
            </p:extLst>
          </p:nvPr>
        </p:nvGraphicFramePr>
        <p:xfrm>
          <a:off x="6566444" y="1354754"/>
          <a:ext cx="2268000" cy="3374309"/>
        </p:xfrm>
        <a:graphic>
          <a:graphicData uri="http://schemas.openxmlformats.org/drawingml/2006/chart">
            <c:chart xmlns:c="http://schemas.openxmlformats.org/drawingml/2006/chart" xmlns:r="http://schemas.openxmlformats.org/officeDocument/2006/relationships" r:id="rId8"/>
          </a:graphicData>
        </a:graphic>
      </p:graphicFrame>
      <p:sp>
        <p:nvSpPr>
          <p:cNvPr id="16" name="TextBox 15">
            <a:extLst>
              <a:ext uri="{FF2B5EF4-FFF2-40B4-BE49-F238E27FC236}">
                <a16:creationId xmlns:a16="http://schemas.microsoft.com/office/drawing/2014/main" id="{8C8CB6BD-A844-74EC-CFEC-C58CFCC7C5EC}"/>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B18FE6A9-85ED-634C-B0DB-D9A4E7A1AD69}"/>
              </a:ext>
            </a:extLst>
          </p:cNvPr>
          <p:cNvGraphicFramePr>
            <a:graphicFrameLocks noGrp="1"/>
          </p:cNvGraphicFramePr>
          <p:nvPr/>
        </p:nvGraphicFramePr>
        <p:xfrm>
          <a:off x="720534" y="1121410"/>
          <a:ext cx="8113912"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gridCol w="2028478">
                  <a:extLst>
                    <a:ext uri="{9D8B030D-6E8A-4147-A177-3AD203B41FA5}">
                      <a16:colId xmlns:a16="http://schemas.microsoft.com/office/drawing/2014/main" val="3571608413"/>
                    </a:ext>
                  </a:extLst>
                </a:gridCol>
              </a:tblGrid>
              <a:tr h="235994">
                <a:tc>
                  <a:txBody>
                    <a:bodyPr/>
                    <a:lstStyle/>
                    <a:p>
                      <a:pPr algn="ctr">
                        <a:defRPr sz="1100">
                          <a:latin typeface="Nexa Book"/>
                        </a:defRPr>
                      </a:pPr>
                      <a:r>
                        <a:rPr b="1">
                          <a:solidFill>
                            <a:srgbClr val="575555"/>
                          </a:solidFill>
                        </a:rPr>
                        <a:t>Millesimes</a:t>
                      </a:r>
                    </a:p>
                  </a:txBody>
                  <a:tcPr anchor="ctr">
                    <a:solidFill>
                      <a:schemeClr val="bg2"/>
                    </a:solidFill>
                  </a:tcPr>
                </a:tc>
                <a:tc>
                  <a:txBody>
                    <a:bodyPr/>
                    <a:lstStyle/>
                    <a:p>
                      <a:pPr algn="ctr">
                        <a:defRPr sz="1100">
                          <a:latin typeface="Nexa Book"/>
                        </a:defRPr>
                      </a:pPr>
                      <a:r>
                        <a:rPr b="1">
                          <a:solidFill>
                            <a:srgbClr val="575555"/>
                          </a:solidFill>
                        </a:rPr>
                        <a:t>Rosés</a:t>
                      </a:r>
                    </a:p>
                  </a:txBody>
                  <a:tcPr anchor="ctr">
                    <a:solidFill>
                      <a:schemeClr val="bg2"/>
                    </a:solidFill>
                  </a:tcPr>
                </a:tc>
                <a:tc>
                  <a:txBody>
                    <a:bodyPr/>
                    <a:lstStyle/>
                    <a:p>
                      <a:pPr algn="ctr">
                        <a:defRPr sz="1100">
                          <a:latin typeface="Nexa Book"/>
                        </a:defRPr>
                      </a:pPr>
                      <a:r>
                        <a:rPr b="1">
                          <a:solidFill>
                            <a:srgbClr val="575555"/>
                          </a:solidFill>
                        </a:rPr>
                        <a:t>Mousseux Bourgogne</a:t>
                      </a:r>
                    </a:p>
                  </a:txBody>
                  <a:tcPr anchor="ctr">
                    <a:solidFill>
                      <a:schemeClr val="bg2"/>
                    </a:solidFill>
                  </a:tcPr>
                </a:tc>
                <a:tc>
                  <a:txBody>
                    <a:bodyPr/>
                    <a:lstStyle/>
                    <a:p>
                      <a:pPr algn="ctr">
                        <a:defRPr sz="1100">
                          <a:latin typeface="Nexa Book"/>
                        </a:defRPr>
                      </a:pPr>
                      <a:r>
                        <a:rPr b="1">
                          <a:solidFill>
                            <a:srgbClr val="575555"/>
                          </a:solidFill>
                        </a:rPr>
                        <a:t>Mousseux Italiens</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2558626365"/>
      </p:ext>
    </p:extLst>
  </p:cSld>
  <p:clrMapOvr>
    <a:masterClrMapping/>
  </p:clrMapOvr>
</p:sld>
</file>

<file path=ppt/slides/slide4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7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rus | NICOLAS QC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7628938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438012"/>
            <a:ext cx="4869366" cy="929957"/>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177747049"/>
      </p:ext>
    </p:extLst>
  </p:cSld>
  <p:clrMapOvr>
    <a:masterClrMapping/>
  </p:clrMapOvr>
</p:sld>
</file>

<file path=ppt/slides/slide4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7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rus | NICOLAS VC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97363454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411327"/>
            <a:ext cx="4869366" cy="938703"/>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808921025"/>
      </p:ext>
    </p:extLst>
  </p:cSld>
  <p:clrMapOvr>
    <a:masterClrMapping/>
  </p:clrMapOvr>
</p:sld>
</file>

<file path=ppt/slides/slide4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7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rus | NICOLAS QC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92496139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402320"/>
            <a:ext cx="4869366" cy="94165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595439612"/>
      </p:ext>
    </p:extLst>
  </p:cSld>
  <p:clrMapOvr>
    <a:masterClrMapping/>
  </p:clrMapOvr>
</p:sld>
</file>

<file path=ppt/slides/slide4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7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rus | NICOLAS QC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71686249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384134"/>
            <a:ext cx="4869366" cy="94761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661759119"/>
      </p:ext>
    </p:extLst>
  </p:cSld>
  <p:clrMapOvr>
    <a:masterClrMapping/>
  </p:clrMapOvr>
</p:sld>
</file>

<file path=ppt/slides/slide4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7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rus | NICOLAS CCP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71948656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337648"/>
            <a:ext cx="4869366" cy="962850"/>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259030417"/>
      </p:ext>
    </p:extLst>
  </p:cSld>
  <p:clrMapOvr>
    <a:masterClrMapping/>
  </p:clrMapOvr>
</p:sld>
</file>

<file path=ppt/slides/slide4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7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rus | NICOLAS IDF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72525080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457702"/>
            <a:ext cx="4869366" cy="92350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23872230"/>
      </p:ext>
    </p:extLst>
  </p:cSld>
  <p:clrMapOvr>
    <a:masterClrMapping/>
  </p:clrMapOvr>
</p:sld>
</file>

<file path=ppt/slides/slide4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7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rus | NICOLAS PAC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79248837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415809"/>
            <a:ext cx="4869366" cy="93723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168198233"/>
      </p:ext>
    </p:extLst>
  </p:cSld>
  <p:clrMapOvr>
    <a:masterClrMapping/>
  </p:clrMapOvr>
</p:sld>
</file>

<file path=ppt/slides/slide4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7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rus | NICOLAS RH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37457035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510990"/>
            <a:ext cx="4869366" cy="906040"/>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288772733"/>
      </p:ext>
    </p:extLst>
  </p:cSld>
  <p:clrMapOvr>
    <a:masterClrMapping/>
  </p:clrMapOvr>
</p:sld>
</file>

<file path=ppt/slides/slide4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7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rus | NICOLAS AQU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98046084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431388"/>
            <a:ext cx="4869366" cy="932128"/>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790483766"/>
      </p:ext>
    </p:extLst>
  </p:cSld>
  <p:clrMapOvr>
    <a:masterClrMapping/>
  </p:clrMapOvr>
</p:sld>
</file>

<file path=ppt/slides/slide4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7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rus | NICOLAS ES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94859763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446797"/>
            <a:ext cx="4869366" cy="927078"/>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585688138"/>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65918C-CF2D-B9BE-373E-8055AB4F589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BE947E9A-9EDC-50FE-5484-367359C894D7}"/>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DC475BB2-0528-29FB-C158-9EF2E6156FB0}"/>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C87CB3FA-1793-85BB-0720-68CB9A322CAF}"/>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300044B2-FAA5-2879-ADFC-6874BBAF83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DA8BB0C0-E087-2E71-1F6D-E725250BE3D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8</a:t>
            </a:fld>
            <a:endParaRPr lang="en-US" noProof="0"/>
          </a:p>
        </p:txBody>
      </p:sp>
      <p:sp>
        <p:nvSpPr>
          <p:cNvPr id="37" name="Text Placeholder 36">
            <a:extLst>
              <a:ext uri="{FF2B5EF4-FFF2-40B4-BE49-F238E27FC236}">
                <a16:creationId xmlns:a16="http://schemas.microsoft.com/office/drawing/2014/main" id="{4918FA18-B639-A629-2E9B-674B54B4AACA}"/>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37405B8B-A5F3-F9D8-A571-2F38544BBDBA}"/>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egment | NICOLAS QCN | P12M</a:t>
            </a:r>
          </a:p>
        </p:txBody>
      </p:sp>
      <p:sp>
        <p:nvSpPr>
          <p:cNvPr id="2" name="Title 1">
            <a:extLst>
              <a:ext uri="{FF2B5EF4-FFF2-40B4-BE49-F238E27FC236}">
                <a16:creationId xmlns:a16="http://schemas.microsoft.com/office/drawing/2014/main" id="{12784FBB-01F7-DE64-BC02-E8B59B51E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8694A9E2-2E6E-DE42-FC36-3888D1308CB4}"/>
              </a:ext>
            </a:extLst>
          </p:cNvPr>
          <p:cNvGraphicFramePr>
            <a:graphicFrameLocks noGrp="1"/>
          </p:cNvGraphicFramePr>
          <p:nvPr>
            <p:ph idx="4294967295"/>
            <p:extLst>
              <p:ext uri="{D42A27DB-BD31-4B8C-83A1-F6EECF244321}">
                <p14:modId xmlns:p14="http://schemas.microsoft.com/office/powerpoint/2010/main" val="3196399483"/>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F456CAE2-40D9-C89C-01D4-02D92ECC325F}"/>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9C31F180-BE4C-077E-6172-FE9EFF5651B0}"/>
              </a:ext>
            </a:extLst>
          </p:cNvPr>
          <p:cNvGraphicFramePr>
            <a:graphicFrameLocks/>
          </p:cNvGraphicFramePr>
          <p:nvPr>
            <p:extLst>
              <p:ext uri="{D42A27DB-BD31-4B8C-83A1-F6EECF244321}">
                <p14:modId xmlns:p14="http://schemas.microsoft.com/office/powerpoint/2010/main" val="494192595"/>
              </p:ext>
            </p:extLst>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01B1A8DD-FED6-2C47-296D-0983D1E720B2}"/>
              </a:ext>
            </a:extLst>
          </p:cNvPr>
          <p:cNvGraphicFramePr>
            <a:graphicFrameLocks/>
          </p:cNvGraphicFramePr>
          <p:nvPr>
            <p:extLst>
              <p:ext uri="{D42A27DB-BD31-4B8C-83A1-F6EECF244321}">
                <p14:modId xmlns:p14="http://schemas.microsoft.com/office/powerpoint/2010/main" val="2327827922"/>
              </p:ext>
            </p:extLst>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sp>
        <p:nvSpPr>
          <p:cNvPr id="16" name="TextBox 15">
            <a:extLst>
              <a:ext uri="{FF2B5EF4-FFF2-40B4-BE49-F238E27FC236}">
                <a16:creationId xmlns:a16="http://schemas.microsoft.com/office/drawing/2014/main" id="{2B180312-FE46-D4C9-3734-1E3750820943}"/>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4DB211A7-591C-E03E-65DC-47EB4C0D8D03}"/>
              </a:ext>
            </a:extLst>
          </p:cNvPr>
          <p:cNvGraphicFramePr>
            <a:graphicFrameLocks noGrp="1"/>
          </p:cNvGraphicFramePr>
          <p:nvPr>
            <p:extLst>
              <p:ext uri="{D42A27DB-BD31-4B8C-83A1-F6EECF244321}">
                <p14:modId xmlns:p14="http://schemas.microsoft.com/office/powerpoint/2010/main" val="2790109015"/>
              </p:ext>
            </p:extLst>
          </p:nvPr>
        </p:nvGraphicFramePr>
        <p:xfrm>
          <a:off x="720534" y="1121410"/>
          <a:ext cx="6085434"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tblGrid>
              <a:tr h="235994">
                <a:tc>
                  <a:txBody>
                    <a:bodyPr/>
                    <a:lstStyle/>
                    <a:p>
                      <a:pPr algn="ctr">
                        <a:defRPr sz="1100">
                          <a:latin typeface="Nexa Book"/>
                        </a:defRPr>
                      </a:pPr>
                      <a:r>
                        <a:rPr b="1">
                          <a:solidFill>
                            <a:srgbClr val="575555"/>
                          </a:solidFill>
                        </a:rPr>
                        <a:t>Mousseux Val De Loire</a:t>
                      </a:r>
                    </a:p>
                  </a:txBody>
                  <a:tcPr anchor="ctr">
                    <a:solidFill>
                      <a:schemeClr val="bg2"/>
                    </a:solidFill>
                  </a:tcPr>
                </a:tc>
                <a:tc>
                  <a:txBody>
                    <a:bodyPr/>
                    <a:lstStyle/>
                    <a:p>
                      <a:pPr algn="ctr">
                        <a:defRPr sz="1100">
                          <a:latin typeface="Nexa Book"/>
                        </a:defRPr>
                      </a:pPr>
                      <a:r>
                        <a:rPr b="1">
                          <a:solidFill>
                            <a:srgbClr val="575555"/>
                          </a:solidFill>
                        </a:rPr>
                        <a:t>Mousseux Alsace</a:t>
                      </a:r>
                    </a:p>
                  </a:txBody>
                  <a:tcPr anchor="ctr">
                    <a:solidFill>
                      <a:schemeClr val="bg2"/>
                    </a:solidFill>
                  </a:tcPr>
                </a:tc>
                <a:tc>
                  <a:txBody>
                    <a:bodyPr/>
                    <a:lstStyle/>
                    <a:p>
                      <a:pPr algn="ctr">
                        <a:defRPr sz="1100">
                          <a:latin typeface="Nexa Book"/>
                        </a:defRPr>
                      </a:pPr>
                      <a:r>
                        <a:rPr b="1">
                          <a:solidFill>
                            <a:srgbClr val="575555"/>
                          </a:solidFill>
                        </a:rPr>
                        <a:t>Mousseux Bordelais</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1326115440"/>
      </p:ext>
    </p:extLst>
  </p:cSld>
  <p:clrMapOvr>
    <a:masterClrMapping/>
  </p:clrMapOvr>
</p:sld>
</file>

<file path=ppt/slides/slide4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8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rus | CA 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49146280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466366"/>
            <a:ext cx="4869366" cy="92066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61994331"/>
      </p:ext>
    </p:extLst>
  </p:cSld>
  <p:clrMapOvr>
    <a:masterClrMapping/>
  </p:clrMapOvr>
</p:sld>
</file>

<file path=ppt/slides/slide4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8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rus | CA B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15255350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446797"/>
            <a:ext cx="4869366" cy="927078"/>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222040846"/>
      </p:ext>
    </p:extLst>
  </p:cSld>
  <p:clrMapOvr>
    <a:masterClrMapping/>
  </p:clrMapOvr>
</p:sld>
</file>

<file path=ppt/slides/slide4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8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rus | CA C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72740119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453350"/>
            <a:ext cx="4869366" cy="924930"/>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876483307"/>
      </p:ext>
    </p:extLst>
  </p:cSld>
  <p:clrMapOvr>
    <a:masterClrMapping/>
  </p:clrMapOvr>
</p:sld>
</file>

<file path=ppt/slides/slide4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8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rus | CA D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24788886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390981"/>
            <a:ext cx="4869366" cy="945371"/>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76312890"/>
      </p:ext>
    </p:extLst>
  </p:cSld>
  <p:clrMapOvr>
    <a:masterClrMapping/>
  </p:clrMapOvr>
</p:sld>
</file>

<file path=ppt/slides/slide4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8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rus | CA 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0983715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384134"/>
            <a:ext cx="4869366" cy="94761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193864888"/>
      </p:ext>
    </p:extLst>
  </p:cSld>
  <p:clrMapOvr>
    <a:masterClrMapping/>
  </p:clrMapOvr>
</p:sld>
</file>

<file path=ppt/slides/slide4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8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Extra Brut | Nationa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83872316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722300"/>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946205"/>
            <a:ext cx="4869366" cy="763406"/>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592397450"/>
      </p:ext>
    </p:extLst>
  </p:cSld>
  <p:clrMapOvr>
    <a:masterClrMapping/>
  </p:clrMapOvr>
</p:sld>
</file>

<file path=ppt/slides/slide4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8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Extra Brut | NICOLA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5436719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625661"/>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850372"/>
            <a:ext cx="4869366" cy="79481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800702962"/>
      </p:ext>
    </p:extLst>
  </p:cSld>
  <p:clrMapOvr>
    <a:masterClrMapping/>
  </p:clrMapOvr>
</p:sld>
</file>

<file path=ppt/slides/slide4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8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Extra Brut | HMSM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35907736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229924"/>
            <a:ext cx="4869366" cy="99815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555702257"/>
      </p:ext>
    </p:extLst>
  </p:cSld>
  <p:clrMapOvr>
    <a:masterClrMapping/>
  </p:clrMapOvr>
</p:sld>
</file>

<file path=ppt/slides/slide4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8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Extra Brut | NICOLAS QC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84506798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633748"/>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858392"/>
            <a:ext cx="4869366" cy="792186"/>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251753660"/>
      </p:ext>
    </p:extLst>
  </p:cSld>
  <p:clrMapOvr>
    <a:masterClrMapping/>
  </p:clrMapOvr>
</p:sld>
</file>

<file path=ppt/slides/slide4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8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Extra Brut | NICOLAS VC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60504269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641782"/>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866359"/>
            <a:ext cx="4869366" cy="78957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898705506"/>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08FC55-424A-ACCC-676F-44C3CCC9796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415BD49-9CDB-C892-E279-946572C3A129}"/>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BE947E9A-9EDC-50FE-5484-367359C894D7}"/>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6A5025B9-0C85-A050-B069-0AC43B6B8204}"/>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1004F20C-B07D-4614-4481-965EA185837B}"/>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A91D8E7D-FEEC-5BA1-EB74-93E5E7482F85}"/>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9</a:t>
            </a:fld>
            <a:endParaRPr lang="en-US" noProof="0"/>
          </a:p>
        </p:txBody>
      </p:sp>
      <p:sp>
        <p:nvSpPr>
          <p:cNvPr id="37" name="Text Placeholder 36">
            <a:extLst>
              <a:ext uri="{FF2B5EF4-FFF2-40B4-BE49-F238E27FC236}">
                <a16:creationId xmlns:a16="http://schemas.microsoft.com/office/drawing/2014/main" id="{FA0F6888-D5CC-383A-47AD-80C683524A7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2E389274-4FCB-6DE6-41BB-F4D26E075546}"/>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egment | NICOLAS VCN | P12M</a:t>
            </a:r>
          </a:p>
        </p:txBody>
      </p:sp>
      <p:sp>
        <p:nvSpPr>
          <p:cNvPr id="2" name="Title 1">
            <a:extLst>
              <a:ext uri="{FF2B5EF4-FFF2-40B4-BE49-F238E27FC236}">
                <a16:creationId xmlns:a16="http://schemas.microsoft.com/office/drawing/2014/main" id="{0B37106B-65BB-38CE-2DE5-FACF202E6E13}"/>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3AD1043F-CB15-E170-B712-2A89D1DA680D}"/>
              </a:ext>
            </a:extLst>
          </p:cNvPr>
          <p:cNvGraphicFramePr>
            <a:graphicFrameLocks noGrp="1"/>
          </p:cNvGraphicFramePr>
          <p:nvPr>
            <p:ph idx="4294967295"/>
            <p:extLst>
              <p:ext uri="{D42A27DB-BD31-4B8C-83A1-F6EECF244321}">
                <p14:modId xmlns:p14="http://schemas.microsoft.com/office/powerpoint/2010/main" val="1644832618"/>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C7CB25F2-15EE-61CD-96F8-9E24F3CFB425}"/>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C8ACCE2D-6642-ED27-3E63-215D317EDF54}"/>
              </a:ext>
            </a:extLst>
          </p:cNvPr>
          <p:cNvGraphicFramePr>
            <a:graphicFrameLocks/>
          </p:cNvGraphicFramePr>
          <p:nvPr>
            <p:extLst>
              <p:ext uri="{D42A27DB-BD31-4B8C-83A1-F6EECF244321}">
                <p14:modId xmlns:p14="http://schemas.microsoft.com/office/powerpoint/2010/main" val="346072154"/>
              </p:ext>
            </p:extLst>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8D2AC029-204E-C851-0DBB-376972B8F647}"/>
              </a:ext>
            </a:extLst>
          </p:cNvPr>
          <p:cNvGraphicFramePr>
            <a:graphicFrameLocks/>
          </p:cNvGraphicFramePr>
          <p:nvPr>
            <p:extLst>
              <p:ext uri="{D42A27DB-BD31-4B8C-83A1-F6EECF244321}">
                <p14:modId xmlns:p14="http://schemas.microsoft.com/office/powerpoint/2010/main" val="719396801"/>
              </p:ext>
            </p:extLst>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C1">
            <a:extLst>
              <a:ext uri="{FF2B5EF4-FFF2-40B4-BE49-F238E27FC236}">
                <a16:creationId xmlns:a16="http://schemas.microsoft.com/office/drawing/2014/main" id="{F3DC8CB2-3F2B-2774-573E-DFF620E84D4C}"/>
              </a:ext>
            </a:extLst>
          </p:cNvPr>
          <p:cNvGraphicFramePr>
            <a:graphicFrameLocks/>
          </p:cNvGraphicFramePr>
          <p:nvPr>
            <p:extLst>
              <p:ext uri="{D42A27DB-BD31-4B8C-83A1-F6EECF244321}">
                <p14:modId xmlns:p14="http://schemas.microsoft.com/office/powerpoint/2010/main" val="1988151432"/>
              </p:ext>
            </p:extLst>
          </p:nvPr>
        </p:nvGraphicFramePr>
        <p:xfrm>
          <a:off x="6566444" y="1354754"/>
          <a:ext cx="2268000" cy="3374309"/>
        </p:xfrm>
        <a:graphic>
          <a:graphicData uri="http://schemas.openxmlformats.org/drawingml/2006/chart">
            <c:chart xmlns:c="http://schemas.openxmlformats.org/drawingml/2006/chart" xmlns:r="http://schemas.openxmlformats.org/officeDocument/2006/relationships" r:id="rId8"/>
          </a:graphicData>
        </a:graphic>
      </p:graphicFrame>
      <p:sp>
        <p:nvSpPr>
          <p:cNvPr id="16" name="TextBox 15">
            <a:extLst>
              <a:ext uri="{FF2B5EF4-FFF2-40B4-BE49-F238E27FC236}">
                <a16:creationId xmlns:a16="http://schemas.microsoft.com/office/drawing/2014/main" id="{8C8CB6BD-A844-74EC-CFEC-C58CFCC7C5EC}"/>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B18FE6A9-85ED-634C-B0DB-D9A4E7A1AD69}"/>
              </a:ext>
            </a:extLst>
          </p:cNvPr>
          <p:cNvGraphicFramePr>
            <a:graphicFrameLocks noGrp="1"/>
          </p:cNvGraphicFramePr>
          <p:nvPr/>
        </p:nvGraphicFramePr>
        <p:xfrm>
          <a:off x="720534" y="1121410"/>
          <a:ext cx="8113912"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gridCol w="2028478">
                  <a:extLst>
                    <a:ext uri="{9D8B030D-6E8A-4147-A177-3AD203B41FA5}">
                      <a16:colId xmlns:a16="http://schemas.microsoft.com/office/drawing/2014/main" val="3571608413"/>
                    </a:ext>
                  </a:extLst>
                </a:gridCol>
              </a:tblGrid>
              <a:tr h="235994">
                <a:tc>
                  <a:txBody>
                    <a:bodyPr/>
                    <a:lstStyle/>
                    <a:p>
                      <a:pPr algn="ctr">
                        <a:defRPr sz="1100">
                          <a:latin typeface="Nexa Book"/>
                        </a:defRPr>
                      </a:pPr>
                      <a:r>
                        <a:rPr b="1">
                          <a:solidFill>
                            <a:srgbClr val="575555"/>
                          </a:solidFill>
                        </a:rPr>
                        <a:t>Blanc De Blancs</a:t>
                      </a:r>
                    </a:p>
                  </a:txBody>
                  <a:tcPr anchor="ctr">
                    <a:solidFill>
                      <a:schemeClr val="bg2"/>
                    </a:solidFill>
                  </a:tcPr>
                </a:tc>
                <a:tc>
                  <a:txBody>
                    <a:bodyPr/>
                    <a:lstStyle/>
                    <a:p>
                      <a:pPr algn="ctr">
                        <a:defRPr sz="1100">
                          <a:latin typeface="Nexa Book"/>
                        </a:defRPr>
                      </a:pPr>
                      <a:r>
                        <a:rPr b="1">
                          <a:solidFill>
                            <a:srgbClr val="575555"/>
                          </a:solidFill>
                        </a:rPr>
                        <a:t>Bruts</a:t>
                      </a:r>
                    </a:p>
                  </a:txBody>
                  <a:tcPr anchor="ctr">
                    <a:solidFill>
                      <a:schemeClr val="bg2"/>
                    </a:solidFill>
                  </a:tcPr>
                </a:tc>
                <a:tc>
                  <a:txBody>
                    <a:bodyPr/>
                    <a:lstStyle/>
                    <a:p>
                      <a:pPr algn="ctr">
                        <a:defRPr sz="1100">
                          <a:latin typeface="Nexa Book"/>
                        </a:defRPr>
                      </a:pPr>
                      <a:r>
                        <a:rPr b="1">
                          <a:solidFill>
                            <a:srgbClr val="575555"/>
                          </a:solidFill>
                        </a:rPr>
                        <a:t>Crus</a:t>
                      </a:r>
                    </a:p>
                  </a:txBody>
                  <a:tcPr anchor="ctr">
                    <a:solidFill>
                      <a:schemeClr val="bg2"/>
                    </a:solidFill>
                  </a:tcPr>
                </a:tc>
                <a:tc>
                  <a:txBody>
                    <a:bodyPr/>
                    <a:lstStyle/>
                    <a:p>
                      <a:pPr algn="ctr">
                        <a:defRPr sz="1100">
                          <a:latin typeface="Nexa Book"/>
                        </a:defRPr>
                      </a:pPr>
                      <a:r>
                        <a:rPr b="1">
                          <a:solidFill>
                            <a:srgbClr val="575555"/>
                          </a:solidFill>
                        </a:rPr>
                        <a:t>Extra Brut</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2268163489"/>
      </p:ext>
    </p:extLst>
  </p:cSld>
  <p:clrMapOvr>
    <a:masterClrMapping/>
  </p:clrMapOvr>
</p:sld>
</file>

<file path=ppt/slides/slide4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9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Extra Brut | NICOLAS QC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71274827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602729"/>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827631"/>
            <a:ext cx="4869366" cy="802267"/>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781988170"/>
      </p:ext>
    </p:extLst>
  </p:cSld>
  <p:clrMapOvr>
    <a:masterClrMapping/>
  </p:clrMapOvr>
</p:sld>
</file>

<file path=ppt/slides/slide4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9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Extra Brut | NICOLAS QC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28425729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558979"/>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784245"/>
            <a:ext cx="4869366" cy="816486"/>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97644348"/>
      </p:ext>
    </p:extLst>
  </p:cSld>
  <p:clrMapOvr>
    <a:masterClrMapping/>
  </p:clrMapOvr>
</p:sld>
</file>

<file path=ppt/slides/slide4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9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Extra Brut | NICOLAS CCP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23532530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681171"/>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905419"/>
            <a:ext cx="4869366" cy="77677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593554905"/>
      </p:ext>
    </p:extLst>
  </p:cSld>
  <p:clrMapOvr>
    <a:masterClrMapping/>
  </p:clrMapOvr>
</p:sld>
</file>

<file path=ppt/slides/slide4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9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Extra Brut | NICOLAS IDF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14464712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610968"/>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835801"/>
            <a:ext cx="4869366" cy="799589"/>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944885020"/>
      </p:ext>
    </p:extLst>
  </p:cSld>
  <p:clrMapOvr>
    <a:masterClrMapping/>
  </p:clrMapOvr>
</p:sld>
</file>

<file path=ppt/slides/slide4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9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Extra Brut | NICOLAS PAC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20758809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620783"/>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845535"/>
            <a:ext cx="4869366" cy="796399"/>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18875710"/>
      </p:ext>
    </p:extLst>
  </p:cSld>
  <p:clrMapOvr>
    <a:masterClrMapping/>
  </p:clrMapOvr>
</p:sld>
</file>

<file path=ppt/slides/slide4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9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Extra Brut | NICOLAS RH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39777822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667139"/>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891504"/>
            <a:ext cx="4869366" cy="78133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048593010"/>
      </p:ext>
    </p:extLst>
  </p:cSld>
  <p:clrMapOvr>
    <a:masterClrMapping/>
  </p:clrMapOvr>
</p:sld>
</file>

<file path=ppt/slides/slide4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9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Extra Brut | NICOLAS AQU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12393972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592768"/>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817753"/>
            <a:ext cx="4869366" cy="80550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096754268"/>
      </p:ext>
    </p:extLst>
  </p:cSld>
  <p:clrMapOvr>
    <a:masterClrMapping/>
  </p:clrMapOvr>
</p:sld>
</file>

<file path=ppt/slides/slide4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9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Extra Brut | NICOLAS ES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21231831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670271"/>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894610"/>
            <a:ext cx="4869366" cy="780316"/>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938618431"/>
      </p:ext>
    </p:extLst>
  </p:cSld>
  <p:clrMapOvr>
    <a:masterClrMapping/>
  </p:clrMapOvr>
</p:sld>
</file>

<file path=ppt/slides/slide4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9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Extra Brut | CA 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60193506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589430"/>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814443"/>
            <a:ext cx="4869366" cy="806589"/>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138605407"/>
      </p:ext>
    </p:extLst>
  </p:cSld>
  <p:clrMapOvr>
    <a:masterClrMapping/>
  </p:clrMapOvr>
</p:sld>
</file>

<file path=ppt/slides/slide4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9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Extra Brut | CA B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50983263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628903"/>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853586"/>
            <a:ext cx="4869366" cy="793761"/>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05226538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17F39D-9FE7-D5EF-D981-D08E2C3E7E72}"/>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6C569F5-3F88-086F-5B00-1E8A66D0F786}"/>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1E5943C8-93A2-CE99-9DC9-6106E372503B}"/>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58EF6AC-09CE-D3E4-3CE4-FEF3C28940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7F0F218-5714-F2E2-17DE-F734014EA97B}"/>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a:t>
            </a:fld>
            <a:endParaRPr lang="en-US" noProof="0"/>
          </a:p>
        </p:txBody>
      </p:sp>
      <p:sp>
        <p:nvSpPr>
          <p:cNvPr id="37" name="Text Placeholder 36">
            <a:extLst>
              <a:ext uri="{FF2B5EF4-FFF2-40B4-BE49-F238E27FC236}">
                <a16:creationId xmlns:a16="http://schemas.microsoft.com/office/drawing/2014/main" id="{5136C012-8234-3446-6BA4-D2A4ED46798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09B51F99-F9B2-A31A-6316-FFD484BF748A}"/>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Category | NICOLAS VCN | P12M</a:t>
            </a:r>
          </a:p>
        </p:txBody>
      </p:sp>
      <p:sp>
        <p:nvSpPr>
          <p:cNvPr id="2" name="Title 1">
            <a:extLst>
              <a:ext uri="{FF2B5EF4-FFF2-40B4-BE49-F238E27FC236}">
                <a16:creationId xmlns:a16="http://schemas.microsoft.com/office/drawing/2014/main" id="{119F61F6-E75A-45A7-FB48-021A4AD44DFE}"/>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452FBD9-A58C-004E-EBFE-BF25D0D39B4C}"/>
              </a:ext>
            </a:extLst>
          </p:cNvPr>
          <p:cNvGraphicFramePr>
            <a:graphicFrameLocks noGrp="1"/>
          </p:cNvGraphicFramePr>
          <p:nvPr>
            <p:ph idx="4294967295"/>
            <p:extLst>
              <p:ext uri="{D42A27DB-BD31-4B8C-83A1-F6EECF244321}">
                <p14:modId xmlns:p14="http://schemas.microsoft.com/office/powerpoint/2010/main" val="3533879952"/>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B0F72B-C6D2-6D8D-0FC6-9AC4097CBCC1}"/>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sp>
        <p:nvSpPr>
          <p:cNvPr id="16" name="TextBox 15">
            <a:extLst>
              <a:ext uri="{FF2B5EF4-FFF2-40B4-BE49-F238E27FC236}">
                <a16:creationId xmlns:a16="http://schemas.microsoft.com/office/drawing/2014/main" id="{46D148F4-12D7-0EF3-ABFE-35612660B26D}"/>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F3F720E0-CF35-ADEF-C27B-40DD4DEC2868}"/>
              </a:ext>
            </a:extLst>
          </p:cNvPr>
          <p:cNvGraphicFramePr>
            <a:graphicFrameLocks noGrp="1"/>
          </p:cNvGraphicFramePr>
          <p:nvPr>
            <p:extLst>
              <p:ext uri="{D42A27DB-BD31-4B8C-83A1-F6EECF244321}">
                <p14:modId xmlns:p14="http://schemas.microsoft.com/office/powerpoint/2010/main" val="635621620"/>
              </p:ext>
            </p:extLst>
          </p:nvPr>
        </p:nvGraphicFramePr>
        <p:xfrm>
          <a:off x="720534" y="1121410"/>
          <a:ext cx="2028478"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tblGrid>
              <a:tr h="235994">
                <a:tc>
                  <a:txBody>
                    <a:bodyPr/>
                    <a:lstStyle/>
                    <a:p>
                      <a:pPr algn="ctr">
                        <a:defRPr sz="1100">
                          <a:latin typeface="Nexa Book"/>
                        </a:defRPr>
                      </a:pPr>
                      <a:r>
                        <a:rPr b="1">
                          <a:solidFill>
                            <a:srgbClr val="575555"/>
                          </a:solidFill>
                        </a:rPr>
                        <a:t>Effervescents</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1599045953"/>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08FC55-424A-ACCC-676F-44C3CCC9796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415BD49-9CDB-C892-E279-946572C3A129}"/>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BE947E9A-9EDC-50FE-5484-367359C894D7}"/>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6A5025B9-0C85-A050-B069-0AC43B6B8204}"/>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1004F20C-B07D-4614-4481-965EA185837B}"/>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A91D8E7D-FEEC-5BA1-EB74-93E5E7482F85}"/>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0</a:t>
            </a:fld>
            <a:endParaRPr lang="en-US" noProof="0"/>
          </a:p>
        </p:txBody>
      </p:sp>
      <p:sp>
        <p:nvSpPr>
          <p:cNvPr id="37" name="Text Placeholder 36">
            <a:extLst>
              <a:ext uri="{FF2B5EF4-FFF2-40B4-BE49-F238E27FC236}">
                <a16:creationId xmlns:a16="http://schemas.microsoft.com/office/drawing/2014/main" id="{FA0F6888-D5CC-383A-47AD-80C683524A7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2E389274-4FCB-6DE6-41BB-F4D26E075546}"/>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egment | NICOLAS VCN | P12M</a:t>
            </a:r>
          </a:p>
        </p:txBody>
      </p:sp>
      <p:sp>
        <p:nvSpPr>
          <p:cNvPr id="2" name="Title 1">
            <a:extLst>
              <a:ext uri="{FF2B5EF4-FFF2-40B4-BE49-F238E27FC236}">
                <a16:creationId xmlns:a16="http://schemas.microsoft.com/office/drawing/2014/main" id="{0B37106B-65BB-38CE-2DE5-FACF202E6E13}"/>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3AD1043F-CB15-E170-B712-2A89D1DA680D}"/>
              </a:ext>
            </a:extLst>
          </p:cNvPr>
          <p:cNvGraphicFramePr>
            <a:graphicFrameLocks noGrp="1"/>
          </p:cNvGraphicFramePr>
          <p:nvPr>
            <p:ph idx="4294967295"/>
            <p:extLst>
              <p:ext uri="{D42A27DB-BD31-4B8C-83A1-F6EECF244321}">
                <p14:modId xmlns:p14="http://schemas.microsoft.com/office/powerpoint/2010/main" val="1534824881"/>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C7CB25F2-15EE-61CD-96F8-9E24F3CFB425}"/>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C8ACCE2D-6642-ED27-3E63-215D317EDF54}"/>
              </a:ext>
            </a:extLst>
          </p:cNvPr>
          <p:cNvGraphicFramePr>
            <a:graphicFrameLocks/>
          </p:cNvGraphicFramePr>
          <p:nvPr>
            <p:extLst>
              <p:ext uri="{D42A27DB-BD31-4B8C-83A1-F6EECF244321}">
                <p14:modId xmlns:p14="http://schemas.microsoft.com/office/powerpoint/2010/main" val="1663534104"/>
              </p:ext>
            </p:extLst>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8D2AC029-204E-C851-0DBB-376972B8F647}"/>
              </a:ext>
            </a:extLst>
          </p:cNvPr>
          <p:cNvGraphicFramePr>
            <a:graphicFrameLocks/>
          </p:cNvGraphicFramePr>
          <p:nvPr>
            <p:extLst>
              <p:ext uri="{D42A27DB-BD31-4B8C-83A1-F6EECF244321}">
                <p14:modId xmlns:p14="http://schemas.microsoft.com/office/powerpoint/2010/main" val="1061345993"/>
              </p:ext>
            </p:extLst>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C1">
            <a:extLst>
              <a:ext uri="{FF2B5EF4-FFF2-40B4-BE49-F238E27FC236}">
                <a16:creationId xmlns:a16="http://schemas.microsoft.com/office/drawing/2014/main" id="{F3DC8CB2-3F2B-2774-573E-DFF620E84D4C}"/>
              </a:ext>
            </a:extLst>
          </p:cNvPr>
          <p:cNvGraphicFramePr>
            <a:graphicFrameLocks/>
          </p:cNvGraphicFramePr>
          <p:nvPr>
            <p:extLst>
              <p:ext uri="{D42A27DB-BD31-4B8C-83A1-F6EECF244321}">
                <p14:modId xmlns:p14="http://schemas.microsoft.com/office/powerpoint/2010/main" val="3222231386"/>
              </p:ext>
            </p:extLst>
          </p:nvPr>
        </p:nvGraphicFramePr>
        <p:xfrm>
          <a:off x="6566444" y="1354754"/>
          <a:ext cx="2268000" cy="3374309"/>
        </p:xfrm>
        <a:graphic>
          <a:graphicData uri="http://schemas.openxmlformats.org/drawingml/2006/chart">
            <c:chart xmlns:c="http://schemas.openxmlformats.org/drawingml/2006/chart" xmlns:r="http://schemas.openxmlformats.org/officeDocument/2006/relationships" r:id="rId8"/>
          </a:graphicData>
        </a:graphic>
      </p:graphicFrame>
      <p:sp>
        <p:nvSpPr>
          <p:cNvPr id="16" name="TextBox 15">
            <a:extLst>
              <a:ext uri="{FF2B5EF4-FFF2-40B4-BE49-F238E27FC236}">
                <a16:creationId xmlns:a16="http://schemas.microsoft.com/office/drawing/2014/main" id="{8C8CB6BD-A844-74EC-CFEC-C58CFCC7C5EC}"/>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B18FE6A9-85ED-634C-B0DB-D9A4E7A1AD69}"/>
              </a:ext>
            </a:extLst>
          </p:cNvPr>
          <p:cNvGraphicFramePr>
            <a:graphicFrameLocks noGrp="1"/>
          </p:cNvGraphicFramePr>
          <p:nvPr/>
        </p:nvGraphicFramePr>
        <p:xfrm>
          <a:off x="720534" y="1121410"/>
          <a:ext cx="8113912"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gridCol w="2028478">
                  <a:extLst>
                    <a:ext uri="{9D8B030D-6E8A-4147-A177-3AD203B41FA5}">
                      <a16:colId xmlns:a16="http://schemas.microsoft.com/office/drawing/2014/main" val="3571608413"/>
                    </a:ext>
                  </a:extLst>
                </a:gridCol>
              </a:tblGrid>
              <a:tr h="235994">
                <a:tc>
                  <a:txBody>
                    <a:bodyPr/>
                    <a:lstStyle/>
                    <a:p>
                      <a:pPr algn="ctr">
                        <a:defRPr sz="1100">
                          <a:latin typeface="Nexa Book"/>
                        </a:defRPr>
                      </a:pPr>
                      <a:r>
                        <a:rPr b="1">
                          <a:solidFill>
                            <a:srgbClr val="575555"/>
                          </a:solidFill>
                        </a:rPr>
                        <a:t>Millesimes</a:t>
                      </a:r>
                    </a:p>
                  </a:txBody>
                  <a:tcPr anchor="ctr">
                    <a:solidFill>
                      <a:schemeClr val="bg2"/>
                    </a:solidFill>
                  </a:tcPr>
                </a:tc>
                <a:tc>
                  <a:txBody>
                    <a:bodyPr/>
                    <a:lstStyle/>
                    <a:p>
                      <a:pPr algn="ctr">
                        <a:defRPr sz="1100">
                          <a:latin typeface="Nexa Book"/>
                        </a:defRPr>
                      </a:pPr>
                      <a:r>
                        <a:rPr b="1">
                          <a:solidFill>
                            <a:srgbClr val="575555"/>
                          </a:solidFill>
                        </a:rPr>
                        <a:t>Rosés</a:t>
                      </a:r>
                    </a:p>
                  </a:txBody>
                  <a:tcPr anchor="ctr">
                    <a:solidFill>
                      <a:schemeClr val="bg2"/>
                    </a:solidFill>
                  </a:tcPr>
                </a:tc>
                <a:tc>
                  <a:txBody>
                    <a:bodyPr/>
                    <a:lstStyle/>
                    <a:p>
                      <a:pPr algn="ctr">
                        <a:defRPr sz="1100">
                          <a:latin typeface="Nexa Book"/>
                        </a:defRPr>
                      </a:pPr>
                      <a:r>
                        <a:rPr b="1">
                          <a:solidFill>
                            <a:srgbClr val="575555"/>
                          </a:solidFill>
                        </a:rPr>
                        <a:t>Mousseux Bourgogne</a:t>
                      </a:r>
                    </a:p>
                  </a:txBody>
                  <a:tcPr anchor="ctr">
                    <a:solidFill>
                      <a:schemeClr val="bg2"/>
                    </a:solidFill>
                  </a:tcPr>
                </a:tc>
                <a:tc>
                  <a:txBody>
                    <a:bodyPr/>
                    <a:lstStyle/>
                    <a:p>
                      <a:pPr algn="ctr">
                        <a:defRPr sz="1100">
                          <a:latin typeface="Nexa Book"/>
                        </a:defRPr>
                      </a:pPr>
                      <a:r>
                        <a:rPr b="1">
                          <a:solidFill>
                            <a:srgbClr val="575555"/>
                          </a:solidFill>
                        </a:rPr>
                        <a:t>Mousseux Italiens</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2371198530"/>
      </p:ext>
    </p:extLst>
  </p:cSld>
  <p:clrMapOvr>
    <a:masterClrMapping/>
  </p:clrMapOvr>
</p:sld>
</file>

<file path=ppt/slides/slide5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0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Extra Brut | CA C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2573103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654527"/>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878997"/>
            <a:ext cx="4869366" cy="785433"/>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165618407"/>
      </p:ext>
    </p:extLst>
  </p:cSld>
  <p:clrMapOvr>
    <a:masterClrMapping/>
  </p:clrMapOvr>
</p:sld>
</file>

<file path=ppt/slides/slide5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0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Extra Brut | CA D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31604753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6321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856792"/>
            <a:ext cx="4869366" cy="792710"/>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085026496"/>
      </p:ext>
    </p:extLst>
  </p:cSld>
  <p:clrMapOvr>
    <a:masterClrMapping/>
  </p:clrMapOvr>
</p:sld>
</file>

<file path=ppt/slides/slide5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0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Extra Brut | CA 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60613416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617520"/>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842299"/>
            <a:ext cx="4869366" cy="797460"/>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591399174"/>
      </p:ext>
    </p:extLst>
  </p:cSld>
  <p:clrMapOvr>
    <a:masterClrMapping/>
  </p:clrMapOvr>
</p:sld>
</file>

<file path=ppt/slides/slide5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0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illesimes | Nationa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54874443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525436"/>
            <a:ext cx="4869366" cy="906470"/>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447271"/>
            <a:ext cx="4869366" cy="599192"/>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061827"/>
            <a:ext cx="4869366" cy="1213748"/>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359382456"/>
      </p:ext>
    </p:extLst>
  </p:cSld>
  <p:clrMapOvr>
    <a:masterClrMapping/>
  </p:clrMapOvr>
</p:sld>
</file>

<file path=ppt/slides/slide5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0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illesimes | NICOLA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69626287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324675"/>
            <a:ext cx="4869366" cy="972643"/>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313803"/>
            <a:ext cx="4869366" cy="642933"/>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973223"/>
            <a:ext cx="4869366" cy="1302352"/>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886877886"/>
      </p:ext>
    </p:extLst>
  </p:cSld>
  <p:clrMapOvr>
    <a:masterClrMapping/>
  </p:clrMapOvr>
</p:sld>
</file>

<file path=ppt/slides/slide5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0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illesimes | HMSM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56483150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390235"/>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609461"/>
            <a:ext cx="4869366" cy="87877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503131"/>
            <a:ext cx="4869366" cy="58088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594986976"/>
      </p:ext>
    </p:extLst>
  </p:cSld>
  <p:clrMapOvr>
    <a:masterClrMapping/>
  </p:clrMapOvr>
</p:sld>
</file>

<file path=ppt/slides/slide5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0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illesimes | NICOLAS QC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8448296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445002"/>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663923"/>
            <a:ext cx="4869366" cy="860824"/>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539337"/>
            <a:ext cx="4869366" cy="569019"/>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122947"/>
            <a:ext cx="4869366" cy="1152628"/>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137364183"/>
      </p:ext>
    </p:extLst>
  </p:cSld>
  <p:clrMapOvr>
    <a:masterClrMapping/>
  </p:clrMapOvr>
</p:sld>
</file>

<file path=ppt/slides/slide5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0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illesimes | NICOLAS VC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65221976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440002"/>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658951"/>
            <a:ext cx="4869366" cy="862462"/>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536032"/>
            <a:ext cx="4869366" cy="570102"/>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120752"/>
            <a:ext cx="4869366" cy="1154823"/>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651506778"/>
      </p:ext>
    </p:extLst>
  </p:cSld>
  <p:clrMapOvr>
    <a:masterClrMapping/>
  </p:clrMapOvr>
</p:sld>
</file>

<file path=ppt/slides/slide5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0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illesimes | NICOLAS QC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7837456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91598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138276"/>
            <a:ext cx="4869366" cy="700459"/>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856696"/>
            <a:ext cx="4869366" cy="1418879"/>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829537230"/>
      </p:ext>
    </p:extLst>
  </p:cSld>
  <p:clrMapOvr>
    <a:masterClrMapping/>
  </p:clrMapOvr>
</p:sld>
</file>

<file path=ppt/slides/slide5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0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illesimes | NICOLAS QC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01216101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864362"/>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087084"/>
            <a:ext cx="4869366" cy="717236"/>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822711"/>
            <a:ext cx="4869366" cy="1452864"/>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299444931"/>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65918C-CF2D-B9BE-373E-8055AB4F589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BE947E9A-9EDC-50FE-5484-367359C894D7}"/>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DC475BB2-0528-29FB-C158-9EF2E6156FB0}"/>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C87CB3FA-1793-85BB-0720-68CB9A322CAF}"/>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300044B2-FAA5-2879-ADFC-6874BBAF83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DA8BB0C0-E087-2E71-1F6D-E725250BE3D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1</a:t>
            </a:fld>
            <a:endParaRPr lang="en-US" noProof="0"/>
          </a:p>
        </p:txBody>
      </p:sp>
      <p:sp>
        <p:nvSpPr>
          <p:cNvPr id="37" name="Text Placeholder 36">
            <a:extLst>
              <a:ext uri="{FF2B5EF4-FFF2-40B4-BE49-F238E27FC236}">
                <a16:creationId xmlns:a16="http://schemas.microsoft.com/office/drawing/2014/main" id="{4918FA18-B639-A629-2E9B-674B54B4AACA}"/>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37405B8B-A5F3-F9D8-A571-2F38544BBDBA}"/>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egment | NICOLAS VCN | P12M</a:t>
            </a:r>
          </a:p>
        </p:txBody>
      </p:sp>
      <p:sp>
        <p:nvSpPr>
          <p:cNvPr id="2" name="Title 1">
            <a:extLst>
              <a:ext uri="{FF2B5EF4-FFF2-40B4-BE49-F238E27FC236}">
                <a16:creationId xmlns:a16="http://schemas.microsoft.com/office/drawing/2014/main" id="{12784FBB-01F7-DE64-BC02-E8B59B51E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8694A9E2-2E6E-DE42-FC36-3888D1308CB4}"/>
              </a:ext>
            </a:extLst>
          </p:cNvPr>
          <p:cNvGraphicFramePr>
            <a:graphicFrameLocks noGrp="1"/>
          </p:cNvGraphicFramePr>
          <p:nvPr>
            <p:ph idx="4294967295"/>
            <p:extLst>
              <p:ext uri="{D42A27DB-BD31-4B8C-83A1-F6EECF244321}">
                <p14:modId xmlns:p14="http://schemas.microsoft.com/office/powerpoint/2010/main" val="707039543"/>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F456CAE2-40D9-C89C-01D4-02D92ECC325F}"/>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9C31F180-BE4C-077E-6172-FE9EFF5651B0}"/>
              </a:ext>
            </a:extLst>
          </p:cNvPr>
          <p:cNvGraphicFramePr>
            <a:graphicFrameLocks/>
          </p:cNvGraphicFramePr>
          <p:nvPr>
            <p:extLst>
              <p:ext uri="{D42A27DB-BD31-4B8C-83A1-F6EECF244321}">
                <p14:modId xmlns:p14="http://schemas.microsoft.com/office/powerpoint/2010/main" val="3430166148"/>
              </p:ext>
            </p:extLst>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01B1A8DD-FED6-2C47-296D-0983D1E720B2}"/>
              </a:ext>
            </a:extLst>
          </p:cNvPr>
          <p:cNvGraphicFramePr>
            <a:graphicFrameLocks/>
          </p:cNvGraphicFramePr>
          <p:nvPr>
            <p:extLst>
              <p:ext uri="{D42A27DB-BD31-4B8C-83A1-F6EECF244321}">
                <p14:modId xmlns:p14="http://schemas.microsoft.com/office/powerpoint/2010/main" val="2871461564"/>
              </p:ext>
            </p:extLst>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sp>
        <p:nvSpPr>
          <p:cNvPr id="16" name="TextBox 15">
            <a:extLst>
              <a:ext uri="{FF2B5EF4-FFF2-40B4-BE49-F238E27FC236}">
                <a16:creationId xmlns:a16="http://schemas.microsoft.com/office/drawing/2014/main" id="{2B180312-FE46-D4C9-3734-1E3750820943}"/>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4DB211A7-591C-E03E-65DC-47EB4C0D8D03}"/>
              </a:ext>
            </a:extLst>
          </p:cNvPr>
          <p:cNvGraphicFramePr>
            <a:graphicFrameLocks noGrp="1"/>
          </p:cNvGraphicFramePr>
          <p:nvPr>
            <p:extLst>
              <p:ext uri="{D42A27DB-BD31-4B8C-83A1-F6EECF244321}">
                <p14:modId xmlns:p14="http://schemas.microsoft.com/office/powerpoint/2010/main" val="2790109015"/>
              </p:ext>
            </p:extLst>
          </p:nvPr>
        </p:nvGraphicFramePr>
        <p:xfrm>
          <a:off x="720534" y="1121410"/>
          <a:ext cx="6085434"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tblGrid>
              <a:tr h="235994">
                <a:tc>
                  <a:txBody>
                    <a:bodyPr/>
                    <a:lstStyle/>
                    <a:p>
                      <a:pPr algn="ctr">
                        <a:defRPr sz="1100">
                          <a:latin typeface="Nexa Book"/>
                        </a:defRPr>
                      </a:pPr>
                      <a:r>
                        <a:rPr b="1">
                          <a:solidFill>
                            <a:srgbClr val="575555"/>
                          </a:solidFill>
                        </a:rPr>
                        <a:t>Mousseux Val De Loire</a:t>
                      </a:r>
                    </a:p>
                  </a:txBody>
                  <a:tcPr anchor="ctr">
                    <a:solidFill>
                      <a:schemeClr val="bg2"/>
                    </a:solidFill>
                  </a:tcPr>
                </a:tc>
                <a:tc>
                  <a:txBody>
                    <a:bodyPr/>
                    <a:lstStyle/>
                    <a:p>
                      <a:pPr algn="ctr">
                        <a:defRPr sz="1100">
                          <a:latin typeface="Nexa Book"/>
                        </a:defRPr>
                      </a:pPr>
                      <a:r>
                        <a:rPr b="1">
                          <a:solidFill>
                            <a:srgbClr val="575555"/>
                          </a:solidFill>
                        </a:rPr>
                        <a:t>Mousseux Alsace</a:t>
                      </a:r>
                    </a:p>
                  </a:txBody>
                  <a:tcPr anchor="ctr">
                    <a:solidFill>
                      <a:schemeClr val="bg2"/>
                    </a:solidFill>
                  </a:tcPr>
                </a:tc>
                <a:tc>
                  <a:txBody>
                    <a:bodyPr/>
                    <a:lstStyle/>
                    <a:p>
                      <a:pPr algn="ctr">
                        <a:defRPr sz="1100">
                          <a:latin typeface="Nexa Book"/>
                        </a:defRPr>
                      </a:pPr>
                      <a:r>
                        <a:rPr b="1">
                          <a:solidFill>
                            <a:srgbClr val="575555"/>
                          </a:solidFill>
                        </a:rPr>
                        <a:t>Mousseux Bordelais</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3614592967"/>
      </p:ext>
    </p:extLst>
  </p:cSld>
  <p:clrMapOvr>
    <a:masterClrMapping/>
  </p:clrMapOvr>
</p:sld>
</file>

<file path=ppt/slides/slide5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1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illesimes | NICOLAS CCP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6388857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462101"/>
            <a:ext cx="4869366" cy="927346"/>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405165"/>
            <a:ext cx="4869366" cy="612991"/>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033875"/>
            <a:ext cx="4869366" cy="1241700"/>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356755930"/>
      </p:ext>
    </p:extLst>
  </p:cSld>
  <p:clrMapOvr>
    <a:masterClrMapping/>
  </p:clrMapOvr>
</p:sld>
</file>

<file path=ppt/slides/slide5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1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illesimes | NICOLAS IDF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69764607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369905"/>
            <a:ext cx="4869366" cy="957734"/>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343873"/>
            <a:ext cx="4869366" cy="633079"/>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993185"/>
            <a:ext cx="4869366" cy="1282390"/>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027328969"/>
      </p:ext>
    </p:extLst>
  </p:cSld>
  <p:clrMapOvr>
    <a:masterClrMapping/>
  </p:clrMapOvr>
</p:sld>
</file>

<file path=ppt/slides/slide5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1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illesimes | NICOLAS PAC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841912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657692"/>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882136"/>
            <a:ext cx="4869366" cy="78440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686654"/>
            <a:ext cx="4869366" cy="1588921"/>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315678702"/>
      </p:ext>
    </p:extLst>
  </p:cSld>
  <p:clrMapOvr>
    <a:masterClrMapping/>
  </p:clrMapOvr>
</p:sld>
</file>

<file path=ppt/slides/slide5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1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illesimes | NICOLAS RH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96202203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638040"/>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855889"/>
            <a:ext cx="4869366" cy="797550"/>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666957"/>
            <a:ext cx="4869366" cy="52719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207669"/>
            <a:ext cx="4869366" cy="1067906"/>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785669428"/>
      </p:ext>
    </p:extLst>
  </p:cSld>
  <p:clrMapOvr>
    <a:masterClrMapping/>
  </p:clrMapOvr>
</p:sld>
</file>

<file path=ppt/slides/slide5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1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illesimes | NICOLAS AQU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69683546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657692"/>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882136"/>
            <a:ext cx="4869366" cy="78440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686654"/>
            <a:ext cx="4869366" cy="1588921"/>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738087237"/>
      </p:ext>
    </p:extLst>
  </p:cSld>
  <p:clrMapOvr>
    <a:masterClrMapping/>
  </p:clrMapOvr>
</p:sld>
</file>

<file path=ppt/slides/slide5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1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illesimes | NICOLAS ES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02071933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913461"/>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2129780"/>
            <a:ext cx="4869366" cy="707273"/>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849041"/>
            <a:ext cx="4869366" cy="467519"/>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328548"/>
            <a:ext cx="4869366" cy="94702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883524097"/>
      </p:ext>
    </p:extLst>
  </p:cSld>
  <p:clrMapOvr>
    <a:masterClrMapping/>
  </p:clrMapOvr>
</p:sld>
</file>

<file path=ppt/slides/slide5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1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illesimes | CA 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19777504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725290"/>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949171"/>
            <a:ext cx="4869366" cy="76243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731156"/>
            <a:ext cx="4869366" cy="1544419"/>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796631393"/>
      </p:ext>
    </p:extLst>
  </p:cSld>
  <p:clrMapOvr>
    <a:masterClrMapping/>
  </p:clrMapOvr>
</p:sld>
</file>

<file path=ppt/slides/slide5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1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illesimes | CA B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6910785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520141"/>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738645"/>
            <a:ext cx="4869366" cy="836194"/>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589013"/>
            <a:ext cx="4869366" cy="552739"/>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155925"/>
            <a:ext cx="4869366" cy="1119650"/>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965371835"/>
      </p:ext>
    </p:extLst>
  </p:cSld>
  <p:clrMapOvr>
    <a:masterClrMapping/>
  </p:clrMapOvr>
</p:sld>
</file>

<file path=ppt/slides/slide5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1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illesimes | CA C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50646288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386701"/>
            <a:ext cx="4869366" cy="952198"/>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355039"/>
            <a:ext cx="4869366" cy="629419"/>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000597"/>
            <a:ext cx="4869366" cy="1274978"/>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059339429"/>
      </p:ext>
    </p:extLst>
  </p:cSld>
  <p:clrMapOvr>
    <a:masterClrMapping/>
  </p:clrMapOvr>
</p:sld>
</file>

<file path=ppt/slides/slide5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1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illesimes | CA D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13177935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524060"/>
            <a:ext cx="4869366" cy="906924"/>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446356"/>
            <a:ext cx="4869366" cy="599492"/>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061219"/>
            <a:ext cx="4869366" cy="1214356"/>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580949670"/>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08FC55-424A-ACCC-676F-44C3CCC9796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415BD49-9CDB-C892-E279-946572C3A129}"/>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BE947E9A-9EDC-50FE-5484-367359C894D7}"/>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6A5025B9-0C85-A050-B069-0AC43B6B8204}"/>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1004F20C-B07D-4614-4481-965EA185837B}"/>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A91D8E7D-FEEC-5BA1-EB74-93E5E7482F85}"/>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2</a:t>
            </a:fld>
            <a:endParaRPr lang="en-US" noProof="0"/>
          </a:p>
        </p:txBody>
      </p:sp>
      <p:sp>
        <p:nvSpPr>
          <p:cNvPr id="37" name="Text Placeholder 36">
            <a:extLst>
              <a:ext uri="{FF2B5EF4-FFF2-40B4-BE49-F238E27FC236}">
                <a16:creationId xmlns:a16="http://schemas.microsoft.com/office/drawing/2014/main" id="{FA0F6888-D5CC-383A-47AD-80C683524A7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2E389274-4FCB-6DE6-41BB-F4D26E075546}"/>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egment | NICOLAS QCT | P12M</a:t>
            </a:r>
          </a:p>
        </p:txBody>
      </p:sp>
      <p:sp>
        <p:nvSpPr>
          <p:cNvPr id="2" name="Title 1">
            <a:extLst>
              <a:ext uri="{FF2B5EF4-FFF2-40B4-BE49-F238E27FC236}">
                <a16:creationId xmlns:a16="http://schemas.microsoft.com/office/drawing/2014/main" id="{0B37106B-65BB-38CE-2DE5-FACF202E6E13}"/>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3AD1043F-CB15-E170-B712-2A89D1DA680D}"/>
              </a:ext>
            </a:extLst>
          </p:cNvPr>
          <p:cNvGraphicFramePr>
            <a:graphicFrameLocks noGrp="1"/>
          </p:cNvGraphicFramePr>
          <p:nvPr>
            <p:ph idx="4294967295"/>
            <p:extLst>
              <p:ext uri="{D42A27DB-BD31-4B8C-83A1-F6EECF244321}">
                <p14:modId xmlns:p14="http://schemas.microsoft.com/office/powerpoint/2010/main" val="1919582641"/>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C7CB25F2-15EE-61CD-96F8-9E24F3CFB425}"/>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C8ACCE2D-6642-ED27-3E63-215D317EDF54}"/>
              </a:ext>
            </a:extLst>
          </p:cNvPr>
          <p:cNvGraphicFramePr>
            <a:graphicFrameLocks/>
          </p:cNvGraphicFramePr>
          <p:nvPr>
            <p:extLst>
              <p:ext uri="{D42A27DB-BD31-4B8C-83A1-F6EECF244321}">
                <p14:modId xmlns:p14="http://schemas.microsoft.com/office/powerpoint/2010/main" val="3657955356"/>
              </p:ext>
            </p:extLst>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8D2AC029-204E-C851-0DBB-376972B8F647}"/>
              </a:ext>
            </a:extLst>
          </p:cNvPr>
          <p:cNvGraphicFramePr>
            <a:graphicFrameLocks/>
          </p:cNvGraphicFramePr>
          <p:nvPr>
            <p:extLst>
              <p:ext uri="{D42A27DB-BD31-4B8C-83A1-F6EECF244321}">
                <p14:modId xmlns:p14="http://schemas.microsoft.com/office/powerpoint/2010/main" val="990656061"/>
              </p:ext>
            </p:extLst>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C1">
            <a:extLst>
              <a:ext uri="{FF2B5EF4-FFF2-40B4-BE49-F238E27FC236}">
                <a16:creationId xmlns:a16="http://schemas.microsoft.com/office/drawing/2014/main" id="{F3DC8CB2-3F2B-2774-573E-DFF620E84D4C}"/>
              </a:ext>
            </a:extLst>
          </p:cNvPr>
          <p:cNvGraphicFramePr>
            <a:graphicFrameLocks/>
          </p:cNvGraphicFramePr>
          <p:nvPr>
            <p:extLst>
              <p:ext uri="{D42A27DB-BD31-4B8C-83A1-F6EECF244321}">
                <p14:modId xmlns:p14="http://schemas.microsoft.com/office/powerpoint/2010/main" val="2168807798"/>
              </p:ext>
            </p:extLst>
          </p:nvPr>
        </p:nvGraphicFramePr>
        <p:xfrm>
          <a:off x="6566444" y="1354754"/>
          <a:ext cx="2268000" cy="3374309"/>
        </p:xfrm>
        <a:graphic>
          <a:graphicData uri="http://schemas.openxmlformats.org/drawingml/2006/chart">
            <c:chart xmlns:c="http://schemas.openxmlformats.org/drawingml/2006/chart" xmlns:r="http://schemas.openxmlformats.org/officeDocument/2006/relationships" r:id="rId8"/>
          </a:graphicData>
        </a:graphic>
      </p:graphicFrame>
      <p:sp>
        <p:nvSpPr>
          <p:cNvPr id="16" name="TextBox 15">
            <a:extLst>
              <a:ext uri="{FF2B5EF4-FFF2-40B4-BE49-F238E27FC236}">
                <a16:creationId xmlns:a16="http://schemas.microsoft.com/office/drawing/2014/main" id="{8C8CB6BD-A844-74EC-CFEC-C58CFCC7C5EC}"/>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B18FE6A9-85ED-634C-B0DB-D9A4E7A1AD69}"/>
              </a:ext>
            </a:extLst>
          </p:cNvPr>
          <p:cNvGraphicFramePr>
            <a:graphicFrameLocks noGrp="1"/>
          </p:cNvGraphicFramePr>
          <p:nvPr/>
        </p:nvGraphicFramePr>
        <p:xfrm>
          <a:off x="720534" y="1121410"/>
          <a:ext cx="8113912"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gridCol w="2028478">
                  <a:extLst>
                    <a:ext uri="{9D8B030D-6E8A-4147-A177-3AD203B41FA5}">
                      <a16:colId xmlns:a16="http://schemas.microsoft.com/office/drawing/2014/main" val="3571608413"/>
                    </a:ext>
                  </a:extLst>
                </a:gridCol>
              </a:tblGrid>
              <a:tr h="235994">
                <a:tc>
                  <a:txBody>
                    <a:bodyPr/>
                    <a:lstStyle/>
                    <a:p>
                      <a:pPr algn="ctr">
                        <a:defRPr sz="1100">
                          <a:latin typeface="Nexa Book"/>
                        </a:defRPr>
                      </a:pPr>
                      <a:r>
                        <a:rPr b="1">
                          <a:solidFill>
                            <a:srgbClr val="575555"/>
                          </a:solidFill>
                        </a:rPr>
                        <a:t>Blanc De Blancs</a:t>
                      </a:r>
                    </a:p>
                  </a:txBody>
                  <a:tcPr anchor="ctr">
                    <a:solidFill>
                      <a:schemeClr val="bg2"/>
                    </a:solidFill>
                  </a:tcPr>
                </a:tc>
                <a:tc>
                  <a:txBody>
                    <a:bodyPr/>
                    <a:lstStyle/>
                    <a:p>
                      <a:pPr algn="ctr">
                        <a:defRPr sz="1100">
                          <a:latin typeface="Nexa Book"/>
                        </a:defRPr>
                      </a:pPr>
                      <a:r>
                        <a:rPr b="1">
                          <a:solidFill>
                            <a:srgbClr val="575555"/>
                          </a:solidFill>
                        </a:rPr>
                        <a:t>Bruts</a:t>
                      </a:r>
                    </a:p>
                  </a:txBody>
                  <a:tcPr anchor="ctr">
                    <a:solidFill>
                      <a:schemeClr val="bg2"/>
                    </a:solidFill>
                  </a:tcPr>
                </a:tc>
                <a:tc>
                  <a:txBody>
                    <a:bodyPr/>
                    <a:lstStyle/>
                    <a:p>
                      <a:pPr algn="ctr">
                        <a:defRPr sz="1100">
                          <a:latin typeface="Nexa Book"/>
                        </a:defRPr>
                      </a:pPr>
                      <a:r>
                        <a:rPr b="1">
                          <a:solidFill>
                            <a:srgbClr val="575555"/>
                          </a:solidFill>
                        </a:rPr>
                        <a:t>Crus</a:t>
                      </a:r>
                    </a:p>
                  </a:txBody>
                  <a:tcPr anchor="ctr">
                    <a:solidFill>
                      <a:schemeClr val="bg2"/>
                    </a:solidFill>
                  </a:tcPr>
                </a:tc>
                <a:tc>
                  <a:txBody>
                    <a:bodyPr/>
                    <a:lstStyle/>
                    <a:p>
                      <a:pPr algn="ctr">
                        <a:defRPr sz="1100">
                          <a:latin typeface="Nexa Book"/>
                        </a:defRPr>
                      </a:pPr>
                      <a:r>
                        <a:rPr b="1">
                          <a:solidFill>
                            <a:srgbClr val="575555"/>
                          </a:solidFill>
                        </a:rPr>
                        <a:t>Extra Brut</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3889204656"/>
      </p:ext>
    </p:extLst>
  </p:cSld>
  <p:clrMapOvr>
    <a:masterClrMapping/>
  </p:clrMapOvr>
</p:sld>
</file>

<file path=ppt/slides/slide5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2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illesimes | CA 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97347180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461121"/>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679953"/>
            <a:ext cx="4869366" cy="855540"/>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549994"/>
            <a:ext cx="4869366" cy="565526"/>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130021"/>
            <a:ext cx="4869366" cy="1145554"/>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55538176"/>
      </p:ext>
    </p:extLst>
  </p:cSld>
  <p:clrMapOvr>
    <a:masterClrMapping/>
  </p:clrMapOvr>
</p:sld>
</file>

<file path=ppt/slides/slide5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2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Rosés | Nationa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6394625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535354"/>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753773"/>
            <a:ext cx="4869366" cy="831208"/>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599070"/>
            <a:ext cx="4869366" cy="549442"/>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726053641"/>
      </p:ext>
    </p:extLst>
  </p:cSld>
  <p:clrMapOvr>
    <a:masterClrMapping/>
  </p:clrMapOvr>
</p:sld>
</file>

<file path=ppt/slides/slide5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2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Rosés | NICOLA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23741054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499046"/>
            <a:ext cx="4869366" cy="915168"/>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429726"/>
            <a:ext cx="4869366" cy="604942"/>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050180"/>
            <a:ext cx="4869366" cy="1225395"/>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387984390"/>
      </p:ext>
    </p:extLst>
  </p:cSld>
  <p:clrMapOvr>
    <a:masterClrMapping/>
  </p:clrMapOvr>
</p:sld>
</file>

<file path=ppt/slides/slide5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2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Rosés | HMSM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52623065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522682"/>
            <a:ext cx="4869366" cy="907378"/>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445440"/>
            <a:ext cx="4869366" cy="599792"/>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674101729"/>
      </p:ext>
    </p:extLst>
  </p:cSld>
  <p:clrMapOvr>
    <a:masterClrMapping/>
  </p:clrMapOvr>
</p:sld>
</file>

<file path=ppt/slides/slide5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2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Rosés | NICOLAS QC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44289273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414714"/>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633803"/>
            <a:ext cx="4869366" cy="870751"/>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519313"/>
            <a:ext cx="4869366" cy="575581"/>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109654"/>
            <a:ext cx="4869366" cy="1165921"/>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06142389"/>
      </p:ext>
    </p:extLst>
  </p:cSld>
  <p:clrMapOvr>
    <a:masterClrMapping/>
  </p:clrMapOvr>
</p:sld>
</file>

<file path=ppt/slides/slide5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2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Rosés | NICOLAS VC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22876572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510219"/>
            <a:ext cx="4869366" cy="911486"/>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437154"/>
            <a:ext cx="4869366" cy="602507"/>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055111"/>
            <a:ext cx="4869366" cy="1220464"/>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95271889"/>
      </p:ext>
    </p:extLst>
  </p:cSld>
  <p:clrMapOvr>
    <a:masterClrMapping/>
  </p:clrMapOvr>
</p:sld>
</file>

<file path=ppt/slides/slide5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2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Rosés | NICOLAS QC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41068715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366830"/>
            <a:ext cx="4869366" cy="958748"/>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341829"/>
            <a:ext cx="4869366" cy="633748"/>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991828"/>
            <a:ext cx="4869366" cy="128374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908836929"/>
      </p:ext>
    </p:extLst>
  </p:cSld>
  <p:clrMapOvr>
    <a:masterClrMapping/>
  </p:clrMapOvr>
</p:sld>
</file>

<file path=ppt/slides/slide5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2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Rosés | NICOLAS QC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73647818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303938"/>
            <a:ext cx="4869366" cy="979478"/>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300018"/>
            <a:ext cx="4869366" cy="647451"/>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964071"/>
            <a:ext cx="4869366" cy="1311504"/>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702867788"/>
      </p:ext>
    </p:extLst>
  </p:cSld>
  <p:clrMapOvr>
    <a:masterClrMapping/>
  </p:clrMapOvr>
</p:sld>
</file>

<file path=ppt/slides/slide5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2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Rosés | NICOLAS CCP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19409406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348244"/>
            <a:ext cx="4869366" cy="964874"/>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329472"/>
            <a:ext cx="4869366" cy="637798"/>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983625"/>
            <a:ext cx="4869366" cy="1291950"/>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989142884"/>
      </p:ext>
    </p:extLst>
  </p:cSld>
  <p:clrMapOvr>
    <a:masterClrMapping/>
  </p:clrMapOvr>
</p:sld>
</file>

<file path=ppt/slides/slide5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2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Rosés | NICOLAS IDF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8382132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508827"/>
            <a:ext cx="4869366" cy="911944"/>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436229"/>
            <a:ext cx="4869366" cy="602811"/>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054497"/>
            <a:ext cx="4869366" cy="1221078"/>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771724185"/>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08FC55-424A-ACCC-676F-44C3CCC9796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415BD49-9CDB-C892-E279-946572C3A129}"/>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BE947E9A-9EDC-50FE-5484-367359C894D7}"/>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6A5025B9-0C85-A050-B069-0AC43B6B8204}"/>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1004F20C-B07D-4614-4481-965EA185837B}"/>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A91D8E7D-FEEC-5BA1-EB74-93E5E7482F85}"/>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3</a:t>
            </a:fld>
            <a:endParaRPr lang="en-US" noProof="0"/>
          </a:p>
        </p:txBody>
      </p:sp>
      <p:sp>
        <p:nvSpPr>
          <p:cNvPr id="37" name="Text Placeholder 36">
            <a:extLst>
              <a:ext uri="{FF2B5EF4-FFF2-40B4-BE49-F238E27FC236}">
                <a16:creationId xmlns:a16="http://schemas.microsoft.com/office/drawing/2014/main" id="{FA0F6888-D5CC-383A-47AD-80C683524A7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2E389274-4FCB-6DE6-41BB-F4D26E075546}"/>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egment | NICOLAS QCT | P12M</a:t>
            </a:r>
          </a:p>
        </p:txBody>
      </p:sp>
      <p:sp>
        <p:nvSpPr>
          <p:cNvPr id="2" name="Title 1">
            <a:extLst>
              <a:ext uri="{FF2B5EF4-FFF2-40B4-BE49-F238E27FC236}">
                <a16:creationId xmlns:a16="http://schemas.microsoft.com/office/drawing/2014/main" id="{0B37106B-65BB-38CE-2DE5-FACF202E6E13}"/>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3AD1043F-CB15-E170-B712-2A89D1DA680D}"/>
              </a:ext>
            </a:extLst>
          </p:cNvPr>
          <p:cNvGraphicFramePr>
            <a:graphicFrameLocks noGrp="1"/>
          </p:cNvGraphicFramePr>
          <p:nvPr>
            <p:ph idx="4294967295"/>
            <p:extLst>
              <p:ext uri="{D42A27DB-BD31-4B8C-83A1-F6EECF244321}">
                <p14:modId xmlns:p14="http://schemas.microsoft.com/office/powerpoint/2010/main" val="4163965093"/>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C7CB25F2-15EE-61CD-96F8-9E24F3CFB425}"/>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C8ACCE2D-6642-ED27-3E63-215D317EDF54}"/>
              </a:ext>
            </a:extLst>
          </p:cNvPr>
          <p:cNvGraphicFramePr>
            <a:graphicFrameLocks/>
          </p:cNvGraphicFramePr>
          <p:nvPr>
            <p:extLst>
              <p:ext uri="{D42A27DB-BD31-4B8C-83A1-F6EECF244321}">
                <p14:modId xmlns:p14="http://schemas.microsoft.com/office/powerpoint/2010/main" val="2183800986"/>
              </p:ext>
            </p:extLst>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8D2AC029-204E-C851-0DBB-376972B8F647}"/>
              </a:ext>
            </a:extLst>
          </p:cNvPr>
          <p:cNvGraphicFramePr>
            <a:graphicFrameLocks/>
          </p:cNvGraphicFramePr>
          <p:nvPr>
            <p:extLst>
              <p:ext uri="{D42A27DB-BD31-4B8C-83A1-F6EECF244321}">
                <p14:modId xmlns:p14="http://schemas.microsoft.com/office/powerpoint/2010/main" val="2379155325"/>
              </p:ext>
            </p:extLst>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C1">
            <a:extLst>
              <a:ext uri="{FF2B5EF4-FFF2-40B4-BE49-F238E27FC236}">
                <a16:creationId xmlns:a16="http://schemas.microsoft.com/office/drawing/2014/main" id="{F3DC8CB2-3F2B-2774-573E-DFF620E84D4C}"/>
              </a:ext>
            </a:extLst>
          </p:cNvPr>
          <p:cNvGraphicFramePr>
            <a:graphicFrameLocks/>
          </p:cNvGraphicFramePr>
          <p:nvPr>
            <p:extLst>
              <p:ext uri="{D42A27DB-BD31-4B8C-83A1-F6EECF244321}">
                <p14:modId xmlns:p14="http://schemas.microsoft.com/office/powerpoint/2010/main" val="3694888552"/>
              </p:ext>
            </p:extLst>
          </p:nvPr>
        </p:nvGraphicFramePr>
        <p:xfrm>
          <a:off x="6566444" y="1354754"/>
          <a:ext cx="2268000" cy="3374309"/>
        </p:xfrm>
        <a:graphic>
          <a:graphicData uri="http://schemas.openxmlformats.org/drawingml/2006/chart">
            <c:chart xmlns:c="http://schemas.openxmlformats.org/drawingml/2006/chart" xmlns:r="http://schemas.openxmlformats.org/officeDocument/2006/relationships" r:id="rId8"/>
          </a:graphicData>
        </a:graphic>
      </p:graphicFrame>
      <p:sp>
        <p:nvSpPr>
          <p:cNvPr id="16" name="TextBox 15">
            <a:extLst>
              <a:ext uri="{FF2B5EF4-FFF2-40B4-BE49-F238E27FC236}">
                <a16:creationId xmlns:a16="http://schemas.microsoft.com/office/drawing/2014/main" id="{8C8CB6BD-A844-74EC-CFEC-C58CFCC7C5EC}"/>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B18FE6A9-85ED-634C-B0DB-D9A4E7A1AD69}"/>
              </a:ext>
            </a:extLst>
          </p:cNvPr>
          <p:cNvGraphicFramePr>
            <a:graphicFrameLocks noGrp="1"/>
          </p:cNvGraphicFramePr>
          <p:nvPr/>
        </p:nvGraphicFramePr>
        <p:xfrm>
          <a:off x="720534" y="1121410"/>
          <a:ext cx="8113912"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gridCol w="2028478">
                  <a:extLst>
                    <a:ext uri="{9D8B030D-6E8A-4147-A177-3AD203B41FA5}">
                      <a16:colId xmlns:a16="http://schemas.microsoft.com/office/drawing/2014/main" val="3571608413"/>
                    </a:ext>
                  </a:extLst>
                </a:gridCol>
              </a:tblGrid>
              <a:tr h="235994">
                <a:tc>
                  <a:txBody>
                    <a:bodyPr/>
                    <a:lstStyle/>
                    <a:p>
                      <a:pPr algn="ctr">
                        <a:defRPr sz="1100">
                          <a:latin typeface="Nexa Book"/>
                        </a:defRPr>
                      </a:pPr>
                      <a:r>
                        <a:rPr b="1">
                          <a:solidFill>
                            <a:srgbClr val="575555"/>
                          </a:solidFill>
                        </a:rPr>
                        <a:t>Millesimes</a:t>
                      </a:r>
                    </a:p>
                  </a:txBody>
                  <a:tcPr anchor="ctr">
                    <a:solidFill>
                      <a:schemeClr val="bg2"/>
                    </a:solidFill>
                  </a:tcPr>
                </a:tc>
                <a:tc>
                  <a:txBody>
                    <a:bodyPr/>
                    <a:lstStyle/>
                    <a:p>
                      <a:pPr algn="ctr">
                        <a:defRPr sz="1100">
                          <a:latin typeface="Nexa Book"/>
                        </a:defRPr>
                      </a:pPr>
                      <a:r>
                        <a:rPr b="1">
                          <a:solidFill>
                            <a:srgbClr val="575555"/>
                          </a:solidFill>
                        </a:rPr>
                        <a:t>Rosés</a:t>
                      </a:r>
                    </a:p>
                  </a:txBody>
                  <a:tcPr anchor="ctr">
                    <a:solidFill>
                      <a:schemeClr val="bg2"/>
                    </a:solidFill>
                  </a:tcPr>
                </a:tc>
                <a:tc>
                  <a:txBody>
                    <a:bodyPr/>
                    <a:lstStyle/>
                    <a:p>
                      <a:pPr algn="ctr">
                        <a:defRPr sz="1100">
                          <a:latin typeface="Nexa Book"/>
                        </a:defRPr>
                      </a:pPr>
                      <a:r>
                        <a:rPr b="1">
                          <a:solidFill>
                            <a:srgbClr val="575555"/>
                          </a:solidFill>
                        </a:rPr>
                        <a:t>Mousseux Bourgogne</a:t>
                      </a:r>
                    </a:p>
                  </a:txBody>
                  <a:tcPr anchor="ctr">
                    <a:solidFill>
                      <a:schemeClr val="bg2"/>
                    </a:solidFill>
                  </a:tcPr>
                </a:tc>
                <a:tc>
                  <a:txBody>
                    <a:bodyPr/>
                    <a:lstStyle/>
                    <a:p>
                      <a:pPr algn="ctr">
                        <a:defRPr sz="1100">
                          <a:latin typeface="Nexa Book"/>
                        </a:defRPr>
                      </a:pPr>
                      <a:r>
                        <a:rPr b="1">
                          <a:solidFill>
                            <a:srgbClr val="575555"/>
                          </a:solidFill>
                        </a:rPr>
                        <a:t>Mousseux Italiens</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1141081763"/>
      </p:ext>
    </p:extLst>
  </p:cSld>
  <p:clrMapOvr>
    <a:masterClrMapping/>
  </p:clrMapOvr>
</p:sld>
</file>

<file path=ppt/slides/slide5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3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Rosés | NICOLAS PAC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86770077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318325"/>
            <a:ext cx="4869366" cy="974736"/>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309582"/>
            <a:ext cx="4869366" cy="644317"/>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970420"/>
            <a:ext cx="4869366" cy="1305155"/>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929316865"/>
      </p:ext>
    </p:extLst>
  </p:cSld>
  <p:clrMapOvr>
    <a:masterClrMapping/>
  </p:clrMapOvr>
</p:sld>
</file>

<file path=ppt/slides/slide5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3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Rosés | NICOLAS RH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96532752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431536"/>
            <a:ext cx="4869366" cy="937420"/>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384845"/>
            <a:ext cx="4869366" cy="619651"/>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020385"/>
            <a:ext cx="4869366" cy="1255190"/>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332038668"/>
      </p:ext>
    </p:extLst>
  </p:cSld>
  <p:clrMapOvr>
    <a:masterClrMapping/>
  </p:clrMapOvr>
</p:sld>
</file>

<file path=ppt/slides/slide5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3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Rosés | NICOLAS AQU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11100780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484952"/>
            <a:ext cx="4869366" cy="919814"/>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420356"/>
            <a:ext cx="4869366" cy="608012"/>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043959"/>
            <a:ext cx="4869366" cy="1231616"/>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646972007"/>
      </p:ext>
    </p:extLst>
  </p:cSld>
  <p:clrMapOvr>
    <a:masterClrMapping/>
  </p:clrMapOvr>
</p:sld>
</file>

<file path=ppt/slides/slide5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3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Rosés | NICOLAS ES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04963020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463584"/>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682402"/>
            <a:ext cx="4869366" cy="854733"/>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551622"/>
            <a:ext cx="4869366" cy="564993"/>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131102"/>
            <a:ext cx="4869366" cy="1144473"/>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25204970"/>
      </p:ext>
    </p:extLst>
  </p:cSld>
  <p:clrMapOvr>
    <a:masterClrMapping/>
  </p:clrMapOvr>
</p:sld>
</file>

<file path=ppt/slides/slide5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3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Rosés | CA 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77305589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525436"/>
            <a:ext cx="4869366" cy="906470"/>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447271"/>
            <a:ext cx="4869366" cy="599192"/>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061827"/>
            <a:ext cx="4869366" cy="1213748"/>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427526381"/>
      </p:ext>
    </p:extLst>
  </p:cSld>
  <p:clrMapOvr>
    <a:masterClrMapping/>
  </p:clrMapOvr>
</p:sld>
</file>

<file path=ppt/slides/slide5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3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Rosés | CA B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69610695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450535"/>
            <a:ext cx="4869366" cy="931158"/>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397476"/>
            <a:ext cx="4869366" cy="615511"/>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028770"/>
            <a:ext cx="4869366" cy="1246805"/>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77373390"/>
      </p:ext>
    </p:extLst>
  </p:cSld>
  <p:clrMapOvr>
    <a:masterClrMapping/>
  </p:clrMapOvr>
</p:sld>
</file>

<file path=ppt/slides/slide5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3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Rosés | CA C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87992265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497643"/>
            <a:ext cx="4869366" cy="915631"/>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428794"/>
            <a:ext cx="4869366" cy="605247"/>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049561"/>
            <a:ext cx="4869366" cy="1226014"/>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121602503"/>
      </p:ext>
    </p:extLst>
  </p:cSld>
  <p:clrMapOvr>
    <a:masterClrMapping/>
  </p:clrMapOvr>
</p:sld>
</file>

<file path=ppt/slides/slide5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3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Rosés | CA D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1362582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447629"/>
            <a:ext cx="4869366" cy="932116"/>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395544"/>
            <a:ext cx="4869366" cy="61614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027487"/>
            <a:ext cx="4869366" cy="1248088"/>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864199289"/>
      </p:ext>
    </p:extLst>
  </p:cSld>
  <p:clrMapOvr>
    <a:masterClrMapping/>
  </p:clrMapOvr>
</p:sld>
</file>

<file path=ppt/slides/slide5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3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Rosés | CA 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55769890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480696"/>
            <a:ext cx="4869366" cy="921217"/>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417527"/>
            <a:ext cx="4869366" cy="608940"/>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042081"/>
            <a:ext cx="4869366" cy="1233494"/>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872508741"/>
      </p:ext>
    </p:extLst>
  </p:cSld>
  <p:clrMapOvr>
    <a:masterClrMapping/>
  </p:clrMapOvr>
</p:sld>
</file>

<file path=ppt/slides/slide5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3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Bourgogne | Nationa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66701799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648127"/>
            <a:ext cx="4869366" cy="861096"/>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242538331"/>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65918C-CF2D-B9BE-373E-8055AB4F589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BE947E9A-9EDC-50FE-5484-367359C894D7}"/>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DC475BB2-0528-29FB-C158-9EF2E6156FB0}"/>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C87CB3FA-1793-85BB-0720-68CB9A322CAF}"/>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300044B2-FAA5-2879-ADFC-6874BBAF83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DA8BB0C0-E087-2E71-1F6D-E725250BE3D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4</a:t>
            </a:fld>
            <a:endParaRPr lang="en-US" noProof="0"/>
          </a:p>
        </p:txBody>
      </p:sp>
      <p:sp>
        <p:nvSpPr>
          <p:cNvPr id="37" name="Text Placeholder 36">
            <a:extLst>
              <a:ext uri="{FF2B5EF4-FFF2-40B4-BE49-F238E27FC236}">
                <a16:creationId xmlns:a16="http://schemas.microsoft.com/office/drawing/2014/main" id="{4918FA18-B639-A629-2E9B-674B54B4AACA}"/>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37405B8B-A5F3-F9D8-A571-2F38544BBDBA}"/>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egment | NICOLAS QCT | P12M</a:t>
            </a:r>
          </a:p>
        </p:txBody>
      </p:sp>
      <p:sp>
        <p:nvSpPr>
          <p:cNvPr id="2" name="Title 1">
            <a:extLst>
              <a:ext uri="{FF2B5EF4-FFF2-40B4-BE49-F238E27FC236}">
                <a16:creationId xmlns:a16="http://schemas.microsoft.com/office/drawing/2014/main" id="{12784FBB-01F7-DE64-BC02-E8B59B51E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8694A9E2-2E6E-DE42-FC36-3888D1308CB4}"/>
              </a:ext>
            </a:extLst>
          </p:cNvPr>
          <p:cNvGraphicFramePr>
            <a:graphicFrameLocks noGrp="1"/>
          </p:cNvGraphicFramePr>
          <p:nvPr>
            <p:ph idx="4294967295"/>
            <p:extLst>
              <p:ext uri="{D42A27DB-BD31-4B8C-83A1-F6EECF244321}">
                <p14:modId xmlns:p14="http://schemas.microsoft.com/office/powerpoint/2010/main" val="3897300508"/>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F456CAE2-40D9-C89C-01D4-02D92ECC325F}"/>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9C31F180-BE4C-077E-6172-FE9EFF5651B0}"/>
              </a:ext>
            </a:extLst>
          </p:cNvPr>
          <p:cNvGraphicFramePr>
            <a:graphicFrameLocks/>
          </p:cNvGraphicFramePr>
          <p:nvPr>
            <p:extLst>
              <p:ext uri="{D42A27DB-BD31-4B8C-83A1-F6EECF244321}">
                <p14:modId xmlns:p14="http://schemas.microsoft.com/office/powerpoint/2010/main" val="3330047013"/>
              </p:ext>
            </p:extLst>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01B1A8DD-FED6-2C47-296D-0983D1E720B2}"/>
              </a:ext>
            </a:extLst>
          </p:cNvPr>
          <p:cNvGraphicFramePr>
            <a:graphicFrameLocks/>
          </p:cNvGraphicFramePr>
          <p:nvPr>
            <p:extLst>
              <p:ext uri="{D42A27DB-BD31-4B8C-83A1-F6EECF244321}">
                <p14:modId xmlns:p14="http://schemas.microsoft.com/office/powerpoint/2010/main" val="1023629044"/>
              </p:ext>
            </p:extLst>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sp>
        <p:nvSpPr>
          <p:cNvPr id="16" name="TextBox 15">
            <a:extLst>
              <a:ext uri="{FF2B5EF4-FFF2-40B4-BE49-F238E27FC236}">
                <a16:creationId xmlns:a16="http://schemas.microsoft.com/office/drawing/2014/main" id="{2B180312-FE46-D4C9-3734-1E3750820943}"/>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4DB211A7-591C-E03E-65DC-47EB4C0D8D03}"/>
              </a:ext>
            </a:extLst>
          </p:cNvPr>
          <p:cNvGraphicFramePr>
            <a:graphicFrameLocks noGrp="1"/>
          </p:cNvGraphicFramePr>
          <p:nvPr>
            <p:extLst>
              <p:ext uri="{D42A27DB-BD31-4B8C-83A1-F6EECF244321}">
                <p14:modId xmlns:p14="http://schemas.microsoft.com/office/powerpoint/2010/main" val="2790109015"/>
              </p:ext>
            </p:extLst>
          </p:nvPr>
        </p:nvGraphicFramePr>
        <p:xfrm>
          <a:off x="720534" y="1121410"/>
          <a:ext cx="6085434"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tblGrid>
              <a:tr h="235994">
                <a:tc>
                  <a:txBody>
                    <a:bodyPr/>
                    <a:lstStyle/>
                    <a:p>
                      <a:pPr algn="ctr">
                        <a:defRPr sz="1100">
                          <a:latin typeface="Nexa Book"/>
                        </a:defRPr>
                      </a:pPr>
                      <a:r>
                        <a:rPr b="1">
                          <a:solidFill>
                            <a:srgbClr val="575555"/>
                          </a:solidFill>
                        </a:rPr>
                        <a:t>Mousseux Val De Loire</a:t>
                      </a:r>
                    </a:p>
                  </a:txBody>
                  <a:tcPr anchor="ctr">
                    <a:solidFill>
                      <a:schemeClr val="bg2"/>
                    </a:solidFill>
                  </a:tcPr>
                </a:tc>
                <a:tc>
                  <a:txBody>
                    <a:bodyPr/>
                    <a:lstStyle/>
                    <a:p>
                      <a:pPr algn="ctr">
                        <a:defRPr sz="1100">
                          <a:latin typeface="Nexa Book"/>
                        </a:defRPr>
                      </a:pPr>
                      <a:r>
                        <a:rPr b="1">
                          <a:solidFill>
                            <a:srgbClr val="575555"/>
                          </a:solidFill>
                        </a:rPr>
                        <a:t>Mousseux Alsace</a:t>
                      </a:r>
                    </a:p>
                  </a:txBody>
                  <a:tcPr anchor="ctr">
                    <a:solidFill>
                      <a:schemeClr val="bg2"/>
                    </a:solidFill>
                  </a:tcPr>
                </a:tc>
                <a:tc>
                  <a:txBody>
                    <a:bodyPr/>
                    <a:lstStyle/>
                    <a:p>
                      <a:pPr algn="ctr">
                        <a:defRPr sz="1100">
                          <a:latin typeface="Nexa Book"/>
                        </a:defRPr>
                      </a:pPr>
                      <a:r>
                        <a:rPr b="1">
                          <a:solidFill>
                            <a:srgbClr val="575555"/>
                          </a:solidFill>
                        </a:rPr>
                        <a:t>Mousseux Bordelais</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3337918980"/>
      </p:ext>
    </p:extLst>
  </p:cSld>
  <p:clrMapOvr>
    <a:masterClrMapping/>
  </p:clrMapOvr>
</p:sld>
</file>

<file path=ppt/slides/slide5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4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Bourgogne | NICOLA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78645581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224840"/>
            <a:ext cx="4869366" cy="999820"/>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263903672"/>
      </p:ext>
    </p:extLst>
  </p:cSld>
  <p:clrMapOvr>
    <a:masterClrMapping/>
  </p:clrMapOvr>
</p:sld>
</file>

<file path=ppt/slides/slide5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4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Bourgogne | HMSM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35324435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661283"/>
            <a:ext cx="4869366" cy="85678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107971407"/>
      </p:ext>
    </p:extLst>
  </p:cSld>
  <p:clrMapOvr>
    <a:masterClrMapping/>
  </p:clrMapOvr>
</p:sld>
</file>

<file path=ppt/slides/slide5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4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Bourgogne | NICOLAS QC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97950365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240043"/>
            <a:ext cx="4869366" cy="994838"/>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095959062"/>
      </p:ext>
    </p:extLst>
  </p:cSld>
  <p:clrMapOvr>
    <a:masterClrMapping/>
  </p:clrMapOvr>
</p:sld>
</file>

<file path=ppt/slides/slide5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4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Bourgogne | NICOLAS VC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76373369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212054"/>
            <a:ext cx="4869366" cy="1004011"/>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059149512"/>
      </p:ext>
    </p:extLst>
  </p:cSld>
  <p:clrMapOvr>
    <a:masterClrMapping/>
  </p:clrMapOvr>
</p:sld>
</file>

<file path=ppt/slides/slide5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4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Bourgogne | NICOLAS QC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2571194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234992"/>
            <a:ext cx="4869366" cy="996493"/>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246104069"/>
      </p:ext>
    </p:extLst>
  </p:cSld>
  <p:clrMapOvr>
    <a:masterClrMapping/>
  </p:clrMapOvr>
</p:sld>
</file>

<file path=ppt/slides/slide5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4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Bourgogne | NICOLAS QC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84384287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229924"/>
            <a:ext cx="4869366" cy="99815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270221051"/>
      </p:ext>
    </p:extLst>
  </p:cSld>
  <p:clrMapOvr>
    <a:masterClrMapping/>
  </p:clrMapOvr>
</p:sld>
</file>

<file path=ppt/slides/slide5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4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Bourgogne | NICOLAS CCP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76162368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237519"/>
            <a:ext cx="4869366" cy="99566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663550494"/>
      </p:ext>
    </p:extLst>
  </p:cSld>
  <p:clrMapOvr>
    <a:masterClrMapping/>
  </p:clrMapOvr>
</p:sld>
</file>

<file path=ppt/slides/slide5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4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Bourgogne | NICOLAS IDF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32347250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242562"/>
            <a:ext cx="4869366" cy="994012"/>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340137420"/>
      </p:ext>
    </p:extLst>
  </p:cSld>
  <p:clrMapOvr>
    <a:masterClrMapping/>
  </p:clrMapOvr>
</p:sld>
</file>

<file path=ppt/slides/slide5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4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Bourgogne | NICOLAS PAC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9040160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240043"/>
            <a:ext cx="4869366" cy="994838"/>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035783351"/>
      </p:ext>
    </p:extLst>
  </p:cSld>
  <p:clrMapOvr>
    <a:masterClrMapping/>
  </p:clrMapOvr>
</p:sld>
</file>

<file path=ppt/slides/slide5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4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Bourgogne | NICOLAS RH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27323124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245077"/>
            <a:ext cx="4869366" cy="993188"/>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797669416"/>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08FC55-424A-ACCC-676F-44C3CCC9796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415BD49-9CDB-C892-E279-946572C3A129}"/>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BE947E9A-9EDC-50FE-5484-367359C894D7}"/>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6A5025B9-0C85-A050-B069-0AC43B6B8204}"/>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1004F20C-B07D-4614-4481-965EA185837B}"/>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A91D8E7D-FEEC-5BA1-EB74-93E5E7482F85}"/>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5</a:t>
            </a:fld>
            <a:endParaRPr lang="en-US" noProof="0"/>
          </a:p>
        </p:txBody>
      </p:sp>
      <p:sp>
        <p:nvSpPr>
          <p:cNvPr id="37" name="Text Placeholder 36">
            <a:extLst>
              <a:ext uri="{FF2B5EF4-FFF2-40B4-BE49-F238E27FC236}">
                <a16:creationId xmlns:a16="http://schemas.microsoft.com/office/drawing/2014/main" id="{FA0F6888-D5CC-383A-47AD-80C683524A7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2E389274-4FCB-6DE6-41BB-F4D26E075546}"/>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egment | NICOLAS QCA | P12M</a:t>
            </a:r>
          </a:p>
        </p:txBody>
      </p:sp>
      <p:sp>
        <p:nvSpPr>
          <p:cNvPr id="2" name="Title 1">
            <a:extLst>
              <a:ext uri="{FF2B5EF4-FFF2-40B4-BE49-F238E27FC236}">
                <a16:creationId xmlns:a16="http://schemas.microsoft.com/office/drawing/2014/main" id="{0B37106B-65BB-38CE-2DE5-FACF202E6E13}"/>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3AD1043F-CB15-E170-B712-2A89D1DA680D}"/>
              </a:ext>
            </a:extLst>
          </p:cNvPr>
          <p:cNvGraphicFramePr>
            <a:graphicFrameLocks noGrp="1"/>
          </p:cNvGraphicFramePr>
          <p:nvPr>
            <p:ph idx="4294967295"/>
            <p:extLst>
              <p:ext uri="{D42A27DB-BD31-4B8C-83A1-F6EECF244321}">
                <p14:modId xmlns:p14="http://schemas.microsoft.com/office/powerpoint/2010/main" val="2813953950"/>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C7CB25F2-15EE-61CD-96F8-9E24F3CFB425}"/>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C8ACCE2D-6642-ED27-3E63-215D317EDF54}"/>
              </a:ext>
            </a:extLst>
          </p:cNvPr>
          <p:cNvGraphicFramePr>
            <a:graphicFrameLocks/>
          </p:cNvGraphicFramePr>
          <p:nvPr>
            <p:extLst>
              <p:ext uri="{D42A27DB-BD31-4B8C-83A1-F6EECF244321}">
                <p14:modId xmlns:p14="http://schemas.microsoft.com/office/powerpoint/2010/main" val="2950288803"/>
              </p:ext>
            </p:extLst>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8D2AC029-204E-C851-0DBB-376972B8F647}"/>
              </a:ext>
            </a:extLst>
          </p:cNvPr>
          <p:cNvGraphicFramePr>
            <a:graphicFrameLocks/>
          </p:cNvGraphicFramePr>
          <p:nvPr>
            <p:extLst>
              <p:ext uri="{D42A27DB-BD31-4B8C-83A1-F6EECF244321}">
                <p14:modId xmlns:p14="http://schemas.microsoft.com/office/powerpoint/2010/main" val="4139131067"/>
              </p:ext>
            </p:extLst>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C1">
            <a:extLst>
              <a:ext uri="{FF2B5EF4-FFF2-40B4-BE49-F238E27FC236}">
                <a16:creationId xmlns:a16="http://schemas.microsoft.com/office/drawing/2014/main" id="{F3DC8CB2-3F2B-2774-573E-DFF620E84D4C}"/>
              </a:ext>
            </a:extLst>
          </p:cNvPr>
          <p:cNvGraphicFramePr>
            <a:graphicFrameLocks/>
          </p:cNvGraphicFramePr>
          <p:nvPr>
            <p:extLst>
              <p:ext uri="{D42A27DB-BD31-4B8C-83A1-F6EECF244321}">
                <p14:modId xmlns:p14="http://schemas.microsoft.com/office/powerpoint/2010/main" val="863407559"/>
              </p:ext>
            </p:extLst>
          </p:nvPr>
        </p:nvGraphicFramePr>
        <p:xfrm>
          <a:off x="6566444" y="1354754"/>
          <a:ext cx="2268000" cy="3374309"/>
        </p:xfrm>
        <a:graphic>
          <a:graphicData uri="http://schemas.openxmlformats.org/drawingml/2006/chart">
            <c:chart xmlns:c="http://schemas.openxmlformats.org/drawingml/2006/chart" xmlns:r="http://schemas.openxmlformats.org/officeDocument/2006/relationships" r:id="rId8"/>
          </a:graphicData>
        </a:graphic>
      </p:graphicFrame>
      <p:sp>
        <p:nvSpPr>
          <p:cNvPr id="16" name="TextBox 15">
            <a:extLst>
              <a:ext uri="{FF2B5EF4-FFF2-40B4-BE49-F238E27FC236}">
                <a16:creationId xmlns:a16="http://schemas.microsoft.com/office/drawing/2014/main" id="{8C8CB6BD-A844-74EC-CFEC-C58CFCC7C5EC}"/>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B18FE6A9-85ED-634C-B0DB-D9A4E7A1AD69}"/>
              </a:ext>
            </a:extLst>
          </p:cNvPr>
          <p:cNvGraphicFramePr>
            <a:graphicFrameLocks noGrp="1"/>
          </p:cNvGraphicFramePr>
          <p:nvPr/>
        </p:nvGraphicFramePr>
        <p:xfrm>
          <a:off x="720534" y="1121410"/>
          <a:ext cx="8113912"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gridCol w="2028478">
                  <a:extLst>
                    <a:ext uri="{9D8B030D-6E8A-4147-A177-3AD203B41FA5}">
                      <a16:colId xmlns:a16="http://schemas.microsoft.com/office/drawing/2014/main" val="3571608413"/>
                    </a:ext>
                  </a:extLst>
                </a:gridCol>
              </a:tblGrid>
              <a:tr h="235994">
                <a:tc>
                  <a:txBody>
                    <a:bodyPr/>
                    <a:lstStyle/>
                    <a:p>
                      <a:pPr algn="ctr">
                        <a:defRPr sz="1100">
                          <a:latin typeface="Nexa Book"/>
                        </a:defRPr>
                      </a:pPr>
                      <a:r>
                        <a:rPr b="1">
                          <a:solidFill>
                            <a:srgbClr val="575555"/>
                          </a:solidFill>
                        </a:rPr>
                        <a:t>Blanc De Blancs</a:t>
                      </a:r>
                    </a:p>
                  </a:txBody>
                  <a:tcPr anchor="ctr">
                    <a:solidFill>
                      <a:schemeClr val="bg2"/>
                    </a:solidFill>
                  </a:tcPr>
                </a:tc>
                <a:tc>
                  <a:txBody>
                    <a:bodyPr/>
                    <a:lstStyle/>
                    <a:p>
                      <a:pPr algn="ctr">
                        <a:defRPr sz="1100">
                          <a:latin typeface="Nexa Book"/>
                        </a:defRPr>
                      </a:pPr>
                      <a:r>
                        <a:rPr b="1">
                          <a:solidFill>
                            <a:srgbClr val="575555"/>
                          </a:solidFill>
                        </a:rPr>
                        <a:t>Bruts</a:t>
                      </a:r>
                    </a:p>
                  </a:txBody>
                  <a:tcPr anchor="ctr">
                    <a:solidFill>
                      <a:schemeClr val="bg2"/>
                    </a:solidFill>
                  </a:tcPr>
                </a:tc>
                <a:tc>
                  <a:txBody>
                    <a:bodyPr/>
                    <a:lstStyle/>
                    <a:p>
                      <a:pPr algn="ctr">
                        <a:defRPr sz="1100">
                          <a:latin typeface="Nexa Book"/>
                        </a:defRPr>
                      </a:pPr>
                      <a:r>
                        <a:rPr b="1">
                          <a:solidFill>
                            <a:srgbClr val="575555"/>
                          </a:solidFill>
                        </a:rPr>
                        <a:t>Crus</a:t>
                      </a:r>
                    </a:p>
                  </a:txBody>
                  <a:tcPr anchor="ctr">
                    <a:solidFill>
                      <a:schemeClr val="bg2"/>
                    </a:solidFill>
                  </a:tcPr>
                </a:tc>
                <a:tc>
                  <a:txBody>
                    <a:bodyPr/>
                    <a:lstStyle/>
                    <a:p>
                      <a:pPr algn="ctr">
                        <a:defRPr sz="1100">
                          <a:latin typeface="Nexa Book"/>
                        </a:defRPr>
                      </a:pPr>
                      <a:r>
                        <a:rPr b="1">
                          <a:solidFill>
                            <a:srgbClr val="575555"/>
                          </a:solidFill>
                        </a:rPr>
                        <a:t>Extra Brut</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708765318"/>
      </p:ext>
    </p:extLst>
  </p:cSld>
  <p:clrMapOvr>
    <a:masterClrMapping/>
  </p:clrMapOvr>
</p:sld>
</file>

<file path=ppt/slides/slide5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5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Bourgogne | NICOLAS AQU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155517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237519"/>
            <a:ext cx="4869366" cy="99566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89108548"/>
      </p:ext>
    </p:extLst>
  </p:cSld>
  <p:clrMapOvr>
    <a:masterClrMapping/>
  </p:clrMapOvr>
</p:sld>
</file>

<file path=ppt/slides/slide5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5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Bourgogne | NICOLAS ES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13694887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255095"/>
            <a:ext cx="4869366" cy="98990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32426045"/>
      </p:ext>
    </p:extLst>
  </p:cSld>
  <p:clrMapOvr>
    <a:masterClrMapping/>
  </p:clrMapOvr>
</p:sld>
</file>

<file path=ppt/slides/slide5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5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Bourgogne | CA 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56224507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242562"/>
            <a:ext cx="4869366" cy="994012"/>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1694827"/>
      </p:ext>
    </p:extLst>
  </p:cSld>
  <p:clrMapOvr>
    <a:masterClrMapping/>
  </p:clrMapOvr>
</p:sld>
</file>

<file path=ppt/slides/slide5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5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Bourgogne | CA B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14097481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234992"/>
            <a:ext cx="4869366" cy="996493"/>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184761387"/>
      </p:ext>
    </p:extLst>
  </p:cSld>
  <p:clrMapOvr>
    <a:masterClrMapping/>
  </p:clrMapOvr>
</p:sld>
</file>

<file path=ppt/slides/slide5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5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Bourgogne | CA C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87517975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242562"/>
            <a:ext cx="4869366" cy="994012"/>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50428133"/>
      </p:ext>
    </p:extLst>
  </p:cSld>
  <p:clrMapOvr>
    <a:masterClrMapping/>
  </p:clrMapOvr>
</p:sld>
</file>

<file path=ppt/slides/slide5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5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Bourgogne | CA D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21198614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204331"/>
            <a:ext cx="4869366" cy="992568"/>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283160128"/>
      </p:ext>
    </p:extLst>
  </p:cSld>
  <p:clrMapOvr>
    <a:masterClrMapping/>
  </p:clrMapOvr>
</p:sld>
</file>

<file path=ppt/slides/slide5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5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Bourgogne | CA 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06900614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224840"/>
            <a:ext cx="4869366" cy="999820"/>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312473778"/>
      </p:ext>
    </p:extLst>
  </p:cSld>
  <p:clrMapOvr>
    <a:masterClrMapping/>
  </p:clrMapOvr>
</p:sld>
</file>

<file path=ppt/slides/slide5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5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Italiens | Nationa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15155280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566323"/>
            <a:ext cx="4869366" cy="887906"/>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025814230"/>
      </p:ext>
    </p:extLst>
  </p:cSld>
  <p:clrMapOvr>
    <a:masterClrMapping/>
  </p:clrMapOvr>
</p:sld>
</file>

<file path=ppt/slides/slide5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5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Italiens | NICOLA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94377461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577676"/>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802787"/>
            <a:ext cx="4869366" cy="810409"/>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181836426"/>
      </p:ext>
    </p:extLst>
  </p:cSld>
  <p:clrMapOvr>
    <a:masterClrMapping/>
  </p:clrMapOvr>
</p:sld>
</file>

<file path=ppt/slides/slide5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5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Italiens | HMSM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92976431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576328"/>
            <a:ext cx="4869366" cy="884627"/>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829270885"/>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08FC55-424A-ACCC-676F-44C3CCC9796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415BD49-9CDB-C892-E279-946572C3A129}"/>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BE947E9A-9EDC-50FE-5484-367359C894D7}"/>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6A5025B9-0C85-A050-B069-0AC43B6B8204}"/>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1004F20C-B07D-4614-4481-965EA185837B}"/>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A91D8E7D-FEEC-5BA1-EB74-93E5E7482F85}"/>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6</a:t>
            </a:fld>
            <a:endParaRPr lang="en-US" noProof="0"/>
          </a:p>
        </p:txBody>
      </p:sp>
      <p:sp>
        <p:nvSpPr>
          <p:cNvPr id="37" name="Text Placeholder 36">
            <a:extLst>
              <a:ext uri="{FF2B5EF4-FFF2-40B4-BE49-F238E27FC236}">
                <a16:creationId xmlns:a16="http://schemas.microsoft.com/office/drawing/2014/main" id="{FA0F6888-D5CC-383A-47AD-80C683524A7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2E389274-4FCB-6DE6-41BB-F4D26E075546}"/>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egment | NICOLAS QCA | P12M</a:t>
            </a:r>
          </a:p>
        </p:txBody>
      </p:sp>
      <p:sp>
        <p:nvSpPr>
          <p:cNvPr id="2" name="Title 1">
            <a:extLst>
              <a:ext uri="{FF2B5EF4-FFF2-40B4-BE49-F238E27FC236}">
                <a16:creationId xmlns:a16="http://schemas.microsoft.com/office/drawing/2014/main" id="{0B37106B-65BB-38CE-2DE5-FACF202E6E13}"/>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3AD1043F-CB15-E170-B712-2A89D1DA680D}"/>
              </a:ext>
            </a:extLst>
          </p:cNvPr>
          <p:cNvGraphicFramePr>
            <a:graphicFrameLocks noGrp="1"/>
          </p:cNvGraphicFramePr>
          <p:nvPr>
            <p:ph idx="4294967295"/>
            <p:extLst>
              <p:ext uri="{D42A27DB-BD31-4B8C-83A1-F6EECF244321}">
                <p14:modId xmlns:p14="http://schemas.microsoft.com/office/powerpoint/2010/main" val="1114880328"/>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C7CB25F2-15EE-61CD-96F8-9E24F3CFB425}"/>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C8ACCE2D-6642-ED27-3E63-215D317EDF54}"/>
              </a:ext>
            </a:extLst>
          </p:cNvPr>
          <p:cNvGraphicFramePr>
            <a:graphicFrameLocks/>
          </p:cNvGraphicFramePr>
          <p:nvPr>
            <p:extLst>
              <p:ext uri="{D42A27DB-BD31-4B8C-83A1-F6EECF244321}">
                <p14:modId xmlns:p14="http://schemas.microsoft.com/office/powerpoint/2010/main" val="2054054819"/>
              </p:ext>
            </p:extLst>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8D2AC029-204E-C851-0DBB-376972B8F647}"/>
              </a:ext>
            </a:extLst>
          </p:cNvPr>
          <p:cNvGraphicFramePr>
            <a:graphicFrameLocks/>
          </p:cNvGraphicFramePr>
          <p:nvPr>
            <p:extLst>
              <p:ext uri="{D42A27DB-BD31-4B8C-83A1-F6EECF244321}">
                <p14:modId xmlns:p14="http://schemas.microsoft.com/office/powerpoint/2010/main" val="4235144882"/>
              </p:ext>
            </p:extLst>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C1">
            <a:extLst>
              <a:ext uri="{FF2B5EF4-FFF2-40B4-BE49-F238E27FC236}">
                <a16:creationId xmlns:a16="http://schemas.microsoft.com/office/drawing/2014/main" id="{F3DC8CB2-3F2B-2774-573E-DFF620E84D4C}"/>
              </a:ext>
            </a:extLst>
          </p:cNvPr>
          <p:cNvGraphicFramePr>
            <a:graphicFrameLocks/>
          </p:cNvGraphicFramePr>
          <p:nvPr>
            <p:extLst>
              <p:ext uri="{D42A27DB-BD31-4B8C-83A1-F6EECF244321}">
                <p14:modId xmlns:p14="http://schemas.microsoft.com/office/powerpoint/2010/main" val="2402011131"/>
              </p:ext>
            </p:extLst>
          </p:nvPr>
        </p:nvGraphicFramePr>
        <p:xfrm>
          <a:off x="6566444" y="1354754"/>
          <a:ext cx="2268000" cy="3374309"/>
        </p:xfrm>
        <a:graphic>
          <a:graphicData uri="http://schemas.openxmlformats.org/drawingml/2006/chart">
            <c:chart xmlns:c="http://schemas.openxmlformats.org/drawingml/2006/chart" xmlns:r="http://schemas.openxmlformats.org/officeDocument/2006/relationships" r:id="rId8"/>
          </a:graphicData>
        </a:graphic>
      </p:graphicFrame>
      <p:sp>
        <p:nvSpPr>
          <p:cNvPr id="16" name="TextBox 15">
            <a:extLst>
              <a:ext uri="{FF2B5EF4-FFF2-40B4-BE49-F238E27FC236}">
                <a16:creationId xmlns:a16="http://schemas.microsoft.com/office/drawing/2014/main" id="{8C8CB6BD-A844-74EC-CFEC-C58CFCC7C5EC}"/>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B18FE6A9-85ED-634C-B0DB-D9A4E7A1AD69}"/>
              </a:ext>
            </a:extLst>
          </p:cNvPr>
          <p:cNvGraphicFramePr>
            <a:graphicFrameLocks noGrp="1"/>
          </p:cNvGraphicFramePr>
          <p:nvPr/>
        </p:nvGraphicFramePr>
        <p:xfrm>
          <a:off x="720534" y="1121410"/>
          <a:ext cx="8113912"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gridCol w="2028478">
                  <a:extLst>
                    <a:ext uri="{9D8B030D-6E8A-4147-A177-3AD203B41FA5}">
                      <a16:colId xmlns:a16="http://schemas.microsoft.com/office/drawing/2014/main" val="3571608413"/>
                    </a:ext>
                  </a:extLst>
                </a:gridCol>
              </a:tblGrid>
              <a:tr h="235994">
                <a:tc>
                  <a:txBody>
                    <a:bodyPr/>
                    <a:lstStyle/>
                    <a:p>
                      <a:pPr algn="ctr">
                        <a:defRPr sz="1100">
                          <a:latin typeface="Nexa Book"/>
                        </a:defRPr>
                      </a:pPr>
                      <a:r>
                        <a:rPr b="1">
                          <a:solidFill>
                            <a:srgbClr val="575555"/>
                          </a:solidFill>
                        </a:rPr>
                        <a:t>Millesimes</a:t>
                      </a:r>
                    </a:p>
                  </a:txBody>
                  <a:tcPr anchor="ctr">
                    <a:solidFill>
                      <a:schemeClr val="bg2"/>
                    </a:solidFill>
                  </a:tcPr>
                </a:tc>
                <a:tc>
                  <a:txBody>
                    <a:bodyPr/>
                    <a:lstStyle/>
                    <a:p>
                      <a:pPr algn="ctr">
                        <a:defRPr sz="1100">
                          <a:latin typeface="Nexa Book"/>
                        </a:defRPr>
                      </a:pPr>
                      <a:r>
                        <a:rPr b="1">
                          <a:solidFill>
                            <a:srgbClr val="575555"/>
                          </a:solidFill>
                        </a:rPr>
                        <a:t>Rosés</a:t>
                      </a:r>
                    </a:p>
                  </a:txBody>
                  <a:tcPr anchor="ctr">
                    <a:solidFill>
                      <a:schemeClr val="bg2"/>
                    </a:solidFill>
                  </a:tcPr>
                </a:tc>
                <a:tc>
                  <a:txBody>
                    <a:bodyPr/>
                    <a:lstStyle/>
                    <a:p>
                      <a:pPr algn="ctr">
                        <a:defRPr sz="1100">
                          <a:latin typeface="Nexa Book"/>
                        </a:defRPr>
                      </a:pPr>
                      <a:r>
                        <a:rPr b="1">
                          <a:solidFill>
                            <a:srgbClr val="575555"/>
                          </a:solidFill>
                        </a:rPr>
                        <a:t>Mousseux Bourgogne</a:t>
                      </a:r>
                    </a:p>
                  </a:txBody>
                  <a:tcPr anchor="ctr">
                    <a:solidFill>
                      <a:schemeClr val="bg2"/>
                    </a:solidFill>
                  </a:tcPr>
                </a:tc>
                <a:tc>
                  <a:txBody>
                    <a:bodyPr/>
                    <a:lstStyle/>
                    <a:p>
                      <a:pPr algn="ctr">
                        <a:defRPr sz="1100">
                          <a:latin typeface="Nexa Book"/>
                        </a:defRPr>
                      </a:pPr>
                      <a:r>
                        <a:rPr b="1">
                          <a:solidFill>
                            <a:srgbClr val="575555"/>
                          </a:solidFill>
                        </a:rPr>
                        <a:t>Mousseux Italiens</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223333653"/>
      </p:ext>
    </p:extLst>
  </p:cSld>
  <p:clrMapOvr>
    <a:masterClrMapping/>
  </p:clrMapOvr>
</p:sld>
</file>

<file path=ppt/slides/slide5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6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Italiens | NICOLAS QC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5340181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57260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797758"/>
            <a:ext cx="4869366" cy="812058"/>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218750308"/>
      </p:ext>
    </p:extLst>
  </p:cSld>
  <p:clrMapOvr>
    <a:masterClrMapping/>
  </p:clrMapOvr>
</p:sld>
</file>

<file path=ppt/slides/slide5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6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Italiens | NICOLAS VC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41062850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57260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797758"/>
            <a:ext cx="4869366" cy="812058"/>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177549874"/>
      </p:ext>
    </p:extLst>
  </p:cSld>
  <p:clrMapOvr>
    <a:masterClrMapping/>
  </p:clrMapOvr>
</p:sld>
</file>

<file path=ppt/slides/slide5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6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Italiens | NICOLAS QC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51829388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539999"/>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765423"/>
            <a:ext cx="4869366" cy="82265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508358153"/>
      </p:ext>
    </p:extLst>
  </p:cSld>
  <p:clrMapOvr>
    <a:masterClrMapping/>
  </p:clrMapOvr>
</p:sld>
</file>

<file path=ppt/slides/slide5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6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Italiens | NICOLAS QC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59857116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543471"/>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768867"/>
            <a:ext cx="4869366" cy="821526"/>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246437205"/>
      </p:ext>
    </p:extLst>
  </p:cSld>
  <p:clrMapOvr>
    <a:masterClrMapping/>
  </p:clrMapOvr>
</p:sld>
</file>

<file path=ppt/slides/slide5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6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Italiens | NICOLAS CCP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10005754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654527"/>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878997"/>
            <a:ext cx="4869366" cy="785433"/>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684570"/>
            <a:ext cx="4869366" cy="1591005"/>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280802425"/>
      </p:ext>
    </p:extLst>
  </p:cSld>
  <p:clrMapOvr>
    <a:masterClrMapping/>
  </p:clrMapOvr>
</p:sld>
</file>

<file path=ppt/slides/slide5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6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Italiens | NICOLAS IDF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31363659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553831"/>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779140"/>
            <a:ext cx="4869366" cy="818159"/>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90828453"/>
      </p:ext>
    </p:extLst>
  </p:cSld>
  <p:clrMapOvr>
    <a:masterClrMapping/>
  </p:clrMapOvr>
</p:sld>
</file>

<file path=ppt/slides/slide5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6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Italiens | NICOLAS PAC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3635299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567512"/>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792708"/>
            <a:ext cx="4869366" cy="813713"/>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08873646"/>
      </p:ext>
    </p:extLst>
  </p:cSld>
  <p:clrMapOvr>
    <a:masterClrMapping/>
  </p:clrMapOvr>
</p:sld>
</file>

<file path=ppt/slides/slide5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6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Italiens | NICOLAS RH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00173699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665570"/>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889948"/>
            <a:ext cx="4869366" cy="78184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691840"/>
            <a:ext cx="4869366" cy="1583735"/>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619193576"/>
      </p:ext>
    </p:extLst>
  </p:cSld>
  <p:clrMapOvr>
    <a:masterClrMapping/>
  </p:clrMapOvr>
</p:sld>
</file>

<file path=ppt/slides/slide5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6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Italiens | NICOLAS AQU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90964268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652941"/>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877425"/>
            <a:ext cx="4869366" cy="785948"/>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228041139"/>
      </p:ext>
    </p:extLst>
  </p:cSld>
  <p:clrMapOvr>
    <a:masterClrMapping/>
  </p:clrMapOvr>
</p:sld>
</file>

<file path=ppt/slides/slide5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6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Italiens | NICOLAS ES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39338081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67339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897709"/>
            <a:ext cx="4869366" cy="779300"/>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189501383"/>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65918C-CF2D-B9BE-373E-8055AB4F589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BE947E9A-9EDC-50FE-5484-367359C894D7}"/>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DC475BB2-0528-29FB-C158-9EF2E6156FB0}"/>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C87CB3FA-1793-85BB-0720-68CB9A322CAF}"/>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300044B2-FAA5-2879-ADFC-6874BBAF83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DA8BB0C0-E087-2E71-1F6D-E725250BE3D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7</a:t>
            </a:fld>
            <a:endParaRPr lang="en-US" noProof="0"/>
          </a:p>
        </p:txBody>
      </p:sp>
      <p:sp>
        <p:nvSpPr>
          <p:cNvPr id="37" name="Text Placeholder 36">
            <a:extLst>
              <a:ext uri="{FF2B5EF4-FFF2-40B4-BE49-F238E27FC236}">
                <a16:creationId xmlns:a16="http://schemas.microsoft.com/office/drawing/2014/main" id="{4918FA18-B639-A629-2E9B-674B54B4AACA}"/>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37405B8B-A5F3-F9D8-A571-2F38544BBDBA}"/>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egment | NICOLAS QCA | P12M</a:t>
            </a:r>
          </a:p>
        </p:txBody>
      </p:sp>
      <p:sp>
        <p:nvSpPr>
          <p:cNvPr id="2" name="Title 1">
            <a:extLst>
              <a:ext uri="{FF2B5EF4-FFF2-40B4-BE49-F238E27FC236}">
                <a16:creationId xmlns:a16="http://schemas.microsoft.com/office/drawing/2014/main" id="{12784FBB-01F7-DE64-BC02-E8B59B51E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8694A9E2-2E6E-DE42-FC36-3888D1308CB4}"/>
              </a:ext>
            </a:extLst>
          </p:cNvPr>
          <p:cNvGraphicFramePr>
            <a:graphicFrameLocks noGrp="1"/>
          </p:cNvGraphicFramePr>
          <p:nvPr>
            <p:ph idx="4294967295"/>
            <p:extLst>
              <p:ext uri="{D42A27DB-BD31-4B8C-83A1-F6EECF244321}">
                <p14:modId xmlns:p14="http://schemas.microsoft.com/office/powerpoint/2010/main" val="2314365046"/>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F456CAE2-40D9-C89C-01D4-02D92ECC325F}"/>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9C31F180-BE4C-077E-6172-FE9EFF5651B0}"/>
              </a:ext>
            </a:extLst>
          </p:cNvPr>
          <p:cNvGraphicFramePr>
            <a:graphicFrameLocks/>
          </p:cNvGraphicFramePr>
          <p:nvPr>
            <p:extLst>
              <p:ext uri="{D42A27DB-BD31-4B8C-83A1-F6EECF244321}">
                <p14:modId xmlns:p14="http://schemas.microsoft.com/office/powerpoint/2010/main" val="3331243036"/>
              </p:ext>
            </p:extLst>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01B1A8DD-FED6-2C47-296D-0983D1E720B2}"/>
              </a:ext>
            </a:extLst>
          </p:cNvPr>
          <p:cNvGraphicFramePr>
            <a:graphicFrameLocks/>
          </p:cNvGraphicFramePr>
          <p:nvPr>
            <p:extLst>
              <p:ext uri="{D42A27DB-BD31-4B8C-83A1-F6EECF244321}">
                <p14:modId xmlns:p14="http://schemas.microsoft.com/office/powerpoint/2010/main" val="67886083"/>
              </p:ext>
            </p:extLst>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sp>
        <p:nvSpPr>
          <p:cNvPr id="16" name="TextBox 15">
            <a:extLst>
              <a:ext uri="{FF2B5EF4-FFF2-40B4-BE49-F238E27FC236}">
                <a16:creationId xmlns:a16="http://schemas.microsoft.com/office/drawing/2014/main" id="{2B180312-FE46-D4C9-3734-1E3750820943}"/>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4DB211A7-591C-E03E-65DC-47EB4C0D8D03}"/>
              </a:ext>
            </a:extLst>
          </p:cNvPr>
          <p:cNvGraphicFramePr>
            <a:graphicFrameLocks noGrp="1"/>
          </p:cNvGraphicFramePr>
          <p:nvPr>
            <p:extLst>
              <p:ext uri="{D42A27DB-BD31-4B8C-83A1-F6EECF244321}">
                <p14:modId xmlns:p14="http://schemas.microsoft.com/office/powerpoint/2010/main" val="2790109015"/>
              </p:ext>
            </p:extLst>
          </p:nvPr>
        </p:nvGraphicFramePr>
        <p:xfrm>
          <a:off x="720534" y="1121410"/>
          <a:ext cx="6085434"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tblGrid>
              <a:tr h="235994">
                <a:tc>
                  <a:txBody>
                    <a:bodyPr/>
                    <a:lstStyle/>
                    <a:p>
                      <a:pPr algn="ctr">
                        <a:defRPr sz="1100">
                          <a:latin typeface="Nexa Book"/>
                        </a:defRPr>
                      </a:pPr>
                      <a:r>
                        <a:rPr b="1">
                          <a:solidFill>
                            <a:srgbClr val="575555"/>
                          </a:solidFill>
                        </a:rPr>
                        <a:t>Mousseux Val De Loire</a:t>
                      </a:r>
                    </a:p>
                  </a:txBody>
                  <a:tcPr anchor="ctr">
                    <a:solidFill>
                      <a:schemeClr val="bg2"/>
                    </a:solidFill>
                  </a:tcPr>
                </a:tc>
                <a:tc>
                  <a:txBody>
                    <a:bodyPr/>
                    <a:lstStyle/>
                    <a:p>
                      <a:pPr algn="ctr">
                        <a:defRPr sz="1100">
                          <a:latin typeface="Nexa Book"/>
                        </a:defRPr>
                      </a:pPr>
                      <a:r>
                        <a:rPr b="1">
                          <a:solidFill>
                            <a:srgbClr val="575555"/>
                          </a:solidFill>
                        </a:rPr>
                        <a:t>Mousseux Alsace</a:t>
                      </a:r>
                    </a:p>
                  </a:txBody>
                  <a:tcPr anchor="ctr">
                    <a:solidFill>
                      <a:schemeClr val="bg2"/>
                    </a:solidFill>
                  </a:tcPr>
                </a:tc>
                <a:tc>
                  <a:txBody>
                    <a:bodyPr/>
                    <a:lstStyle/>
                    <a:p>
                      <a:pPr algn="ctr">
                        <a:defRPr sz="1100">
                          <a:latin typeface="Nexa Book"/>
                        </a:defRPr>
                      </a:pPr>
                      <a:r>
                        <a:rPr b="1">
                          <a:solidFill>
                            <a:srgbClr val="575555"/>
                          </a:solidFill>
                        </a:rPr>
                        <a:t>Mousseux Bordelais</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2181822146"/>
      </p:ext>
    </p:extLst>
  </p:cSld>
  <p:clrMapOvr>
    <a:masterClrMapping/>
  </p:clrMapOvr>
</p:sld>
</file>

<file path=ppt/slides/slide5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7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Italiens | CA 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2299447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565810"/>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791020"/>
            <a:ext cx="4869366" cy="814266"/>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626165"/>
            <a:ext cx="4869366" cy="1649410"/>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197512203"/>
      </p:ext>
    </p:extLst>
  </p:cSld>
  <p:clrMapOvr>
    <a:masterClrMapping/>
  </p:clrMapOvr>
</p:sld>
</file>

<file path=ppt/slides/slide5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7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Italiens | CA B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99352028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599418"/>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824347"/>
            <a:ext cx="4869366" cy="803343"/>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053698754"/>
      </p:ext>
    </p:extLst>
  </p:cSld>
  <p:clrMapOvr>
    <a:masterClrMapping/>
  </p:clrMapOvr>
</p:sld>
</file>

<file path=ppt/slides/slide5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7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Italiens | CA C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43359337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55726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782546"/>
            <a:ext cx="4869366" cy="817043"/>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779216552"/>
      </p:ext>
    </p:extLst>
  </p:cSld>
  <p:clrMapOvr>
    <a:masterClrMapping/>
  </p:clrMapOvr>
</p:sld>
</file>

<file path=ppt/slides/slide5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7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Italiens | CA D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02699927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574297"/>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799436"/>
            <a:ext cx="4869366" cy="811507"/>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190039713"/>
      </p:ext>
    </p:extLst>
  </p:cSld>
  <p:clrMapOvr>
    <a:masterClrMapping/>
  </p:clrMapOvr>
</p:sld>
</file>

<file path=ppt/slides/slide5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7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Italiens | CA 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75676817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61588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840678"/>
            <a:ext cx="4869366" cy="797991"/>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989470699"/>
      </p:ext>
    </p:extLst>
  </p:cSld>
  <p:clrMapOvr>
    <a:masterClrMapping/>
  </p:clrMapOvr>
</p:sld>
</file>

<file path=ppt/slides/slide5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7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Val De Loire | Nationa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74815024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624037"/>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848762"/>
            <a:ext cx="4869366" cy="795342"/>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664497"/>
            <a:ext cx="4869366" cy="1611078"/>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601895237"/>
      </p:ext>
    </p:extLst>
  </p:cSld>
  <p:clrMapOvr>
    <a:masterClrMapping/>
  </p:clrMapOvr>
</p:sld>
</file>

<file path=ppt/slides/slide5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7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Val De Loire | NICOLA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5645190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588236"/>
            <a:ext cx="4869366" cy="88072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312955243"/>
      </p:ext>
    </p:extLst>
  </p:cSld>
  <p:clrMapOvr>
    <a:masterClrMapping/>
  </p:clrMapOvr>
</p:sld>
</file>

<file path=ppt/slides/slide5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7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Val De Loire | HMSM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79128015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643383"/>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867946"/>
            <a:ext cx="4869366" cy="78905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677233"/>
            <a:ext cx="4869366" cy="1598342"/>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502156185"/>
      </p:ext>
    </p:extLst>
  </p:cSld>
  <p:clrMapOvr>
    <a:masterClrMapping/>
  </p:clrMapOvr>
</p:sld>
</file>

<file path=ppt/slides/slide5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7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Val De Loire | NICOLAS QC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25800555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588236"/>
            <a:ext cx="4869366" cy="88072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93576318"/>
      </p:ext>
    </p:extLst>
  </p:cSld>
  <p:clrMapOvr>
    <a:masterClrMapping/>
  </p:clrMapOvr>
</p:sld>
</file>

<file path=ppt/slides/slide5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7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Val De Loire | NICOLAS VC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0798961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586259"/>
            <a:ext cx="4869366" cy="881372"/>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726444580"/>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08FC55-424A-ACCC-676F-44C3CCC9796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415BD49-9CDB-C892-E279-946572C3A129}"/>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BE947E9A-9EDC-50FE-5484-367359C894D7}"/>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6A5025B9-0C85-A050-B069-0AC43B6B8204}"/>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1004F20C-B07D-4614-4481-965EA185837B}"/>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A91D8E7D-FEEC-5BA1-EB74-93E5E7482F85}"/>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8</a:t>
            </a:fld>
            <a:endParaRPr lang="en-US" noProof="0"/>
          </a:p>
        </p:txBody>
      </p:sp>
      <p:sp>
        <p:nvSpPr>
          <p:cNvPr id="37" name="Text Placeholder 36">
            <a:extLst>
              <a:ext uri="{FF2B5EF4-FFF2-40B4-BE49-F238E27FC236}">
                <a16:creationId xmlns:a16="http://schemas.microsoft.com/office/drawing/2014/main" id="{FA0F6888-D5CC-383A-47AD-80C683524A7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2E389274-4FCB-6DE6-41BB-F4D26E075546}"/>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egment | NICOLAS CCP | P12M</a:t>
            </a:r>
          </a:p>
        </p:txBody>
      </p:sp>
      <p:sp>
        <p:nvSpPr>
          <p:cNvPr id="2" name="Title 1">
            <a:extLst>
              <a:ext uri="{FF2B5EF4-FFF2-40B4-BE49-F238E27FC236}">
                <a16:creationId xmlns:a16="http://schemas.microsoft.com/office/drawing/2014/main" id="{0B37106B-65BB-38CE-2DE5-FACF202E6E13}"/>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3AD1043F-CB15-E170-B712-2A89D1DA680D}"/>
              </a:ext>
            </a:extLst>
          </p:cNvPr>
          <p:cNvGraphicFramePr>
            <a:graphicFrameLocks noGrp="1"/>
          </p:cNvGraphicFramePr>
          <p:nvPr>
            <p:ph idx="4294967295"/>
            <p:extLst>
              <p:ext uri="{D42A27DB-BD31-4B8C-83A1-F6EECF244321}">
                <p14:modId xmlns:p14="http://schemas.microsoft.com/office/powerpoint/2010/main" val="2539569939"/>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C7CB25F2-15EE-61CD-96F8-9E24F3CFB425}"/>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C8ACCE2D-6642-ED27-3E63-215D317EDF54}"/>
              </a:ext>
            </a:extLst>
          </p:cNvPr>
          <p:cNvGraphicFramePr>
            <a:graphicFrameLocks/>
          </p:cNvGraphicFramePr>
          <p:nvPr>
            <p:extLst>
              <p:ext uri="{D42A27DB-BD31-4B8C-83A1-F6EECF244321}">
                <p14:modId xmlns:p14="http://schemas.microsoft.com/office/powerpoint/2010/main" val="2697329229"/>
              </p:ext>
            </p:extLst>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8D2AC029-204E-C851-0DBB-376972B8F647}"/>
              </a:ext>
            </a:extLst>
          </p:cNvPr>
          <p:cNvGraphicFramePr>
            <a:graphicFrameLocks/>
          </p:cNvGraphicFramePr>
          <p:nvPr>
            <p:extLst>
              <p:ext uri="{D42A27DB-BD31-4B8C-83A1-F6EECF244321}">
                <p14:modId xmlns:p14="http://schemas.microsoft.com/office/powerpoint/2010/main" val="3913459326"/>
              </p:ext>
            </p:extLst>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C1">
            <a:extLst>
              <a:ext uri="{FF2B5EF4-FFF2-40B4-BE49-F238E27FC236}">
                <a16:creationId xmlns:a16="http://schemas.microsoft.com/office/drawing/2014/main" id="{F3DC8CB2-3F2B-2774-573E-DFF620E84D4C}"/>
              </a:ext>
            </a:extLst>
          </p:cNvPr>
          <p:cNvGraphicFramePr>
            <a:graphicFrameLocks/>
          </p:cNvGraphicFramePr>
          <p:nvPr>
            <p:extLst>
              <p:ext uri="{D42A27DB-BD31-4B8C-83A1-F6EECF244321}">
                <p14:modId xmlns:p14="http://schemas.microsoft.com/office/powerpoint/2010/main" val="689792896"/>
              </p:ext>
            </p:extLst>
          </p:nvPr>
        </p:nvGraphicFramePr>
        <p:xfrm>
          <a:off x="6566444" y="1354754"/>
          <a:ext cx="2268000" cy="3374309"/>
        </p:xfrm>
        <a:graphic>
          <a:graphicData uri="http://schemas.openxmlformats.org/drawingml/2006/chart">
            <c:chart xmlns:c="http://schemas.openxmlformats.org/drawingml/2006/chart" xmlns:r="http://schemas.openxmlformats.org/officeDocument/2006/relationships" r:id="rId8"/>
          </a:graphicData>
        </a:graphic>
      </p:graphicFrame>
      <p:sp>
        <p:nvSpPr>
          <p:cNvPr id="16" name="TextBox 15">
            <a:extLst>
              <a:ext uri="{FF2B5EF4-FFF2-40B4-BE49-F238E27FC236}">
                <a16:creationId xmlns:a16="http://schemas.microsoft.com/office/drawing/2014/main" id="{8C8CB6BD-A844-74EC-CFEC-C58CFCC7C5EC}"/>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B18FE6A9-85ED-634C-B0DB-D9A4E7A1AD69}"/>
              </a:ext>
            </a:extLst>
          </p:cNvPr>
          <p:cNvGraphicFramePr>
            <a:graphicFrameLocks noGrp="1"/>
          </p:cNvGraphicFramePr>
          <p:nvPr/>
        </p:nvGraphicFramePr>
        <p:xfrm>
          <a:off x="720534" y="1121410"/>
          <a:ext cx="8113912"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gridCol w="2028478">
                  <a:extLst>
                    <a:ext uri="{9D8B030D-6E8A-4147-A177-3AD203B41FA5}">
                      <a16:colId xmlns:a16="http://schemas.microsoft.com/office/drawing/2014/main" val="3571608413"/>
                    </a:ext>
                  </a:extLst>
                </a:gridCol>
              </a:tblGrid>
              <a:tr h="235994">
                <a:tc>
                  <a:txBody>
                    <a:bodyPr/>
                    <a:lstStyle/>
                    <a:p>
                      <a:pPr algn="ctr">
                        <a:defRPr sz="1100">
                          <a:latin typeface="Nexa Book"/>
                        </a:defRPr>
                      </a:pPr>
                      <a:r>
                        <a:rPr b="1">
                          <a:solidFill>
                            <a:srgbClr val="575555"/>
                          </a:solidFill>
                        </a:rPr>
                        <a:t>Blanc De Blancs</a:t>
                      </a:r>
                    </a:p>
                  </a:txBody>
                  <a:tcPr anchor="ctr">
                    <a:solidFill>
                      <a:schemeClr val="bg2"/>
                    </a:solidFill>
                  </a:tcPr>
                </a:tc>
                <a:tc>
                  <a:txBody>
                    <a:bodyPr/>
                    <a:lstStyle/>
                    <a:p>
                      <a:pPr algn="ctr">
                        <a:defRPr sz="1100">
                          <a:latin typeface="Nexa Book"/>
                        </a:defRPr>
                      </a:pPr>
                      <a:r>
                        <a:rPr b="1">
                          <a:solidFill>
                            <a:srgbClr val="575555"/>
                          </a:solidFill>
                        </a:rPr>
                        <a:t>Bruts</a:t>
                      </a:r>
                    </a:p>
                  </a:txBody>
                  <a:tcPr anchor="ctr">
                    <a:solidFill>
                      <a:schemeClr val="bg2"/>
                    </a:solidFill>
                  </a:tcPr>
                </a:tc>
                <a:tc>
                  <a:txBody>
                    <a:bodyPr/>
                    <a:lstStyle/>
                    <a:p>
                      <a:pPr algn="ctr">
                        <a:defRPr sz="1100">
                          <a:latin typeface="Nexa Book"/>
                        </a:defRPr>
                      </a:pPr>
                      <a:r>
                        <a:rPr b="1">
                          <a:solidFill>
                            <a:srgbClr val="575555"/>
                          </a:solidFill>
                        </a:rPr>
                        <a:t>Crus</a:t>
                      </a:r>
                    </a:p>
                  </a:txBody>
                  <a:tcPr anchor="ctr">
                    <a:solidFill>
                      <a:schemeClr val="bg2"/>
                    </a:solidFill>
                  </a:tcPr>
                </a:tc>
                <a:tc>
                  <a:txBody>
                    <a:bodyPr/>
                    <a:lstStyle/>
                    <a:p>
                      <a:pPr algn="ctr">
                        <a:defRPr sz="1100">
                          <a:latin typeface="Nexa Book"/>
                        </a:defRPr>
                      </a:pPr>
                      <a:r>
                        <a:rPr b="1">
                          <a:solidFill>
                            <a:srgbClr val="575555"/>
                          </a:solidFill>
                        </a:rPr>
                        <a:t>Extra Brut</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1775617691"/>
      </p:ext>
    </p:extLst>
  </p:cSld>
  <p:clrMapOvr>
    <a:masterClrMapping/>
  </p:clrMapOvr>
</p:sld>
</file>

<file path=ppt/slides/slide5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8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Val De Loire | NICOLAS QC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56295849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506802"/>
            <a:ext cx="4869366" cy="907413"/>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532711426"/>
      </p:ext>
    </p:extLst>
  </p:cSld>
  <p:clrMapOvr>
    <a:masterClrMapping/>
  </p:clrMapOvr>
</p:sld>
</file>

<file path=ppt/slides/slide5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8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Val De Loire | NICOLAS QC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5165428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519330"/>
            <a:ext cx="4869366" cy="903307"/>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21095235"/>
      </p:ext>
    </p:extLst>
  </p:cSld>
  <p:clrMapOvr>
    <a:masterClrMapping/>
  </p:clrMapOvr>
</p:sld>
</file>

<file path=ppt/slides/slide5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8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Val De Loire | NICOLAS CCP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21069784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609798"/>
            <a:ext cx="4869366" cy="873658"/>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283547620"/>
      </p:ext>
    </p:extLst>
  </p:cSld>
  <p:clrMapOvr>
    <a:masterClrMapping/>
  </p:clrMapOvr>
</p:sld>
</file>

<file path=ppt/slides/slide5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8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Val De Loire | NICOLAS IDF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9869249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527619"/>
            <a:ext cx="4869366" cy="900590"/>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62949938"/>
      </p:ext>
    </p:extLst>
  </p:cSld>
  <p:clrMapOvr>
    <a:masterClrMapping/>
  </p:clrMapOvr>
</p:sld>
</file>

<file path=ppt/slides/slide5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8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Val De Loire | NICOLAS PAC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0601149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588236"/>
            <a:ext cx="4869366" cy="88072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91617857"/>
      </p:ext>
    </p:extLst>
  </p:cSld>
  <p:clrMapOvr>
    <a:masterClrMapping/>
  </p:clrMapOvr>
</p:sld>
</file>

<file path=ppt/slides/slide5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8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Val De Loire | NICOLAS RH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31798913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550160"/>
            <a:ext cx="4869366" cy="893203"/>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385560161"/>
      </p:ext>
    </p:extLst>
  </p:cSld>
  <p:clrMapOvr>
    <a:masterClrMapping/>
  </p:clrMapOvr>
</p:sld>
</file>

<file path=ppt/slides/slide5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8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Val De Loire | NICOLAS AQU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87273404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484933"/>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710817"/>
            <a:ext cx="4869366" cy="840551"/>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679227419"/>
      </p:ext>
    </p:extLst>
  </p:cSld>
  <p:clrMapOvr>
    <a:masterClrMapping/>
  </p:clrMapOvr>
</p:sld>
</file>

<file path=ppt/slides/slide5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8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Val De Loire | NICOLAS ES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11783163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644343"/>
            <a:ext cx="4869366" cy="862336"/>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528791"/>
            <a:ext cx="4869366" cy="1746784"/>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684059871"/>
      </p:ext>
    </p:extLst>
  </p:cSld>
  <p:clrMapOvr>
    <a:masterClrMapping/>
  </p:clrMapOvr>
</p:sld>
</file>

<file path=ppt/slides/slide5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8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Val De Loire | CA 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86528327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496274"/>
            <a:ext cx="4869366" cy="910863"/>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351705570"/>
      </p:ext>
    </p:extLst>
  </p:cSld>
  <p:clrMapOvr>
    <a:masterClrMapping/>
  </p:clrMapOvr>
</p:sld>
</file>

<file path=ppt/slides/slide5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8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Val De Loire | CA B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25658454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621413"/>
            <a:ext cx="4869366" cy="869851"/>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332374994"/>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08FC55-424A-ACCC-676F-44C3CCC9796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415BD49-9CDB-C892-E279-946572C3A129}"/>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BE947E9A-9EDC-50FE-5484-367359C894D7}"/>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6A5025B9-0C85-A050-B069-0AC43B6B8204}"/>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1004F20C-B07D-4614-4481-965EA185837B}"/>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A91D8E7D-FEEC-5BA1-EB74-93E5E7482F85}"/>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9</a:t>
            </a:fld>
            <a:endParaRPr lang="en-US" noProof="0"/>
          </a:p>
        </p:txBody>
      </p:sp>
      <p:sp>
        <p:nvSpPr>
          <p:cNvPr id="37" name="Text Placeholder 36">
            <a:extLst>
              <a:ext uri="{FF2B5EF4-FFF2-40B4-BE49-F238E27FC236}">
                <a16:creationId xmlns:a16="http://schemas.microsoft.com/office/drawing/2014/main" id="{FA0F6888-D5CC-383A-47AD-80C683524A7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2E389274-4FCB-6DE6-41BB-F4D26E075546}"/>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egment | NICOLAS CCP | P12M</a:t>
            </a:r>
          </a:p>
        </p:txBody>
      </p:sp>
      <p:sp>
        <p:nvSpPr>
          <p:cNvPr id="2" name="Title 1">
            <a:extLst>
              <a:ext uri="{FF2B5EF4-FFF2-40B4-BE49-F238E27FC236}">
                <a16:creationId xmlns:a16="http://schemas.microsoft.com/office/drawing/2014/main" id="{0B37106B-65BB-38CE-2DE5-FACF202E6E13}"/>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3AD1043F-CB15-E170-B712-2A89D1DA680D}"/>
              </a:ext>
            </a:extLst>
          </p:cNvPr>
          <p:cNvGraphicFramePr>
            <a:graphicFrameLocks noGrp="1"/>
          </p:cNvGraphicFramePr>
          <p:nvPr>
            <p:ph idx="4294967295"/>
            <p:extLst>
              <p:ext uri="{D42A27DB-BD31-4B8C-83A1-F6EECF244321}">
                <p14:modId xmlns:p14="http://schemas.microsoft.com/office/powerpoint/2010/main" val="890792389"/>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C7CB25F2-15EE-61CD-96F8-9E24F3CFB425}"/>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C8ACCE2D-6642-ED27-3E63-215D317EDF54}"/>
              </a:ext>
            </a:extLst>
          </p:cNvPr>
          <p:cNvGraphicFramePr>
            <a:graphicFrameLocks/>
          </p:cNvGraphicFramePr>
          <p:nvPr>
            <p:extLst>
              <p:ext uri="{D42A27DB-BD31-4B8C-83A1-F6EECF244321}">
                <p14:modId xmlns:p14="http://schemas.microsoft.com/office/powerpoint/2010/main" val="2130243265"/>
              </p:ext>
            </p:extLst>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8D2AC029-204E-C851-0DBB-376972B8F647}"/>
              </a:ext>
            </a:extLst>
          </p:cNvPr>
          <p:cNvGraphicFramePr>
            <a:graphicFrameLocks/>
          </p:cNvGraphicFramePr>
          <p:nvPr>
            <p:extLst>
              <p:ext uri="{D42A27DB-BD31-4B8C-83A1-F6EECF244321}">
                <p14:modId xmlns:p14="http://schemas.microsoft.com/office/powerpoint/2010/main" val="2456235834"/>
              </p:ext>
            </p:extLst>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C1">
            <a:extLst>
              <a:ext uri="{FF2B5EF4-FFF2-40B4-BE49-F238E27FC236}">
                <a16:creationId xmlns:a16="http://schemas.microsoft.com/office/drawing/2014/main" id="{F3DC8CB2-3F2B-2774-573E-DFF620E84D4C}"/>
              </a:ext>
            </a:extLst>
          </p:cNvPr>
          <p:cNvGraphicFramePr>
            <a:graphicFrameLocks/>
          </p:cNvGraphicFramePr>
          <p:nvPr>
            <p:extLst>
              <p:ext uri="{D42A27DB-BD31-4B8C-83A1-F6EECF244321}">
                <p14:modId xmlns:p14="http://schemas.microsoft.com/office/powerpoint/2010/main" val="1440043277"/>
              </p:ext>
            </p:extLst>
          </p:nvPr>
        </p:nvGraphicFramePr>
        <p:xfrm>
          <a:off x="6566444" y="1354754"/>
          <a:ext cx="2268000" cy="3374309"/>
        </p:xfrm>
        <a:graphic>
          <a:graphicData uri="http://schemas.openxmlformats.org/drawingml/2006/chart">
            <c:chart xmlns:c="http://schemas.openxmlformats.org/drawingml/2006/chart" xmlns:r="http://schemas.openxmlformats.org/officeDocument/2006/relationships" r:id="rId8"/>
          </a:graphicData>
        </a:graphic>
      </p:graphicFrame>
      <p:sp>
        <p:nvSpPr>
          <p:cNvPr id="16" name="TextBox 15">
            <a:extLst>
              <a:ext uri="{FF2B5EF4-FFF2-40B4-BE49-F238E27FC236}">
                <a16:creationId xmlns:a16="http://schemas.microsoft.com/office/drawing/2014/main" id="{8C8CB6BD-A844-74EC-CFEC-C58CFCC7C5EC}"/>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B18FE6A9-85ED-634C-B0DB-D9A4E7A1AD69}"/>
              </a:ext>
            </a:extLst>
          </p:cNvPr>
          <p:cNvGraphicFramePr>
            <a:graphicFrameLocks noGrp="1"/>
          </p:cNvGraphicFramePr>
          <p:nvPr/>
        </p:nvGraphicFramePr>
        <p:xfrm>
          <a:off x="720534" y="1121410"/>
          <a:ext cx="8113912"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gridCol w="2028478">
                  <a:extLst>
                    <a:ext uri="{9D8B030D-6E8A-4147-A177-3AD203B41FA5}">
                      <a16:colId xmlns:a16="http://schemas.microsoft.com/office/drawing/2014/main" val="3571608413"/>
                    </a:ext>
                  </a:extLst>
                </a:gridCol>
              </a:tblGrid>
              <a:tr h="235994">
                <a:tc>
                  <a:txBody>
                    <a:bodyPr/>
                    <a:lstStyle/>
                    <a:p>
                      <a:pPr algn="ctr">
                        <a:defRPr sz="1100">
                          <a:latin typeface="Nexa Book"/>
                        </a:defRPr>
                      </a:pPr>
                      <a:r>
                        <a:rPr b="1">
                          <a:solidFill>
                            <a:srgbClr val="575555"/>
                          </a:solidFill>
                        </a:rPr>
                        <a:t>Millesimes</a:t>
                      </a:r>
                    </a:p>
                  </a:txBody>
                  <a:tcPr anchor="ctr">
                    <a:solidFill>
                      <a:schemeClr val="bg2"/>
                    </a:solidFill>
                  </a:tcPr>
                </a:tc>
                <a:tc>
                  <a:txBody>
                    <a:bodyPr/>
                    <a:lstStyle/>
                    <a:p>
                      <a:pPr algn="ctr">
                        <a:defRPr sz="1100">
                          <a:latin typeface="Nexa Book"/>
                        </a:defRPr>
                      </a:pPr>
                      <a:r>
                        <a:rPr b="1">
                          <a:solidFill>
                            <a:srgbClr val="575555"/>
                          </a:solidFill>
                        </a:rPr>
                        <a:t>Rosés</a:t>
                      </a:r>
                    </a:p>
                  </a:txBody>
                  <a:tcPr anchor="ctr">
                    <a:solidFill>
                      <a:schemeClr val="bg2"/>
                    </a:solidFill>
                  </a:tcPr>
                </a:tc>
                <a:tc>
                  <a:txBody>
                    <a:bodyPr/>
                    <a:lstStyle/>
                    <a:p>
                      <a:pPr algn="ctr">
                        <a:defRPr sz="1100">
                          <a:latin typeface="Nexa Book"/>
                        </a:defRPr>
                      </a:pPr>
                      <a:r>
                        <a:rPr b="1">
                          <a:solidFill>
                            <a:srgbClr val="575555"/>
                          </a:solidFill>
                        </a:rPr>
                        <a:t>Mousseux Bourgogne</a:t>
                      </a:r>
                    </a:p>
                  </a:txBody>
                  <a:tcPr anchor="ctr">
                    <a:solidFill>
                      <a:schemeClr val="bg2"/>
                    </a:solidFill>
                  </a:tcPr>
                </a:tc>
                <a:tc>
                  <a:txBody>
                    <a:bodyPr/>
                    <a:lstStyle/>
                    <a:p>
                      <a:pPr algn="ctr">
                        <a:defRPr sz="1100">
                          <a:latin typeface="Nexa Book"/>
                        </a:defRPr>
                      </a:pPr>
                      <a:r>
                        <a:rPr b="1">
                          <a:solidFill>
                            <a:srgbClr val="575555"/>
                          </a:solidFill>
                        </a:rPr>
                        <a:t>Mousseux Italiens</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2484144163"/>
      </p:ext>
    </p:extLst>
  </p:cSld>
  <p:clrMapOvr>
    <a:masterClrMapping/>
  </p:clrMapOvr>
</p:sld>
</file>

<file path=ppt/slides/slide5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9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Val De Loire | CA C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65619568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578320"/>
            <a:ext cx="4869366" cy="88397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937970492"/>
      </p:ext>
    </p:extLst>
  </p:cSld>
  <p:clrMapOvr>
    <a:masterClrMapping/>
  </p:clrMapOvr>
</p:sld>
</file>

<file path=ppt/slides/slide5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9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Val De Loire | CA D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03250306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584278"/>
            <a:ext cx="4869366" cy="882021"/>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011963626"/>
      </p:ext>
    </p:extLst>
  </p:cSld>
  <p:clrMapOvr>
    <a:masterClrMapping/>
  </p:clrMapOvr>
</p:sld>
</file>

<file path=ppt/slides/slide5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9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Val De Loire | CA 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94597416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648127"/>
            <a:ext cx="4869366" cy="861096"/>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240482368"/>
      </p:ext>
    </p:extLst>
  </p:cSld>
  <p:clrMapOvr>
    <a:masterClrMapping/>
  </p:clrMapOvr>
</p:sld>
</file>

<file path=ppt/slides/slide5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9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Alsace | Nationa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84264080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622411"/>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847149"/>
            <a:ext cx="4869366" cy="795870"/>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663427"/>
            <a:ext cx="4869366" cy="1612148"/>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111069303"/>
      </p:ext>
    </p:extLst>
  </p:cSld>
  <p:clrMapOvr>
    <a:masterClrMapping/>
  </p:clrMapOvr>
</p:sld>
</file>

<file path=ppt/slides/slide5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9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Alsace | NICOLA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07634181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594151"/>
            <a:ext cx="4869366" cy="878786"/>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457981734"/>
      </p:ext>
    </p:extLst>
  </p:cSld>
  <p:clrMapOvr>
    <a:masterClrMapping/>
  </p:clrMapOvr>
</p:sld>
</file>

<file path=ppt/slides/slide5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9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Alsace | HMSM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85203157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628903"/>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853586"/>
            <a:ext cx="4869366" cy="793761"/>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667700"/>
            <a:ext cx="4869366" cy="1607875"/>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953554934"/>
      </p:ext>
    </p:extLst>
  </p:cSld>
  <p:clrMapOvr>
    <a:masterClrMapping/>
  </p:clrMapOvr>
</p:sld>
</file>

<file path=ppt/slides/slide5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9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Alsace | NICOLAS QC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04826467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506802"/>
            <a:ext cx="4869366" cy="907413"/>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861069217"/>
      </p:ext>
    </p:extLst>
  </p:cSld>
  <p:clrMapOvr>
    <a:masterClrMapping/>
  </p:clrMapOvr>
</p:sld>
</file>

<file path=ppt/slides/slide5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9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Alsace | NICOLAS VC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71866709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287201"/>
            <a:ext cx="4869366" cy="979383"/>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72969014"/>
      </p:ext>
    </p:extLst>
  </p:cSld>
  <p:clrMapOvr>
    <a:masterClrMapping/>
  </p:clrMapOvr>
</p:sld>
</file>

<file path=ppt/slides/slide5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9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Alsace | NICOLAS QC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29373303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545203"/>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825291721"/>
      </p:ext>
    </p:extLst>
  </p:cSld>
  <p:clrMapOvr>
    <a:masterClrMapping/>
  </p:clrMapOvr>
</p:sld>
</file>

<file path=ppt/slides/slide5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9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Alsace | NICOLAS QC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39170133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229924"/>
            <a:ext cx="4869366" cy="99815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5598110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17F39D-9FE7-D5EF-D981-D08E2C3E7E72}"/>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6C569F5-3F88-086F-5B00-1E8A66D0F786}"/>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1E5943C8-93A2-CE99-9DC9-6106E372503B}"/>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58EF6AC-09CE-D3E4-3CE4-FEF3C28940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7F0F218-5714-F2E2-17DE-F734014EA97B}"/>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a:t>
            </a:fld>
            <a:endParaRPr lang="en-US" noProof="0"/>
          </a:p>
        </p:txBody>
      </p:sp>
      <p:sp>
        <p:nvSpPr>
          <p:cNvPr id="37" name="Text Placeholder 36">
            <a:extLst>
              <a:ext uri="{FF2B5EF4-FFF2-40B4-BE49-F238E27FC236}">
                <a16:creationId xmlns:a16="http://schemas.microsoft.com/office/drawing/2014/main" id="{5136C012-8234-3446-6BA4-D2A4ED46798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09B51F99-F9B2-A31A-6316-FFD484BF748A}"/>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Category | NICOLAS QCT | P12M</a:t>
            </a:r>
          </a:p>
        </p:txBody>
      </p:sp>
      <p:sp>
        <p:nvSpPr>
          <p:cNvPr id="2" name="Title 1">
            <a:extLst>
              <a:ext uri="{FF2B5EF4-FFF2-40B4-BE49-F238E27FC236}">
                <a16:creationId xmlns:a16="http://schemas.microsoft.com/office/drawing/2014/main" id="{119F61F6-E75A-45A7-FB48-021A4AD44DFE}"/>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452FBD9-A58C-004E-EBFE-BF25D0D39B4C}"/>
              </a:ext>
            </a:extLst>
          </p:cNvPr>
          <p:cNvGraphicFramePr>
            <a:graphicFrameLocks noGrp="1"/>
          </p:cNvGraphicFramePr>
          <p:nvPr>
            <p:ph idx="4294967295"/>
            <p:extLst>
              <p:ext uri="{D42A27DB-BD31-4B8C-83A1-F6EECF244321}">
                <p14:modId xmlns:p14="http://schemas.microsoft.com/office/powerpoint/2010/main" val="286168138"/>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B0F72B-C6D2-6D8D-0FC6-9AC4097CBCC1}"/>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sp>
        <p:nvSpPr>
          <p:cNvPr id="16" name="TextBox 15">
            <a:extLst>
              <a:ext uri="{FF2B5EF4-FFF2-40B4-BE49-F238E27FC236}">
                <a16:creationId xmlns:a16="http://schemas.microsoft.com/office/drawing/2014/main" id="{46D148F4-12D7-0EF3-ABFE-35612660B26D}"/>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F3F720E0-CF35-ADEF-C27B-40DD4DEC2868}"/>
              </a:ext>
            </a:extLst>
          </p:cNvPr>
          <p:cNvGraphicFramePr>
            <a:graphicFrameLocks noGrp="1"/>
          </p:cNvGraphicFramePr>
          <p:nvPr>
            <p:extLst>
              <p:ext uri="{D42A27DB-BD31-4B8C-83A1-F6EECF244321}">
                <p14:modId xmlns:p14="http://schemas.microsoft.com/office/powerpoint/2010/main" val="635621620"/>
              </p:ext>
            </p:extLst>
          </p:nvPr>
        </p:nvGraphicFramePr>
        <p:xfrm>
          <a:off x="720534" y="1121410"/>
          <a:ext cx="2028478"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tblGrid>
              <a:tr h="235994">
                <a:tc>
                  <a:txBody>
                    <a:bodyPr/>
                    <a:lstStyle/>
                    <a:p>
                      <a:pPr algn="ctr">
                        <a:defRPr sz="1100">
                          <a:latin typeface="Nexa Book"/>
                        </a:defRPr>
                      </a:pPr>
                      <a:r>
                        <a:rPr b="1">
                          <a:solidFill>
                            <a:srgbClr val="575555"/>
                          </a:solidFill>
                        </a:rPr>
                        <a:t>Effervescents</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1298535697"/>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65918C-CF2D-B9BE-373E-8055AB4F589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BE947E9A-9EDC-50FE-5484-367359C894D7}"/>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DC475BB2-0528-29FB-C158-9EF2E6156FB0}"/>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C87CB3FA-1793-85BB-0720-68CB9A322CAF}"/>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300044B2-FAA5-2879-ADFC-6874BBAF83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DA8BB0C0-E087-2E71-1F6D-E725250BE3D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0</a:t>
            </a:fld>
            <a:endParaRPr lang="en-US" noProof="0"/>
          </a:p>
        </p:txBody>
      </p:sp>
      <p:sp>
        <p:nvSpPr>
          <p:cNvPr id="37" name="Text Placeholder 36">
            <a:extLst>
              <a:ext uri="{FF2B5EF4-FFF2-40B4-BE49-F238E27FC236}">
                <a16:creationId xmlns:a16="http://schemas.microsoft.com/office/drawing/2014/main" id="{4918FA18-B639-A629-2E9B-674B54B4AACA}"/>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37405B8B-A5F3-F9D8-A571-2F38544BBDBA}"/>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egment | NICOLAS CCP | P12M</a:t>
            </a:r>
          </a:p>
        </p:txBody>
      </p:sp>
      <p:sp>
        <p:nvSpPr>
          <p:cNvPr id="2" name="Title 1">
            <a:extLst>
              <a:ext uri="{FF2B5EF4-FFF2-40B4-BE49-F238E27FC236}">
                <a16:creationId xmlns:a16="http://schemas.microsoft.com/office/drawing/2014/main" id="{12784FBB-01F7-DE64-BC02-E8B59B51E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8694A9E2-2E6E-DE42-FC36-3888D1308CB4}"/>
              </a:ext>
            </a:extLst>
          </p:cNvPr>
          <p:cNvGraphicFramePr>
            <a:graphicFrameLocks noGrp="1"/>
          </p:cNvGraphicFramePr>
          <p:nvPr>
            <p:ph idx="4294967295"/>
            <p:extLst>
              <p:ext uri="{D42A27DB-BD31-4B8C-83A1-F6EECF244321}">
                <p14:modId xmlns:p14="http://schemas.microsoft.com/office/powerpoint/2010/main" val="2895393273"/>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F456CAE2-40D9-C89C-01D4-02D92ECC325F}"/>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9C31F180-BE4C-077E-6172-FE9EFF5651B0}"/>
              </a:ext>
            </a:extLst>
          </p:cNvPr>
          <p:cNvGraphicFramePr>
            <a:graphicFrameLocks/>
          </p:cNvGraphicFramePr>
          <p:nvPr>
            <p:extLst>
              <p:ext uri="{D42A27DB-BD31-4B8C-83A1-F6EECF244321}">
                <p14:modId xmlns:p14="http://schemas.microsoft.com/office/powerpoint/2010/main" val="46576361"/>
              </p:ext>
            </p:extLst>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01B1A8DD-FED6-2C47-296D-0983D1E720B2}"/>
              </a:ext>
            </a:extLst>
          </p:cNvPr>
          <p:cNvGraphicFramePr>
            <a:graphicFrameLocks/>
          </p:cNvGraphicFramePr>
          <p:nvPr>
            <p:extLst>
              <p:ext uri="{D42A27DB-BD31-4B8C-83A1-F6EECF244321}">
                <p14:modId xmlns:p14="http://schemas.microsoft.com/office/powerpoint/2010/main" val="315724172"/>
              </p:ext>
            </p:extLst>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sp>
        <p:nvSpPr>
          <p:cNvPr id="16" name="TextBox 15">
            <a:extLst>
              <a:ext uri="{FF2B5EF4-FFF2-40B4-BE49-F238E27FC236}">
                <a16:creationId xmlns:a16="http://schemas.microsoft.com/office/drawing/2014/main" id="{2B180312-FE46-D4C9-3734-1E3750820943}"/>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4DB211A7-591C-E03E-65DC-47EB4C0D8D03}"/>
              </a:ext>
            </a:extLst>
          </p:cNvPr>
          <p:cNvGraphicFramePr>
            <a:graphicFrameLocks noGrp="1"/>
          </p:cNvGraphicFramePr>
          <p:nvPr>
            <p:extLst>
              <p:ext uri="{D42A27DB-BD31-4B8C-83A1-F6EECF244321}">
                <p14:modId xmlns:p14="http://schemas.microsoft.com/office/powerpoint/2010/main" val="2790109015"/>
              </p:ext>
            </p:extLst>
          </p:nvPr>
        </p:nvGraphicFramePr>
        <p:xfrm>
          <a:off x="720534" y="1121410"/>
          <a:ext cx="6085434"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tblGrid>
              <a:tr h="235994">
                <a:tc>
                  <a:txBody>
                    <a:bodyPr/>
                    <a:lstStyle/>
                    <a:p>
                      <a:pPr algn="ctr">
                        <a:defRPr sz="1100">
                          <a:latin typeface="Nexa Book"/>
                        </a:defRPr>
                      </a:pPr>
                      <a:r>
                        <a:rPr b="1">
                          <a:solidFill>
                            <a:srgbClr val="575555"/>
                          </a:solidFill>
                        </a:rPr>
                        <a:t>Mousseux Val De Loire</a:t>
                      </a:r>
                    </a:p>
                  </a:txBody>
                  <a:tcPr anchor="ctr">
                    <a:solidFill>
                      <a:schemeClr val="bg2"/>
                    </a:solidFill>
                  </a:tcPr>
                </a:tc>
                <a:tc>
                  <a:txBody>
                    <a:bodyPr/>
                    <a:lstStyle/>
                    <a:p>
                      <a:pPr algn="ctr">
                        <a:defRPr sz="1100">
                          <a:latin typeface="Nexa Book"/>
                        </a:defRPr>
                      </a:pPr>
                      <a:r>
                        <a:rPr b="1">
                          <a:solidFill>
                            <a:srgbClr val="575555"/>
                          </a:solidFill>
                        </a:rPr>
                        <a:t>Mousseux Alsace</a:t>
                      </a:r>
                    </a:p>
                  </a:txBody>
                  <a:tcPr anchor="ctr">
                    <a:solidFill>
                      <a:schemeClr val="bg2"/>
                    </a:solidFill>
                  </a:tcPr>
                </a:tc>
                <a:tc>
                  <a:txBody>
                    <a:bodyPr/>
                    <a:lstStyle/>
                    <a:p>
                      <a:pPr algn="ctr">
                        <a:defRPr sz="1100">
                          <a:latin typeface="Nexa Book"/>
                        </a:defRPr>
                      </a:pPr>
                      <a:r>
                        <a:rPr b="1">
                          <a:solidFill>
                            <a:srgbClr val="575555"/>
                          </a:solidFill>
                        </a:rPr>
                        <a:t>Mousseux Bordelais</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1788486858"/>
      </p:ext>
    </p:extLst>
  </p:cSld>
  <p:clrMapOvr>
    <a:masterClrMapping/>
  </p:clrMapOvr>
</p:sld>
</file>

<file path=ppt/slides/slide6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0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Alsace | NICOLAS CCP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49401993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70267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894324177"/>
      </p:ext>
    </p:extLst>
  </p:cSld>
  <p:clrMapOvr>
    <a:masterClrMapping/>
  </p:clrMapOvr>
</p:sld>
</file>

<file path=ppt/slides/slide6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0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Alsace | NICOLAS IDF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57487994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229924"/>
            <a:ext cx="4869366" cy="99815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831866776"/>
      </p:ext>
    </p:extLst>
  </p:cSld>
  <p:clrMapOvr>
    <a:masterClrMapping/>
  </p:clrMapOvr>
</p:sld>
</file>

<file path=ppt/slides/slide6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0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Alsace | NICOLAS PAC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5407833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229924"/>
            <a:ext cx="4869366" cy="99815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276713773"/>
      </p:ext>
    </p:extLst>
  </p:cSld>
  <p:clrMapOvr>
    <a:masterClrMapping/>
  </p:clrMapOvr>
</p:sld>
</file>

<file path=ppt/slides/slide6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0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Alsace | NICOLAS RH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66124411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229924"/>
            <a:ext cx="4869366" cy="99815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006582176"/>
      </p:ext>
    </p:extLst>
  </p:cSld>
  <p:clrMapOvr>
    <a:masterClrMapping/>
  </p:clrMapOvr>
</p:sld>
</file>

<file path=ppt/slides/slide6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0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Alsace | NICOLAS AQU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753279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229924"/>
            <a:ext cx="4869366" cy="99815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701152679"/>
      </p:ext>
    </p:extLst>
  </p:cSld>
  <p:clrMapOvr>
    <a:masterClrMapping/>
  </p:clrMapOvr>
</p:sld>
</file>

<file path=ppt/slides/slide6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0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Alsace | NICOLAS ES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05922269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924772"/>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862527784"/>
      </p:ext>
    </p:extLst>
  </p:cSld>
  <p:clrMapOvr>
    <a:masterClrMapping/>
  </p:clrMapOvr>
</p:sld>
</file>

<file path=ppt/slides/slide6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0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Alsace | CA 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68629457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229924"/>
            <a:ext cx="4869366" cy="99815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240253156"/>
      </p:ext>
    </p:extLst>
  </p:cSld>
  <p:clrMapOvr>
    <a:masterClrMapping/>
  </p:clrMapOvr>
</p:sld>
</file>

<file path=ppt/slides/slide6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0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Alsace | CA B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80553370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483117"/>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676813114"/>
      </p:ext>
    </p:extLst>
  </p:cSld>
  <p:clrMapOvr>
    <a:masterClrMapping/>
  </p:clrMapOvr>
</p:sld>
</file>

<file path=ppt/slides/slide6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0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Alsace | CA C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2258562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349409"/>
            <a:ext cx="4869366" cy="95899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285736364"/>
      </p:ext>
    </p:extLst>
  </p:cSld>
  <p:clrMapOvr>
    <a:masterClrMapping/>
  </p:clrMapOvr>
</p:sld>
</file>

<file path=ppt/slides/slide6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0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Alsace | CA D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34786388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527770"/>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136048116"/>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08FC55-424A-ACCC-676F-44C3CCC9796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415BD49-9CDB-C892-E279-946572C3A129}"/>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BE947E9A-9EDC-50FE-5484-367359C894D7}"/>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6A5025B9-0C85-A050-B069-0AC43B6B8204}"/>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1004F20C-B07D-4614-4481-965EA185837B}"/>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A91D8E7D-FEEC-5BA1-EB74-93E5E7482F85}"/>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1</a:t>
            </a:fld>
            <a:endParaRPr lang="en-US" noProof="0"/>
          </a:p>
        </p:txBody>
      </p:sp>
      <p:sp>
        <p:nvSpPr>
          <p:cNvPr id="37" name="Text Placeholder 36">
            <a:extLst>
              <a:ext uri="{FF2B5EF4-FFF2-40B4-BE49-F238E27FC236}">
                <a16:creationId xmlns:a16="http://schemas.microsoft.com/office/drawing/2014/main" id="{FA0F6888-D5CC-383A-47AD-80C683524A7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2E389274-4FCB-6DE6-41BB-F4D26E075546}"/>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egment | NICOLAS IDF | P12M</a:t>
            </a:r>
          </a:p>
        </p:txBody>
      </p:sp>
      <p:sp>
        <p:nvSpPr>
          <p:cNvPr id="2" name="Title 1">
            <a:extLst>
              <a:ext uri="{FF2B5EF4-FFF2-40B4-BE49-F238E27FC236}">
                <a16:creationId xmlns:a16="http://schemas.microsoft.com/office/drawing/2014/main" id="{0B37106B-65BB-38CE-2DE5-FACF202E6E13}"/>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3AD1043F-CB15-E170-B712-2A89D1DA680D}"/>
              </a:ext>
            </a:extLst>
          </p:cNvPr>
          <p:cNvGraphicFramePr>
            <a:graphicFrameLocks noGrp="1"/>
          </p:cNvGraphicFramePr>
          <p:nvPr>
            <p:ph idx="4294967295"/>
            <p:extLst>
              <p:ext uri="{D42A27DB-BD31-4B8C-83A1-F6EECF244321}">
                <p14:modId xmlns:p14="http://schemas.microsoft.com/office/powerpoint/2010/main" val="653808386"/>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C7CB25F2-15EE-61CD-96F8-9E24F3CFB425}"/>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C8ACCE2D-6642-ED27-3E63-215D317EDF54}"/>
              </a:ext>
            </a:extLst>
          </p:cNvPr>
          <p:cNvGraphicFramePr>
            <a:graphicFrameLocks/>
          </p:cNvGraphicFramePr>
          <p:nvPr>
            <p:extLst>
              <p:ext uri="{D42A27DB-BD31-4B8C-83A1-F6EECF244321}">
                <p14:modId xmlns:p14="http://schemas.microsoft.com/office/powerpoint/2010/main" val="1121983011"/>
              </p:ext>
            </p:extLst>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8D2AC029-204E-C851-0DBB-376972B8F647}"/>
              </a:ext>
            </a:extLst>
          </p:cNvPr>
          <p:cNvGraphicFramePr>
            <a:graphicFrameLocks/>
          </p:cNvGraphicFramePr>
          <p:nvPr>
            <p:extLst>
              <p:ext uri="{D42A27DB-BD31-4B8C-83A1-F6EECF244321}">
                <p14:modId xmlns:p14="http://schemas.microsoft.com/office/powerpoint/2010/main" val="1682705531"/>
              </p:ext>
            </p:extLst>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C1">
            <a:extLst>
              <a:ext uri="{FF2B5EF4-FFF2-40B4-BE49-F238E27FC236}">
                <a16:creationId xmlns:a16="http://schemas.microsoft.com/office/drawing/2014/main" id="{F3DC8CB2-3F2B-2774-573E-DFF620E84D4C}"/>
              </a:ext>
            </a:extLst>
          </p:cNvPr>
          <p:cNvGraphicFramePr>
            <a:graphicFrameLocks/>
          </p:cNvGraphicFramePr>
          <p:nvPr>
            <p:extLst>
              <p:ext uri="{D42A27DB-BD31-4B8C-83A1-F6EECF244321}">
                <p14:modId xmlns:p14="http://schemas.microsoft.com/office/powerpoint/2010/main" val="1513125144"/>
              </p:ext>
            </p:extLst>
          </p:nvPr>
        </p:nvGraphicFramePr>
        <p:xfrm>
          <a:off x="6566444" y="1354754"/>
          <a:ext cx="2268000" cy="3374309"/>
        </p:xfrm>
        <a:graphic>
          <a:graphicData uri="http://schemas.openxmlformats.org/drawingml/2006/chart">
            <c:chart xmlns:c="http://schemas.openxmlformats.org/drawingml/2006/chart" xmlns:r="http://schemas.openxmlformats.org/officeDocument/2006/relationships" r:id="rId8"/>
          </a:graphicData>
        </a:graphic>
      </p:graphicFrame>
      <p:sp>
        <p:nvSpPr>
          <p:cNvPr id="16" name="TextBox 15">
            <a:extLst>
              <a:ext uri="{FF2B5EF4-FFF2-40B4-BE49-F238E27FC236}">
                <a16:creationId xmlns:a16="http://schemas.microsoft.com/office/drawing/2014/main" id="{8C8CB6BD-A844-74EC-CFEC-C58CFCC7C5EC}"/>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B18FE6A9-85ED-634C-B0DB-D9A4E7A1AD69}"/>
              </a:ext>
            </a:extLst>
          </p:cNvPr>
          <p:cNvGraphicFramePr>
            <a:graphicFrameLocks noGrp="1"/>
          </p:cNvGraphicFramePr>
          <p:nvPr/>
        </p:nvGraphicFramePr>
        <p:xfrm>
          <a:off x="720534" y="1121410"/>
          <a:ext cx="8113912"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gridCol w="2028478">
                  <a:extLst>
                    <a:ext uri="{9D8B030D-6E8A-4147-A177-3AD203B41FA5}">
                      <a16:colId xmlns:a16="http://schemas.microsoft.com/office/drawing/2014/main" val="3571608413"/>
                    </a:ext>
                  </a:extLst>
                </a:gridCol>
              </a:tblGrid>
              <a:tr h="235994">
                <a:tc>
                  <a:txBody>
                    <a:bodyPr/>
                    <a:lstStyle/>
                    <a:p>
                      <a:pPr algn="ctr">
                        <a:defRPr sz="1100">
                          <a:latin typeface="Nexa Book"/>
                        </a:defRPr>
                      </a:pPr>
                      <a:r>
                        <a:rPr b="1">
                          <a:solidFill>
                            <a:srgbClr val="575555"/>
                          </a:solidFill>
                        </a:rPr>
                        <a:t>Blanc De Blancs</a:t>
                      </a:r>
                    </a:p>
                  </a:txBody>
                  <a:tcPr anchor="ctr">
                    <a:solidFill>
                      <a:schemeClr val="bg2"/>
                    </a:solidFill>
                  </a:tcPr>
                </a:tc>
                <a:tc>
                  <a:txBody>
                    <a:bodyPr/>
                    <a:lstStyle/>
                    <a:p>
                      <a:pPr algn="ctr">
                        <a:defRPr sz="1100">
                          <a:latin typeface="Nexa Book"/>
                        </a:defRPr>
                      </a:pPr>
                      <a:r>
                        <a:rPr b="1">
                          <a:solidFill>
                            <a:srgbClr val="575555"/>
                          </a:solidFill>
                        </a:rPr>
                        <a:t>Bruts</a:t>
                      </a:r>
                    </a:p>
                  </a:txBody>
                  <a:tcPr anchor="ctr">
                    <a:solidFill>
                      <a:schemeClr val="bg2"/>
                    </a:solidFill>
                  </a:tcPr>
                </a:tc>
                <a:tc>
                  <a:txBody>
                    <a:bodyPr/>
                    <a:lstStyle/>
                    <a:p>
                      <a:pPr algn="ctr">
                        <a:defRPr sz="1100">
                          <a:latin typeface="Nexa Book"/>
                        </a:defRPr>
                      </a:pPr>
                      <a:r>
                        <a:rPr b="1">
                          <a:solidFill>
                            <a:srgbClr val="575555"/>
                          </a:solidFill>
                        </a:rPr>
                        <a:t>Crus</a:t>
                      </a:r>
                    </a:p>
                  </a:txBody>
                  <a:tcPr anchor="ctr">
                    <a:solidFill>
                      <a:schemeClr val="bg2"/>
                    </a:solidFill>
                  </a:tcPr>
                </a:tc>
                <a:tc>
                  <a:txBody>
                    <a:bodyPr/>
                    <a:lstStyle/>
                    <a:p>
                      <a:pPr algn="ctr">
                        <a:defRPr sz="1100">
                          <a:latin typeface="Nexa Book"/>
                        </a:defRPr>
                      </a:pPr>
                      <a:r>
                        <a:rPr b="1">
                          <a:solidFill>
                            <a:srgbClr val="575555"/>
                          </a:solidFill>
                        </a:rPr>
                        <a:t>Extra Brut</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2004742727"/>
      </p:ext>
    </p:extLst>
  </p:cSld>
  <p:clrMapOvr>
    <a:masterClrMapping/>
  </p:clrMapOvr>
</p:sld>
</file>

<file path=ppt/slides/slide6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1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Alsace | CA 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00369321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483117"/>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443646533"/>
      </p:ext>
    </p:extLst>
  </p:cSld>
  <p:clrMapOvr>
    <a:masterClrMapping/>
  </p:clrMapOvr>
</p:sld>
</file>

<file path=ppt/slides/slide6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1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Bordelais | Nationa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85134217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728273"/>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952129"/>
            <a:ext cx="4869366" cy="76146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733119"/>
            <a:ext cx="4869366" cy="1542456"/>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2579626"/>
      </p:ext>
    </p:extLst>
  </p:cSld>
  <p:clrMapOvr>
    <a:masterClrMapping/>
  </p:clrMapOvr>
</p:sld>
</file>

<file path=ppt/slides/slide6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1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Bordelais | NICOLA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91645323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265047"/>
            <a:ext cx="4869366" cy="986643"/>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517559475"/>
      </p:ext>
    </p:extLst>
  </p:cSld>
  <p:clrMapOvr>
    <a:masterClrMapping/>
  </p:clrMapOvr>
</p:sld>
</file>

<file path=ppt/slides/slide6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1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Bordelais | HMSM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00960359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734216"/>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958022"/>
            <a:ext cx="4869366" cy="75953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737032"/>
            <a:ext cx="4869366" cy="1538543"/>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843363287"/>
      </p:ext>
    </p:extLst>
  </p:cSld>
  <p:clrMapOvr>
    <a:masterClrMapping/>
  </p:clrMapOvr>
</p:sld>
</file>

<file path=ppt/slides/slide6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1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Bordelais | NICOLAS QC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05779682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265047"/>
            <a:ext cx="4869366" cy="986643"/>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654722287"/>
      </p:ext>
    </p:extLst>
  </p:cSld>
  <p:clrMapOvr>
    <a:masterClrMapping/>
  </p:clrMapOvr>
</p:sld>
</file>

<file path=ppt/slides/slide6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1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Bordelais | NICOLAS VC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8744257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301791"/>
            <a:ext cx="4869366" cy="974601"/>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805812012"/>
      </p:ext>
    </p:extLst>
  </p:cSld>
  <p:clrMapOvr>
    <a:masterClrMapping/>
  </p:clrMapOvr>
</p:sld>
</file>

<file path=ppt/slides/slide6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1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Bordelais | NICOLAS QC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07160058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313840"/>
            <a:ext cx="4869366" cy="970652"/>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205052593"/>
      </p:ext>
    </p:extLst>
  </p:cSld>
  <p:clrMapOvr>
    <a:masterClrMapping/>
  </p:clrMapOvr>
</p:sld>
</file>

<file path=ppt/slides/slide6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1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Bordelais | NICOLAS QC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10274712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335285"/>
            <a:ext cx="4869366" cy="96362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144619094"/>
      </p:ext>
    </p:extLst>
  </p:cSld>
  <p:clrMapOvr>
    <a:masterClrMapping/>
  </p:clrMapOvr>
</p:sld>
</file>

<file path=ppt/slides/slide6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1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Bordelais | NICOLAS CCP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40136037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287201"/>
            <a:ext cx="4869366" cy="979383"/>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876850506"/>
      </p:ext>
    </p:extLst>
  </p:cSld>
  <p:clrMapOvr>
    <a:masterClrMapping/>
  </p:clrMapOvr>
</p:sld>
</file>

<file path=ppt/slides/slide6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1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Bordelais | NICOLAS IDF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28113288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274934"/>
            <a:ext cx="4869366" cy="983403"/>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150606477"/>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08FC55-424A-ACCC-676F-44C3CCC9796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415BD49-9CDB-C892-E279-946572C3A129}"/>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BE947E9A-9EDC-50FE-5484-367359C894D7}"/>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6A5025B9-0C85-A050-B069-0AC43B6B8204}"/>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1004F20C-B07D-4614-4481-965EA185837B}"/>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A91D8E7D-FEEC-5BA1-EB74-93E5E7482F85}"/>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2</a:t>
            </a:fld>
            <a:endParaRPr lang="en-US" noProof="0"/>
          </a:p>
        </p:txBody>
      </p:sp>
      <p:sp>
        <p:nvSpPr>
          <p:cNvPr id="37" name="Text Placeholder 36">
            <a:extLst>
              <a:ext uri="{FF2B5EF4-FFF2-40B4-BE49-F238E27FC236}">
                <a16:creationId xmlns:a16="http://schemas.microsoft.com/office/drawing/2014/main" id="{FA0F6888-D5CC-383A-47AD-80C683524A7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2E389274-4FCB-6DE6-41BB-F4D26E075546}"/>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egment | NICOLAS IDF | P12M</a:t>
            </a:r>
          </a:p>
        </p:txBody>
      </p:sp>
      <p:sp>
        <p:nvSpPr>
          <p:cNvPr id="2" name="Title 1">
            <a:extLst>
              <a:ext uri="{FF2B5EF4-FFF2-40B4-BE49-F238E27FC236}">
                <a16:creationId xmlns:a16="http://schemas.microsoft.com/office/drawing/2014/main" id="{0B37106B-65BB-38CE-2DE5-FACF202E6E13}"/>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3AD1043F-CB15-E170-B712-2A89D1DA680D}"/>
              </a:ext>
            </a:extLst>
          </p:cNvPr>
          <p:cNvGraphicFramePr>
            <a:graphicFrameLocks noGrp="1"/>
          </p:cNvGraphicFramePr>
          <p:nvPr>
            <p:ph idx="4294967295"/>
            <p:extLst>
              <p:ext uri="{D42A27DB-BD31-4B8C-83A1-F6EECF244321}">
                <p14:modId xmlns:p14="http://schemas.microsoft.com/office/powerpoint/2010/main" val="3139376546"/>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C7CB25F2-15EE-61CD-96F8-9E24F3CFB425}"/>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C8ACCE2D-6642-ED27-3E63-215D317EDF54}"/>
              </a:ext>
            </a:extLst>
          </p:cNvPr>
          <p:cNvGraphicFramePr>
            <a:graphicFrameLocks/>
          </p:cNvGraphicFramePr>
          <p:nvPr>
            <p:extLst>
              <p:ext uri="{D42A27DB-BD31-4B8C-83A1-F6EECF244321}">
                <p14:modId xmlns:p14="http://schemas.microsoft.com/office/powerpoint/2010/main" val="2101394073"/>
              </p:ext>
            </p:extLst>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8D2AC029-204E-C851-0DBB-376972B8F647}"/>
              </a:ext>
            </a:extLst>
          </p:cNvPr>
          <p:cNvGraphicFramePr>
            <a:graphicFrameLocks/>
          </p:cNvGraphicFramePr>
          <p:nvPr>
            <p:extLst>
              <p:ext uri="{D42A27DB-BD31-4B8C-83A1-F6EECF244321}">
                <p14:modId xmlns:p14="http://schemas.microsoft.com/office/powerpoint/2010/main" val="2590291627"/>
              </p:ext>
            </p:extLst>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C1">
            <a:extLst>
              <a:ext uri="{FF2B5EF4-FFF2-40B4-BE49-F238E27FC236}">
                <a16:creationId xmlns:a16="http://schemas.microsoft.com/office/drawing/2014/main" id="{F3DC8CB2-3F2B-2774-573E-DFF620E84D4C}"/>
              </a:ext>
            </a:extLst>
          </p:cNvPr>
          <p:cNvGraphicFramePr>
            <a:graphicFrameLocks/>
          </p:cNvGraphicFramePr>
          <p:nvPr>
            <p:extLst>
              <p:ext uri="{D42A27DB-BD31-4B8C-83A1-F6EECF244321}">
                <p14:modId xmlns:p14="http://schemas.microsoft.com/office/powerpoint/2010/main" val="2753605353"/>
              </p:ext>
            </p:extLst>
          </p:nvPr>
        </p:nvGraphicFramePr>
        <p:xfrm>
          <a:off x="6566444" y="1354754"/>
          <a:ext cx="2268000" cy="3374309"/>
        </p:xfrm>
        <a:graphic>
          <a:graphicData uri="http://schemas.openxmlformats.org/drawingml/2006/chart">
            <c:chart xmlns:c="http://schemas.openxmlformats.org/drawingml/2006/chart" xmlns:r="http://schemas.openxmlformats.org/officeDocument/2006/relationships" r:id="rId8"/>
          </a:graphicData>
        </a:graphic>
      </p:graphicFrame>
      <p:sp>
        <p:nvSpPr>
          <p:cNvPr id="16" name="TextBox 15">
            <a:extLst>
              <a:ext uri="{FF2B5EF4-FFF2-40B4-BE49-F238E27FC236}">
                <a16:creationId xmlns:a16="http://schemas.microsoft.com/office/drawing/2014/main" id="{8C8CB6BD-A844-74EC-CFEC-C58CFCC7C5EC}"/>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B18FE6A9-85ED-634C-B0DB-D9A4E7A1AD69}"/>
              </a:ext>
            </a:extLst>
          </p:cNvPr>
          <p:cNvGraphicFramePr>
            <a:graphicFrameLocks noGrp="1"/>
          </p:cNvGraphicFramePr>
          <p:nvPr/>
        </p:nvGraphicFramePr>
        <p:xfrm>
          <a:off x="720534" y="1121410"/>
          <a:ext cx="8113912"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gridCol w="2028478">
                  <a:extLst>
                    <a:ext uri="{9D8B030D-6E8A-4147-A177-3AD203B41FA5}">
                      <a16:colId xmlns:a16="http://schemas.microsoft.com/office/drawing/2014/main" val="3571608413"/>
                    </a:ext>
                  </a:extLst>
                </a:gridCol>
              </a:tblGrid>
              <a:tr h="235994">
                <a:tc>
                  <a:txBody>
                    <a:bodyPr/>
                    <a:lstStyle/>
                    <a:p>
                      <a:pPr algn="ctr">
                        <a:defRPr sz="1100">
                          <a:latin typeface="Nexa Book"/>
                        </a:defRPr>
                      </a:pPr>
                      <a:r>
                        <a:rPr b="1">
                          <a:solidFill>
                            <a:srgbClr val="575555"/>
                          </a:solidFill>
                        </a:rPr>
                        <a:t>Millesimes</a:t>
                      </a:r>
                    </a:p>
                  </a:txBody>
                  <a:tcPr anchor="ctr">
                    <a:solidFill>
                      <a:schemeClr val="bg2"/>
                    </a:solidFill>
                  </a:tcPr>
                </a:tc>
                <a:tc>
                  <a:txBody>
                    <a:bodyPr/>
                    <a:lstStyle/>
                    <a:p>
                      <a:pPr algn="ctr">
                        <a:defRPr sz="1100">
                          <a:latin typeface="Nexa Book"/>
                        </a:defRPr>
                      </a:pPr>
                      <a:r>
                        <a:rPr b="1">
                          <a:solidFill>
                            <a:srgbClr val="575555"/>
                          </a:solidFill>
                        </a:rPr>
                        <a:t>Rosés</a:t>
                      </a:r>
                    </a:p>
                  </a:txBody>
                  <a:tcPr anchor="ctr">
                    <a:solidFill>
                      <a:schemeClr val="bg2"/>
                    </a:solidFill>
                  </a:tcPr>
                </a:tc>
                <a:tc>
                  <a:txBody>
                    <a:bodyPr/>
                    <a:lstStyle/>
                    <a:p>
                      <a:pPr algn="ctr">
                        <a:defRPr sz="1100">
                          <a:latin typeface="Nexa Book"/>
                        </a:defRPr>
                      </a:pPr>
                      <a:r>
                        <a:rPr b="1">
                          <a:solidFill>
                            <a:srgbClr val="575555"/>
                          </a:solidFill>
                        </a:rPr>
                        <a:t>Mousseux Bourgogne</a:t>
                      </a:r>
                    </a:p>
                  </a:txBody>
                  <a:tcPr anchor="ctr">
                    <a:solidFill>
                      <a:schemeClr val="bg2"/>
                    </a:solidFill>
                  </a:tcPr>
                </a:tc>
                <a:tc>
                  <a:txBody>
                    <a:bodyPr/>
                    <a:lstStyle/>
                    <a:p>
                      <a:pPr algn="ctr">
                        <a:defRPr sz="1100">
                          <a:latin typeface="Nexa Book"/>
                        </a:defRPr>
                      </a:pPr>
                      <a:r>
                        <a:rPr b="1">
                          <a:solidFill>
                            <a:srgbClr val="575555"/>
                          </a:solidFill>
                        </a:rPr>
                        <a:t>Mousseux Italiens</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34220924"/>
      </p:ext>
    </p:extLst>
  </p:cSld>
  <p:clrMapOvr>
    <a:masterClrMapping/>
  </p:clrMapOvr>
</p:sld>
</file>

<file path=ppt/slides/slide6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2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Bordelais | NICOLAS PAC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33355105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299369"/>
            <a:ext cx="4869366" cy="97539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807816479"/>
      </p:ext>
    </p:extLst>
  </p:cSld>
  <p:clrMapOvr>
    <a:masterClrMapping/>
  </p:clrMapOvr>
</p:sld>
</file>

<file path=ppt/slides/slide6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2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Bordelais | NICOLAS RH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30967814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342364"/>
            <a:ext cx="4869366" cy="96130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253841300"/>
      </p:ext>
    </p:extLst>
  </p:cSld>
  <p:clrMapOvr>
    <a:masterClrMapping/>
  </p:clrMapOvr>
</p:sld>
</file>

<file path=ppt/slides/slide6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2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Bordelais | NICOLAS AQU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11295116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204331"/>
            <a:ext cx="4869366" cy="837612"/>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401061939"/>
      </p:ext>
    </p:extLst>
  </p:cSld>
  <p:clrMapOvr>
    <a:masterClrMapping/>
  </p:clrMapOvr>
</p:sld>
</file>

<file path=ppt/slides/slide6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2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Bordelais | NICOLAS ES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71757322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457702"/>
            <a:ext cx="4869366" cy="92350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749068471"/>
      </p:ext>
    </p:extLst>
  </p:cSld>
  <p:clrMapOvr>
    <a:masterClrMapping/>
  </p:clrMapOvr>
</p:sld>
</file>

<file path=ppt/slides/slide6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2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Bordelais | CA 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98618497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265047"/>
            <a:ext cx="4869366" cy="986643"/>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276989"/>
            <a:ext cx="4869366" cy="1998586"/>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158421664"/>
      </p:ext>
    </p:extLst>
  </p:cSld>
  <p:clrMapOvr>
    <a:masterClrMapping/>
  </p:clrMapOvr>
</p:sld>
</file>

<file path=ppt/slides/slide6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2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Bordelais | CA B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45391836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262565"/>
            <a:ext cx="4869366" cy="987457"/>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97401672"/>
      </p:ext>
    </p:extLst>
  </p:cSld>
  <p:clrMapOvr>
    <a:masterClrMapping/>
  </p:clrMapOvr>
</p:sld>
</file>

<file path=ppt/slides/slide6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2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Bordelais | CA C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1775658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204331"/>
            <a:ext cx="4869366" cy="996079"/>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176312066"/>
      </p:ext>
    </p:extLst>
  </p:cSld>
  <p:clrMapOvr>
    <a:masterClrMapping/>
  </p:clrMapOvr>
</p:sld>
</file>

<file path=ppt/slides/slide6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2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Bordelais | CA D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55905099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318632"/>
            <a:ext cx="4869366" cy="969082"/>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70307374"/>
      </p:ext>
    </p:extLst>
  </p:cSld>
  <p:clrMapOvr>
    <a:masterClrMapping/>
  </p:clrMapOvr>
</p:sld>
</file>

<file path=ppt/slides/slide6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2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Bordelais | CA 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89010387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296943"/>
            <a:ext cx="4869366" cy="976190"/>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932504779"/>
      </p:ext>
    </p:extLst>
  </p:cSld>
  <p:clrMapOvr>
    <a:masterClrMapping/>
  </p:clrMapOvr>
</p:sld>
</file>

<file path=ppt/slides/slide6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2/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29</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ctor | Effervescents | NICOLAS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Champagnes (93%)</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5.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2.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Mousseux (6%)</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Botteg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Patriarch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Mu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Savia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Bouvet-Ladub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Effervescents Sans Alcool (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Lyre'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925861896"/>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65918C-CF2D-B9BE-373E-8055AB4F589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BE947E9A-9EDC-50FE-5484-367359C894D7}"/>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DC475BB2-0528-29FB-C158-9EF2E6156FB0}"/>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C87CB3FA-1793-85BB-0720-68CB9A322CAF}"/>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300044B2-FAA5-2879-ADFC-6874BBAF83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DA8BB0C0-E087-2E71-1F6D-E725250BE3D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3</a:t>
            </a:fld>
            <a:endParaRPr lang="en-US" noProof="0"/>
          </a:p>
        </p:txBody>
      </p:sp>
      <p:sp>
        <p:nvSpPr>
          <p:cNvPr id="37" name="Text Placeholder 36">
            <a:extLst>
              <a:ext uri="{FF2B5EF4-FFF2-40B4-BE49-F238E27FC236}">
                <a16:creationId xmlns:a16="http://schemas.microsoft.com/office/drawing/2014/main" id="{4918FA18-B639-A629-2E9B-674B54B4AACA}"/>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37405B8B-A5F3-F9D8-A571-2F38544BBDBA}"/>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egment | NICOLAS IDF | P12M</a:t>
            </a:r>
          </a:p>
        </p:txBody>
      </p:sp>
      <p:sp>
        <p:nvSpPr>
          <p:cNvPr id="2" name="Title 1">
            <a:extLst>
              <a:ext uri="{FF2B5EF4-FFF2-40B4-BE49-F238E27FC236}">
                <a16:creationId xmlns:a16="http://schemas.microsoft.com/office/drawing/2014/main" id="{12784FBB-01F7-DE64-BC02-E8B59B51E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8694A9E2-2E6E-DE42-FC36-3888D1308CB4}"/>
              </a:ext>
            </a:extLst>
          </p:cNvPr>
          <p:cNvGraphicFramePr>
            <a:graphicFrameLocks noGrp="1"/>
          </p:cNvGraphicFramePr>
          <p:nvPr>
            <p:ph idx="4294967295"/>
            <p:extLst>
              <p:ext uri="{D42A27DB-BD31-4B8C-83A1-F6EECF244321}">
                <p14:modId xmlns:p14="http://schemas.microsoft.com/office/powerpoint/2010/main" val="2715380386"/>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F456CAE2-40D9-C89C-01D4-02D92ECC325F}"/>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9C31F180-BE4C-077E-6172-FE9EFF5651B0}"/>
              </a:ext>
            </a:extLst>
          </p:cNvPr>
          <p:cNvGraphicFramePr>
            <a:graphicFrameLocks/>
          </p:cNvGraphicFramePr>
          <p:nvPr>
            <p:extLst>
              <p:ext uri="{D42A27DB-BD31-4B8C-83A1-F6EECF244321}">
                <p14:modId xmlns:p14="http://schemas.microsoft.com/office/powerpoint/2010/main" val="2354039960"/>
              </p:ext>
            </p:extLst>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01B1A8DD-FED6-2C47-296D-0983D1E720B2}"/>
              </a:ext>
            </a:extLst>
          </p:cNvPr>
          <p:cNvGraphicFramePr>
            <a:graphicFrameLocks/>
          </p:cNvGraphicFramePr>
          <p:nvPr>
            <p:extLst>
              <p:ext uri="{D42A27DB-BD31-4B8C-83A1-F6EECF244321}">
                <p14:modId xmlns:p14="http://schemas.microsoft.com/office/powerpoint/2010/main" val="2225082771"/>
              </p:ext>
            </p:extLst>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sp>
        <p:nvSpPr>
          <p:cNvPr id="16" name="TextBox 15">
            <a:extLst>
              <a:ext uri="{FF2B5EF4-FFF2-40B4-BE49-F238E27FC236}">
                <a16:creationId xmlns:a16="http://schemas.microsoft.com/office/drawing/2014/main" id="{2B180312-FE46-D4C9-3734-1E3750820943}"/>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4DB211A7-591C-E03E-65DC-47EB4C0D8D03}"/>
              </a:ext>
            </a:extLst>
          </p:cNvPr>
          <p:cNvGraphicFramePr>
            <a:graphicFrameLocks noGrp="1"/>
          </p:cNvGraphicFramePr>
          <p:nvPr>
            <p:extLst>
              <p:ext uri="{D42A27DB-BD31-4B8C-83A1-F6EECF244321}">
                <p14:modId xmlns:p14="http://schemas.microsoft.com/office/powerpoint/2010/main" val="2790109015"/>
              </p:ext>
            </p:extLst>
          </p:nvPr>
        </p:nvGraphicFramePr>
        <p:xfrm>
          <a:off x="720534" y="1121410"/>
          <a:ext cx="6085434"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tblGrid>
              <a:tr h="235994">
                <a:tc>
                  <a:txBody>
                    <a:bodyPr/>
                    <a:lstStyle/>
                    <a:p>
                      <a:pPr algn="ctr">
                        <a:defRPr sz="1100">
                          <a:latin typeface="Nexa Book"/>
                        </a:defRPr>
                      </a:pPr>
                      <a:r>
                        <a:rPr b="1">
                          <a:solidFill>
                            <a:srgbClr val="575555"/>
                          </a:solidFill>
                        </a:rPr>
                        <a:t>Mousseux Val De Loire</a:t>
                      </a:r>
                    </a:p>
                  </a:txBody>
                  <a:tcPr anchor="ctr">
                    <a:solidFill>
                      <a:schemeClr val="bg2"/>
                    </a:solidFill>
                  </a:tcPr>
                </a:tc>
                <a:tc>
                  <a:txBody>
                    <a:bodyPr/>
                    <a:lstStyle/>
                    <a:p>
                      <a:pPr algn="ctr">
                        <a:defRPr sz="1100">
                          <a:latin typeface="Nexa Book"/>
                        </a:defRPr>
                      </a:pPr>
                      <a:r>
                        <a:rPr b="1">
                          <a:solidFill>
                            <a:srgbClr val="575555"/>
                          </a:solidFill>
                        </a:rPr>
                        <a:t>Mousseux Alsace</a:t>
                      </a:r>
                    </a:p>
                  </a:txBody>
                  <a:tcPr anchor="ctr">
                    <a:solidFill>
                      <a:schemeClr val="bg2"/>
                    </a:solidFill>
                  </a:tcPr>
                </a:tc>
                <a:tc>
                  <a:txBody>
                    <a:bodyPr/>
                    <a:lstStyle/>
                    <a:p>
                      <a:pPr algn="ctr">
                        <a:defRPr sz="1100">
                          <a:latin typeface="Nexa Book"/>
                        </a:defRPr>
                      </a:pPr>
                      <a:r>
                        <a:rPr b="1">
                          <a:solidFill>
                            <a:srgbClr val="575555"/>
                          </a:solidFill>
                        </a:rPr>
                        <a:t>Mousseux Bordelais</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2776634521"/>
      </p:ext>
    </p:extLst>
  </p:cSld>
  <p:clrMapOvr>
    <a:masterClrMapping/>
  </p:clrMapOvr>
</p:sld>
</file>

<file path=ppt/slides/slide6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2/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30</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ctor | Effervescents | NICOLAS QCN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Champagnes (92%)</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4.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Mousseux (7%)</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Botteg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Patriarch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Mu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Savia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Chateau Moncontou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Effervescents Sans Alcool (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Lyre'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40195983"/>
      </p:ext>
    </p:extLst>
  </p:cSld>
  <p:clrMapOvr>
    <a:masterClrMapping/>
  </p:clrMapOvr>
</p:sld>
</file>

<file path=ppt/slides/slide6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2/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31</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ctor | Effervescents | NICOLAS VCN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Champagnes (93%)</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5.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Mousseux (6%)</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Patriarch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Botteg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Mu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Bouvet-Ladub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Chateau Moncontou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Effervescents Sans Alcool (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Lyre'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24472616"/>
      </p:ext>
    </p:extLst>
  </p:cSld>
  <p:clrMapOvr>
    <a:masterClrMapping/>
  </p:clrMapOvr>
</p:sld>
</file>

<file path=ppt/slides/slide6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2/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32</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ctor | Effervescents | NICOLAS QC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Champagnes (93%)</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6.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Mousseux (6%)</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Botteg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Patriarch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Mu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Savia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Chateau Moncontou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Effervescents Sans Alcool (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Lyre'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717737478"/>
      </p:ext>
    </p:extLst>
  </p:cSld>
  <p:clrMapOvr>
    <a:masterClrMapping/>
  </p:clrMapOvr>
</p:sld>
</file>

<file path=ppt/slides/slide6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2/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33</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ctor | Effervescents | NICOLAS QCA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Champagnes (95%)</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5.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3.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6.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Mousseux (4%)</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Botteg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Patriarch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Bouvet-Ladub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Savia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Mu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Effervescents Sans Alcool (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Lyre'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807019842"/>
      </p:ext>
    </p:extLst>
  </p:cSld>
  <p:clrMapOvr>
    <a:masterClrMapping/>
  </p:clrMapOvr>
</p:sld>
</file>

<file path=ppt/slides/slide6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2/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34</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ctor | Effervescents | NICOLAS CCP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Champagnes (92%)</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7.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3.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Mousseux (7%)</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Botteg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Mu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Patriarch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Bouvet-Ladub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Savia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Effervescents Sans Alcool (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Lyre'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7.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068041672"/>
      </p:ext>
    </p:extLst>
  </p:cSld>
  <p:clrMapOvr>
    <a:masterClrMapping/>
  </p:clrMapOvr>
</p:sld>
</file>

<file path=ppt/slides/slide6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2/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35</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ctor | Effervescents | CA A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Champagnes (94%)</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9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6.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4.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Mousseux (5%)</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Botteg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Patriarch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Savia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Mu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Chateau Moncontou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Effervescents Sans Alcool (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Lyre'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4181052583"/>
      </p:ext>
    </p:extLst>
  </p:cSld>
  <p:clrMapOvr>
    <a:masterClrMapping/>
  </p:clrMapOvr>
</p:sld>
</file>

<file path=ppt/slides/slide6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2/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36</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ctor | Effervescents | CA B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Champagnes (92%)</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4.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Mousseux (7%)</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Botteg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Patriarch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Mu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Bouvet-Ladub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Chateau Moncontou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Effervescents Sans Alcool (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Lyre'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7.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919947679"/>
      </p:ext>
    </p:extLst>
  </p:cSld>
  <p:clrMapOvr>
    <a:masterClrMapping/>
  </p:clrMapOvr>
</p:sld>
</file>

<file path=ppt/slides/slide6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2/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37</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ctor | Effervescents | CA C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Champagnes (92%)</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2.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Mousseux (6%)</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Botteg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Patriarch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Savia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Mu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Bouvet-Ladub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Effervescents Sans Alcool (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Lyre'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09845515"/>
      </p:ext>
    </p:extLst>
  </p:cSld>
  <p:clrMapOvr>
    <a:masterClrMapping/>
  </p:clrMapOvr>
</p:sld>
</file>

<file path=ppt/slides/slide6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2/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38</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ctor | Effervescents | CA D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Champagnes (92%)</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4.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Mousseux (7%)</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Botteg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Patriarch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Mu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Savia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Bouvet-Ladub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Effervescents Sans Alcool (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Lyre'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97924320"/>
      </p:ext>
    </p:extLst>
  </p:cSld>
  <p:clrMapOvr>
    <a:masterClrMapping/>
  </p:clrMapOvr>
</p:sld>
</file>

<file path=ppt/slides/slide6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2/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39</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ctor | Effervescents | CA E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Champagnes (92%)</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4.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Mousseux (8%)</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Patriarch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Mu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Botteg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Bouvet-Ladub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Chateau Moncontou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Effervescents Sans Alcool (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Lyre'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179729375"/>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08FC55-424A-ACCC-676F-44C3CCC9796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415BD49-9CDB-C892-E279-946572C3A129}"/>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BE947E9A-9EDC-50FE-5484-367359C894D7}"/>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6A5025B9-0C85-A050-B069-0AC43B6B8204}"/>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1004F20C-B07D-4614-4481-965EA185837B}"/>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A91D8E7D-FEEC-5BA1-EB74-93E5E7482F85}"/>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4</a:t>
            </a:fld>
            <a:endParaRPr lang="en-US" noProof="0"/>
          </a:p>
        </p:txBody>
      </p:sp>
      <p:sp>
        <p:nvSpPr>
          <p:cNvPr id="37" name="Text Placeholder 36">
            <a:extLst>
              <a:ext uri="{FF2B5EF4-FFF2-40B4-BE49-F238E27FC236}">
                <a16:creationId xmlns:a16="http://schemas.microsoft.com/office/drawing/2014/main" id="{FA0F6888-D5CC-383A-47AD-80C683524A7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2E389274-4FCB-6DE6-41BB-F4D26E075546}"/>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egment | NICOLAS PAC | P12M</a:t>
            </a:r>
          </a:p>
        </p:txBody>
      </p:sp>
      <p:sp>
        <p:nvSpPr>
          <p:cNvPr id="2" name="Title 1">
            <a:extLst>
              <a:ext uri="{FF2B5EF4-FFF2-40B4-BE49-F238E27FC236}">
                <a16:creationId xmlns:a16="http://schemas.microsoft.com/office/drawing/2014/main" id="{0B37106B-65BB-38CE-2DE5-FACF202E6E13}"/>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3AD1043F-CB15-E170-B712-2A89D1DA680D}"/>
              </a:ext>
            </a:extLst>
          </p:cNvPr>
          <p:cNvGraphicFramePr>
            <a:graphicFrameLocks noGrp="1"/>
          </p:cNvGraphicFramePr>
          <p:nvPr>
            <p:ph idx="4294967295"/>
            <p:extLst>
              <p:ext uri="{D42A27DB-BD31-4B8C-83A1-F6EECF244321}">
                <p14:modId xmlns:p14="http://schemas.microsoft.com/office/powerpoint/2010/main" val="3816528954"/>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C7CB25F2-15EE-61CD-96F8-9E24F3CFB425}"/>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C8ACCE2D-6642-ED27-3E63-215D317EDF54}"/>
              </a:ext>
            </a:extLst>
          </p:cNvPr>
          <p:cNvGraphicFramePr>
            <a:graphicFrameLocks/>
          </p:cNvGraphicFramePr>
          <p:nvPr>
            <p:extLst>
              <p:ext uri="{D42A27DB-BD31-4B8C-83A1-F6EECF244321}">
                <p14:modId xmlns:p14="http://schemas.microsoft.com/office/powerpoint/2010/main" val="3382879750"/>
              </p:ext>
            </p:extLst>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8D2AC029-204E-C851-0DBB-376972B8F647}"/>
              </a:ext>
            </a:extLst>
          </p:cNvPr>
          <p:cNvGraphicFramePr>
            <a:graphicFrameLocks/>
          </p:cNvGraphicFramePr>
          <p:nvPr>
            <p:extLst>
              <p:ext uri="{D42A27DB-BD31-4B8C-83A1-F6EECF244321}">
                <p14:modId xmlns:p14="http://schemas.microsoft.com/office/powerpoint/2010/main" val="737611649"/>
              </p:ext>
            </p:extLst>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C1">
            <a:extLst>
              <a:ext uri="{FF2B5EF4-FFF2-40B4-BE49-F238E27FC236}">
                <a16:creationId xmlns:a16="http://schemas.microsoft.com/office/drawing/2014/main" id="{F3DC8CB2-3F2B-2774-573E-DFF620E84D4C}"/>
              </a:ext>
            </a:extLst>
          </p:cNvPr>
          <p:cNvGraphicFramePr>
            <a:graphicFrameLocks/>
          </p:cNvGraphicFramePr>
          <p:nvPr>
            <p:extLst>
              <p:ext uri="{D42A27DB-BD31-4B8C-83A1-F6EECF244321}">
                <p14:modId xmlns:p14="http://schemas.microsoft.com/office/powerpoint/2010/main" val="940410612"/>
              </p:ext>
            </p:extLst>
          </p:nvPr>
        </p:nvGraphicFramePr>
        <p:xfrm>
          <a:off x="6566444" y="1354754"/>
          <a:ext cx="2268000" cy="3374309"/>
        </p:xfrm>
        <a:graphic>
          <a:graphicData uri="http://schemas.openxmlformats.org/drawingml/2006/chart">
            <c:chart xmlns:c="http://schemas.openxmlformats.org/drawingml/2006/chart" xmlns:r="http://schemas.openxmlformats.org/officeDocument/2006/relationships" r:id="rId8"/>
          </a:graphicData>
        </a:graphic>
      </p:graphicFrame>
      <p:sp>
        <p:nvSpPr>
          <p:cNvPr id="16" name="TextBox 15">
            <a:extLst>
              <a:ext uri="{FF2B5EF4-FFF2-40B4-BE49-F238E27FC236}">
                <a16:creationId xmlns:a16="http://schemas.microsoft.com/office/drawing/2014/main" id="{8C8CB6BD-A844-74EC-CFEC-C58CFCC7C5EC}"/>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B18FE6A9-85ED-634C-B0DB-D9A4E7A1AD69}"/>
              </a:ext>
            </a:extLst>
          </p:cNvPr>
          <p:cNvGraphicFramePr>
            <a:graphicFrameLocks noGrp="1"/>
          </p:cNvGraphicFramePr>
          <p:nvPr/>
        </p:nvGraphicFramePr>
        <p:xfrm>
          <a:off x="720534" y="1121410"/>
          <a:ext cx="8113912"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gridCol w="2028478">
                  <a:extLst>
                    <a:ext uri="{9D8B030D-6E8A-4147-A177-3AD203B41FA5}">
                      <a16:colId xmlns:a16="http://schemas.microsoft.com/office/drawing/2014/main" val="3571608413"/>
                    </a:ext>
                  </a:extLst>
                </a:gridCol>
              </a:tblGrid>
              <a:tr h="235994">
                <a:tc>
                  <a:txBody>
                    <a:bodyPr/>
                    <a:lstStyle/>
                    <a:p>
                      <a:pPr algn="ctr">
                        <a:defRPr sz="1100">
                          <a:latin typeface="Nexa Book"/>
                        </a:defRPr>
                      </a:pPr>
                      <a:r>
                        <a:rPr b="1">
                          <a:solidFill>
                            <a:srgbClr val="575555"/>
                          </a:solidFill>
                        </a:rPr>
                        <a:t>Blanc De Blancs</a:t>
                      </a:r>
                    </a:p>
                  </a:txBody>
                  <a:tcPr anchor="ctr">
                    <a:solidFill>
                      <a:schemeClr val="bg2"/>
                    </a:solidFill>
                  </a:tcPr>
                </a:tc>
                <a:tc>
                  <a:txBody>
                    <a:bodyPr/>
                    <a:lstStyle/>
                    <a:p>
                      <a:pPr algn="ctr">
                        <a:defRPr sz="1100">
                          <a:latin typeface="Nexa Book"/>
                        </a:defRPr>
                      </a:pPr>
                      <a:r>
                        <a:rPr b="1">
                          <a:solidFill>
                            <a:srgbClr val="575555"/>
                          </a:solidFill>
                        </a:rPr>
                        <a:t>Bruts</a:t>
                      </a:r>
                    </a:p>
                  </a:txBody>
                  <a:tcPr anchor="ctr">
                    <a:solidFill>
                      <a:schemeClr val="bg2"/>
                    </a:solidFill>
                  </a:tcPr>
                </a:tc>
                <a:tc>
                  <a:txBody>
                    <a:bodyPr/>
                    <a:lstStyle/>
                    <a:p>
                      <a:pPr algn="ctr">
                        <a:defRPr sz="1100">
                          <a:latin typeface="Nexa Book"/>
                        </a:defRPr>
                      </a:pPr>
                      <a:r>
                        <a:rPr b="1">
                          <a:solidFill>
                            <a:srgbClr val="575555"/>
                          </a:solidFill>
                        </a:rPr>
                        <a:t>Crus</a:t>
                      </a:r>
                    </a:p>
                  </a:txBody>
                  <a:tcPr anchor="ctr">
                    <a:solidFill>
                      <a:schemeClr val="bg2"/>
                    </a:solidFill>
                  </a:tcPr>
                </a:tc>
                <a:tc>
                  <a:txBody>
                    <a:bodyPr/>
                    <a:lstStyle/>
                    <a:p>
                      <a:pPr algn="ctr">
                        <a:defRPr sz="1100">
                          <a:latin typeface="Nexa Book"/>
                        </a:defRPr>
                      </a:pPr>
                      <a:r>
                        <a:rPr b="1">
                          <a:solidFill>
                            <a:srgbClr val="575555"/>
                          </a:solidFill>
                        </a:rPr>
                        <a:t>Extra Brut</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4143822239"/>
      </p:ext>
    </p:extLst>
  </p:cSld>
  <p:clrMapOvr>
    <a:masterClrMapping/>
  </p:clrMapOvr>
</p:sld>
</file>

<file path=ppt/slides/slide6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2/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40</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gment | Effervescents | NICOLAS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747457"/>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Bruts (62%)</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5.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2.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7.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Heidsieck &amp; Co Monopo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71478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Blanc De Blancs (12%)</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0.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Besserat De Bellef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2.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Henrio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9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71478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osés (6%)</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4.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9.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Demoisel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68211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Crus (4%)</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Vessel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Louis Mart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71478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Millesimes (4%)</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Dom Perign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2.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3.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9.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5.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68211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Extra Brut (3%)</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Nicolas Feuilla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Moët &amp; Chand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8.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Canard Duchê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383060570"/>
      </p:ext>
    </p:extLst>
  </p:cSld>
  <p:clrMapOvr>
    <a:masterClrMapping/>
  </p:clrMapOvr>
</p:sld>
</file>

<file path=ppt/slides/slide6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2/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41</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gment | Effervescents | NICOLAS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Mousseux Italiens (2%)</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Botteg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Savia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Contari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Mousseux Val De Loire (2%)</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Bouvet-Ladub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Chateau Moncontou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Mousseux Bourgogne (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Patriarch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Mousseux Alsace (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Mu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Mousseux Bordelais (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Cru La Maqueli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Cele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700837702"/>
      </p:ext>
    </p:extLst>
  </p:cSld>
  <p:clrMapOvr>
    <a:masterClrMapping/>
  </p:clrMapOvr>
</p:sld>
</file>

<file path=ppt/slides/slide6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2/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42</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gment | Effervescents | NICOLAS QCN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Bruts (64%)</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5.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2.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7.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Heidsieck &amp; Co Monopo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Blanc De Blancs (9%)</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0.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Henrio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Besserat De Bellef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2.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osés (6%)</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3.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8.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Demoisel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0.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Crus (5%)</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Vessel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Louis Mart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Extra Brut (4%)</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Nicolas Feuilla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Moët &amp; Chand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8.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Canard Duchê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0.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Millesimes (3%)</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Dom Perign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2.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2.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3.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2.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632697379"/>
      </p:ext>
    </p:extLst>
  </p:cSld>
  <p:clrMapOvr>
    <a:masterClrMapping/>
  </p:clrMapOvr>
</p:sld>
</file>

<file path=ppt/slides/slide6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2/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43</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gment | Effervescents | NICOLAS QCN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Mousseux Italiens (3%)</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Botteg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Savia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Contari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Mousseux Val De Loire (2%)</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Chateau Moncontou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Bouvet-Ladub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Mousseux Bourgogne (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Patriarch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Mousseux Alsace (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Mu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Mousseux Bordelais (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Cru La Maqueli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Cele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074748708"/>
      </p:ext>
    </p:extLst>
  </p:cSld>
  <p:clrMapOvr>
    <a:masterClrMapping/>
  </p:clrMapOvr>
</p:sld>
</file>

<file path=ppt/slides/slide6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2/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44</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gment | Effervescents | NICOLAS VCN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Bruts (6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4.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Canard Duchê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Blanc De Blancs (13%)</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0.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Besserat De Bellef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1.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Henrio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osés (6%)</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2.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8.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Demoisel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Crus (4%)</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Vessel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Louis Mart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Millesimes (3%)</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Dom Perign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9.7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0.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9.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9.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Extra Brut (3%)</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Nicolas Feuilla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Moët &amp; Chand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7.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Canard Duchê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0.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619270857"/>
      </p:ext>
    </p:extLst>
  </p:cSld>
  <p:clrMapOvr>
    <a:masterClrMapping/>
  </p:clrMapOvr>
</p:sld>
</file>

<file path=ppt/slides/slide6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2/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45</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gment | Effervescents | NICOLAS VCN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Mousseux Italiens (2%)</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Botteg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Savia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Contari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Mousseux Val De Loire (2%)</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Bouvet-Ladub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Chateau Moncontou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Mousseux Bourgogne (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Patriarch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Mousseux Alsace (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Mu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Mousseux Bordelais (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Cru La Maqueli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Cele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733678773"/>
      </p:ext>
    </p:extLst>
  </p:cSld>
  <p:clrMapOvr>
    <a:masterClrMapping/>
  </p:clrMapOvr>
</p:sld>
</file>

<file path=ppt/slides/slide6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2/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46</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gment | Effervescents | NICOLAS QC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Bruts (6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5.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2.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8.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Taitt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Blanc De Blancs (12%)</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0.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5.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Henrio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2.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Delamo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0.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osés (6%)</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5.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0.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Nicolas Feuilla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0.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Millesimes (5%)</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Dom Perign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3.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6.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6.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Crus (4%)</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Vessel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Louis Mart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Extra Brut (4%)</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Nicolas Feuilla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Moët &amp; Chand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8.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Canard Duchê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929143245"/>
      </p:ext>
    </p:extLst>
  </p:cSld>
  <p:clrMapOvr>
    <a:masterClrMapping/>
  </p:clrMapOvr>
</p:sld>
</file>

<file path=ppt/slides/slide6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2/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47</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gment | Effervescents | NICOLAS QC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Mousseux Italiens (2%)</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Botteg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Savia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Contari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Mousseux Val De Loire (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Chateau Moncontou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Bouvet-Ladub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Mousseux Alsace (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Mu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Mousseux Bourgogne (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Patriarch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Mousseux Bordelais (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Cru La Maqueli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Cele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477700887"/>
      </p:ext>
    </p:extLst>
  </p:cSld>
  <p:clrMapOvr>
    <a:masterClrMapping/>
  </p:clrMapOvr>
</p:sld>
</file>

<file path=ppt/slides/slide6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2/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48</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gment | Effervescents | NICOLAS QCA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Bruts (58%)</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6.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2.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8.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Veuve Clicquo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0.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Blanc De Blancs (17%)</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8.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5.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Perrier Joue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Henrio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2.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osés (7%)</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7.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85.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0.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Millesimes (5%)</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Dom Perign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6.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7.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9.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Veuve Clicquo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6.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7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Extra Brut (4%)</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Nicolas Feuilla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Moët &amp; Chand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7.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Crus (3%)</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Vessel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Louis Mart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645938381"/>
      </p:ext>
    </p:extLst>
  </p:cSld>
  <p:clrMapOvr>
    <a:masterClrMapping/>
  </p:clrMapOvr>
</p:sld>
</file>

<file path=ppt/slides/slide6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2/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49</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gment | Effervescents | NICOLAS QCA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Mousseux Italiens (2%)</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Botteg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Savia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Contari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Mousseux Val De Loire (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Bouvet-Ladub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Chateau Moncontou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Mousseux Bourgogne (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Patriarch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Mousseux Alsace (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Mu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Mousseux Bordelais (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Cru La Maqueli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Cele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997202586"/>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08FC55-424A-ACCC-676F-44C3CCC9796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415BD49-9CDB-C892-E279-946572C3A129}"/>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BE947E9A-9EDC-50FE-5484-367359C894D7}"/>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6A5025B9-0C85-A050-B069-0AC43B6B8204}"/>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1004F20C-B07D-4614-4481-965EA185837B}"/>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A91D8E7D-FEEC-5BA1-EB74-93E5E7482F85}"/>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5</a:t>
            </a:fld>
            <a:endParaRPr lang="en-US" noProof="0"/>
          </a:p>
        </p:txBody>
      </p:sp>
      <p:sp>
        <p:nvSpPr>
          <p:cNvPr id="37" name="Text Placeholder 36">
            <a:extLst>
              <a:ext uri="{FF2B5EF4-FFF2-40B4-BE49-F238E27FC236}">
                <a16:creationId xmlns:a16="http://schemas.microsoft.com/office/drawing/2014/main" id="{FA0F6888-D5CC-383A-47AD-80C683524A7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2E389274-4FCB-6DE6-41BB-F4D26E075546}"/>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egment | NICOLAS PAC | P12M</a:t>
            </a:r>
          </a:p>
        </p:txBody>
      </p:sp>
      <p:sp>
        <p:nvSpPr>
          <p:cNvPr id="2" name="Title 1">
            <a:extLst>
              <a:ext uri="{FF2B5EF4-FFF2-40B4-BE49-F238E27FC236}">
                <a16:creationId xmlns:a16="http://schemas.microsoft.com/office/drawing/2014/main" id="{0B37106B-65BB-38CE-2DE5-FACF202E6E13}"/>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3AD1043F-CB15-E170-B712-2A89D1DA680D}"/>
              </a:ext>
            </a:extLst>
          </p:cNvPr>
          <p:cNvGraphicFramePr>
            <a:graphicFrameLocks noGrp="1"/>
          </p:cNvGraphicFramePr>
          <p:nvPr>
            <p:ph idx="4294967295"/>
            <p:extLst>
              <p:ext uri="{D42A27DB-BD31-4B8C-83A1-F6EECF244321}">
                <p14:modId xmlns:p14="http://schemas.microsoft.com/office/powerpoint/2010/main" val="3228513892"/>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C7CB25F2-15EE-61CD-96F8-9E24F3CFB425}"/>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C8ACCE2D-6642-ED27-3E63-215D317EDF54}"/>
              </a:ext>
            </a:extLst>
          </p:cNvPr>
          <p:cNvGraphicFramePr>
            <a:graphicFrameLocks/>
          </p:cNvGraphicFramePr>
          <p:nvPr>
            <p:extLst>
              <p:ext uri="{D42A27DB-BD31-4B8C-83A1-F6EECF244321}">
                <p14:modId xmlns:p14="http://schemas.microsoft.com/office/powerpoint/2010/main" val="263493511"/>
              </p:ext>
            </p:extLst>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8D2AC029-204E-C851-0DBB-376972B8F647}"/>
              </a:ext>
            </a:extLst>
          </p:cNvPr>
          <p:cNvGraphicFramePr>
            <a:graphicFrameLocks/>
          </p:cNvGraphicFramePr>
          <p:nvPr>
            <p:extLst>
              <p:ext uri="{D42A27DB-BD31-4B8C-83A1-F6EECF244321}">
                <p14:modId xmlns:p14="http://schemas.microsoft.com/office/powerpoint/2010/main" val="1678263338"/>
              </p:ext>
            </p:extLst>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C1">
            <a:extLst>
              <a:ext uri="{FF2B5EF4-FFF2-40B4-BE49-F238E27FC236}">
                <a16:creationId xmlns:a16="http://schemas.microsoft.com/office/drawing/2014/main" id="{F3DC8CB2-3F2B-2774-573E-DFF620E84D4C}"/>
              </a:ext>
            </a:extLst>
          </p:cNvPr>
          <p:cNvGraphicFramePr>
            <a:graphicFrameLocks/>
          </p:cNvGraphicFramePr>
          <p:nvPr>
            <p:extLst>
              <p:ext uri="{D42A27DB-BD31-4B8C-83A1-F6EECF244321}">
                <p14:modId xmlns:p14="http://schemas.microsoft.com/office/powerpoint/2010/main" val="951737736"/>
              </p:ext>
            </p:extLst>
          </p:nvPr>
        </p:nvGraphicFramePr>
        <p:xfrm>
          <a:off x="6566444" y="1354754"/>
          <a:ext cx="2268000" cy="3374309"/>
        </p:xfrm>
        <a:graphic>
          <a:graphicData uri="http://schemas.openxmlformats.org/drawingml/2006/chart">
            <c:chart xmlns:c="http://schemas.openxmlformats.org/drawingml/2006/chart" xmlns:r="http://schemas.openxmlformats.org/officeDocument/2006/relationships" r:id="rId8"/>
          </a:graphicData>
        </a:graphic>
      </p:graphicFrame>
      <p:sp>
        <p:nvSpPr>
          <p:cNvPr id="16" name="TextBox 15">
            <a:extLst>
              <a:ext uri="{FF2B5EF4-FFF2-40B4-BE49-F238E27FC236}">
                <a16:creationId xmlns:a16="http://schemas.microsoft.com/office/drawing/2014/main" id="{8C8CB6BD-A844-74EC-CFEC-C58CFCC7C5EC}"/>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B18FE6A9-85ED-634C-B0DB-D9A4E7A1AD69}"/>
              </a:ext>
            </a:extLst>
          </p:cNvPr>
          <p:cNvGraphicFramePr>
            <a:graphicFrameLocks noGrp="1"/>
          </p:cNvGraphicFramePr>
          <p:nvPr/>
        </p:nvGraphicFramePr>
        <p:xfrm>
          <a:off x="720534" y="1121410"/>
          <a:ext cx="8113912"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gridCol w="2028478">
                  <a:extLst>
                    <a:ext uri="{9D8B030D-6E8A-4147-A177-3AD203B41FA5}">
                      <a16:colId xmlns:a16="http://schemas.microsoft.com/office/drawing/2014/main" val="3571608413"/>
                    </a:ext>
                  </a:extLst>
                </a:gridCol>
              </a:tblGrid>
              <a:tr h="235994">
                <a:tc>
                  <a:txBody>
                    <a:bodyPr/>
                    <a:lstStyle/>
                    <a:p>
                      <a:pPr algn="ctr">
                        <a:defRPr sz="1100">
                          <a:latin typeface="Nexa Book"/>
                        </a:defRPr>
                      </a:pPr>
                      <a:r>
                        <a:rPr b="1">
                          <a:solidFill>
                            <a:srgbClr val="575555"/>
                          </a:solidFill>
                        </a:rPr>
                        <a:t>Millesimes</a:t>
                      </a:r>
                    </a:p>
                  </a:txBody>
                  <a:tcPr anchor="ctr">
                    <a:solidFill>
                      <a:schemeClr val="bg2"/>
                    </a:solidFill>
                  </a:tcPr>
                </a:tc>
                <a:tc>
                  <a:txBody>
                    <a:bodyPr/>
                    <a:lstStyle/>
                    <a:p>
                      <a:pPr algn="ctr">
                        <a:defRPr sz="1100">
                          <a:latin typeface="Nexa Book"/>
                        </a:defRPr>
                      </a:pPr>
                      <a:r>
                        <a:rPr b="1">
                          <a:solidFill>
                            <a:srgbClr val="575555"/>
                          </a:solidFill>
                        </a:rPr>
                        <a:t>Rosés</a:t>
                      </a:r>
                    </a:p>
                  </a:txBody>
                  <a:tcPr anchor="ctr">
                    <a:solidFill>
                      <a:schemeClr val="bg2"/>
                    </a:solidFill>
                  </a:tcPr>
                </a:tc>
                <a:tc>
                  <a:txBody>
                    <a:bodyPr/>
                    <a:lstStyle/>
                    <a:p>
                      <a:pPr algn="ctr">
                        <a:defRPr sz="1100">
                          <a:latin typeface="Nexa Book"/>
                        </a:defRPr>
                      </a:pPr>
                      <a:r>
                        <a:rPr b="1">
                          <a:solidFill>
                            <a:srgbClr val="575555"/>
                          </a:solidFill>
                        </a:rPr>
                        <a:t>Mousseux Bourgogne</a:t>
                      </a:r>
                    </a:p>
                  </a:txBody>
                  <a:tcPr anchor="ctr">
                    <a:solidFill>
                      <a:schemeClr val="bg2"/>
                    </a:solidFill>
                  </a:tcPr>
                </a:tc>
                <a:tc>
                  <a:txBody>
                    <a:bodyPr/>
                    <a:lstStyle/>
                    <a:p>
                      <a:pPr algn="ctr">
                        <a:defRPr sz="1100">
                          <a:latin typeface="Nexa Book"/>
                        </a:defRPr>
                      </a:pPr>
                      <a:r>
                        <a:rPr b="1">
                          <a:solidFill>
                            <a:srgbClr val="575555"/>
                          </a:solidFill>
                        </a:rPr>
                        <a:t>Mousseux Italiens</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3859068689"/>
      </p:ext>
    </p:extLst>
  </p:cSld>
  <p:clrMapOvr>
    <a:masterClrMapping/>
  </p:clrMapOvr>
</p:sld>
</file>

<file path=ppt/slides/slide6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2/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50</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gment | Effervescents | NICOLAS CCP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Bruts (57%)</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6.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2.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7.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Taitt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0.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Blanc De Blancs (17%)</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1.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6.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Besserat De Bellef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5.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Ayal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osés (7%)</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6.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3.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Demoisel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Millesimes (5%)</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Dom Perign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6.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3.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6.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1.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Extra Brut (3%)</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Nicolas Feuilla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Moët &amp; Chand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9.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Crus (3%)</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Vessel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Louis Mart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050911598"/>
      </p:ext>
    </p:extLst>
  </p:cSld>
  <p:clrMapOvr>
    <a:masterClrMapping/>
  </p:clrMapOvr>
</p:sld>
</file>

<file path=ppt/slides/slide6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2/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51</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gment | Effervescents | NICOLAS CCP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Mousseux Italiens (3%)</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Botteg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Savia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Contari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Vilavero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Mousseux Val De Loire (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Bouvet-Ladub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Chateau Moncontou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Mousseux Alsace (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Mu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Mousseux Bourgogne (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Patriarch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Mousseux Bordelais (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Cru La Maqueli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Cele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5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057832056"/>
      </p:ext>
    </p:extLst>
  </p:cSld>
  <p:clrMapOvr>
    <a:masterClrMapping/>
  </p:clrMapOvr>
</p:sld>
</file>

<file path=ppt/slides/slide6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2/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52</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gment | Effervescents | CA A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Bruts (59%)</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6.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2.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8.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Heidsieck &amp; Co Monopo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Blanc De Blancs (14%)</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1.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Besserat De Bellef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1.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Perrier Joue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osés (8%)</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5.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0.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Demoisel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Millesimes (5%)</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Dom Perign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8.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8.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3.7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3.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Crus (4%)</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Vessel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Louis Mart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Extra Brut (3%)</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Nicolas Feuilla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Moët &amp; Chand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7.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Canard Duchê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1.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919348044"/>
      </p:ext>
    </p:extLst>
  </p:cSld>
  <p:clrMapOvr>
    <a:masterClrMapping/>
  </p:clrMapOvr>
</p:sld>
</file>

<file path=ppt/slides/slide6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2/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53</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gment | Effervescents | CA A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Mousseux Italiens (3%)</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Botteg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Savia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Contari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Vilavero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Mousseux Val De Loire (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Chateau Moncontou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Bouvet-Ladub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Mousseux Bourgogne (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Patriarch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Mousseux Alsace (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Mu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Mousseux Bordelais (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Cru La Maqueli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7.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Cele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7.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258833567"/>
      </p:ext>
    </p:extLst>
  </p:cSld>
  <p:clrMapOvr>
    <a:masterClrMapping/>
  </p:clrMapOvr>
</p:sld>
</file>

<file path=ppt/slides/slide6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2/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54</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gment | Effervescents | CA B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Bruts (64%)</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7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Heidsieck &amp; Co Monopo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Blanc De Blancs (1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9.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Besserat De Bellef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2.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Henrio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2.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osés (6%)</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4.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0.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Demoisel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0.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Crus (4%)</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Vessel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Louis Mart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Extra Brut (3%)</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Nicolas Feuilla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Moët &amp; Chand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8.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Millesimes (3%)</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Dom Perign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1.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2.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9.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0.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636598354"/>
      </p:ext>
    </p:extLst>
  </p:cSld>
  <p:clrMapOvr>
    <a:masterClrMapping/>
  </p:clrMapOvr>
</p:sld>
</file>

<file path=ppt/slides/slide6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2/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55</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gment | Effervescents | CA B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Mousseux Italiens (2%)</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Botteg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Savia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Contari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Mousseux Val De Loire (2%)</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Bouvet-Ladub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Chateau Moncontou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Mousseux Alsace (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Mu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Mousseux Bourgogne (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Patriarch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Mousseux Bordelais (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Cru La Maqueli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Cele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921133569"/>
      </p:ext>
    </p:extLst>
  </p:cSld>
  <p:clrMapOvr>
    <a:masterClrMapping/>
  </p:clrMapOvr>
</p:sld>
</file>

<file path=ppt/slides/slide6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2/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56</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gment | Effervescents | CA C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Bruts (63%)</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5.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2.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7.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Heidsieck &amp; Co Monopo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Blanc De Blancs (1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9.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5.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Besserat De Bellef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2.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Henrio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osés (6%)</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3.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8.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Demoisel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Crus (4%)</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Vessel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Louis Mart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Extra Brut (3%)</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Nicolas Feuilla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Moët &amp; Chand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8.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Canard Duchê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1.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Millesimes (3%)</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Dom Perign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1.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3.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Piper Heidsiec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0.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409887841"/>
      </p:ext>
    </p:extLst>
  </p:cSld>
  <p:clrMapOvr>
    <a:masterClrMapping/>
  </p:clrMapOvr>
</p:sld>
</file>

<file path=ppt/slides/slide6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2/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57</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gment | Effervescents | CA C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Mousseux Italiens (3%)</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Botteg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Savia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Contari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Mousseux Val De Loire (2%)</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Bouvet-Ladub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Chateau Moncontou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Mousseux Bourgogne (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Patriarch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Mousseux Alsace (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Mu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Mousseux Bordelais (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Cru La Maqueli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Cele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563987589"/>
      </p:ext>
    </p:extLst>
  </p:cSld>
  <p:clrMapOvr>
    <a:masterClrMapping/>
  </p:clrMapOvr>
</p:sld>
</file>

<file path=ppt/slides/slide6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2/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58</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gment | Effervescents | CA D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Bruts (63%)</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5.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2.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7.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Heidsieck &amp; Co Monopo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Blanc De Blancs (1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9.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Besserat De Bellef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2.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Henrio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7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osés (6%)</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3.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8.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Demoisel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0.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Crus (5%)</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Vessel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Louis Mart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Extra Brut (4%)</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Nicolas Feuilla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Moët &amp; Chand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7.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Canard Duchê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0.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Millesimes (3%)</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Dom Perign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7.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3.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0.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6.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624362286"/>
      </p:ext>
    </p:extLst>
  </p:cSld>
  <p:clrMapOvr>
    <a:masterClrMapping/>
  </p:clrMapOvr>
</p:sld>
</file>

<file path=ppt/slides/slide6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2/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59</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gment | Effervescents | CA D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Mousseux Italiens (2%)</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Botteg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Savia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Contari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Mousseux Val De Loire (2%)</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Bouvet-Ladub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Chateau Moncontou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Mousseux Bourgogne (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Patriarch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Mousseux Alsace (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Mu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Mousseux Bordelais (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Cru La Maqueli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Cele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704812792"/>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65918C-CF2D-B9BE-373E-8055AB4F589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BE947E9A-9EDC-50FE-5484-367359C894D7}"/>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DC475BB2-0528-29FB-C158-9EF2E6156FB0}"/>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C87CB3FA-1793-85BB-0720-68CB9A322CAF}"/>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300044B2-FAA5-2879-ADFC-6874BBAF83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DA8BB0C0-E087-2E71-1F6D-E725250BE3D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6</a:t>
            </a:fld>
            <a:endParaRPr lang="en-US" noProof="0"/>
          </a:p>
        </p:txBody>
      </p:sp>
      <p:sp>
        <p:nvSpPr>
          <p:cNvPr id="37" name="Text Placeholder 36">
            <a:extLst>
              <a:ext uri="{FF2B5EF4-FFF2-40B4-BE49-F238E27FC236}">
                <a16:creationId xmlns:a16="http://schemas.microsoft.com/office/drawing/2014/main" id="{4918FA18-B639-A629-2E9B-674B54B4AACA}"/>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37405B8B-A5F3-F9D8-A571-2F38544BBDBA}"/>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egment | NICOLAS PAC | P12M</a:t>
            </a:r>
          </a:p>
        </p:txBody>
      </p:sp>
      <p:sp>
        <p:nvSpPr>
          <p:cNvPr id="2" name="Title 1">
            <a:extLst>
              <a:ext uri="{FF2B5EF4-FFF2-40B4-BE49-F238E27FC236}">
                <a16:creationId xmlns:a16="http://schemas.microsoft.com/office/drawing/2014/main" id="{12784FBB-01F7-DE64-BC02-E8B59B51E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8694A9E2-2E6E-DE42-FC36-3888D1308CB4}"/>
              </a:ext>
            </a:extLst>
          </p:cNvPr>
          <p:cNvGraphicFramePr>
            <a:graphicFrameLocks noGrp="1"/>
          </p:cNvGraphicFramePr>
          <p:nvPr>
            <p:ph idx="4294967295"/>
            <p:extLst>
              <p:ext uri="{D42A27DB-BD31-4B8C-83A1-F6EECF244321}">
                <p14:modId xmlns:p14="http://schemas.microsoft.com/office/powerpoint/2010/main" val="2833202409"/>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F456CAE2-40D9-C89C-01D4-02D92ECC325F}"/>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9C31F180-BE4C-077E-6172-FE9EFF5651B0}"/>
              </a:ext>
            </a:extLst>
          </p:cNvPr>
          <p:cNvGraphicFramePr>
            <a:graphicFrameLocks/>
          </p:cNvGraphicFramePr>
          <p:nvPr>
            <p:extLst>
              <p:ext uri="{D42A27DB-BD31-4B8C-83A1-F6EECF244321}">
                <p14:modId xmlns:p14="http://schemas.microsoft.com/office/powerpoint/2010/main" val="2736197913"/>
              </p:ext>
            </p:extLst>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01B1A8DD-FED6-2C47-296D-0983D1E720B2}"/>
              </a:ext>
            </a:extLst>
          </p:cNvPr>
          <p:cNvGraphicFramePr>
            <a:graphicFrameLocks/>
          </p:cNvGraphicFramePr>
          <p:nvPr>
            <p:extLst>
              <p:ext uri="{D42A27DB-BD31-4B8C-83A1-F6EECF244321}">
                <p14:modId xmlns:p14="http://schemas.microsoft.com/office/powerpoint/2010/main" val="2369763411"/>
              </p:ext>
            </p:extLst>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sp>
        <p:nvSpPr>
          <p:cNvPr id="16" name="TextBox 15">
            <a:extLst>
              <a:ext uri="{FF2B5EF4-FFF2-40B4-BE49-F238E27FC236}">
                <a16:creationId xmlns:a16="http://schemas.microsoft.com/office/drawing/2014/main" id="{2B180312-FE46-D4C9-3734-1E3750820943}"/>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4DB211A7-591C-E03E-65DC-47EB4C0D8D03}"/>
              </a:ext>
            </a:extLst>
          </p:cNvPr>
          <p:cNvGraphicFramePr>
            <a:graphicFrameLocks noGrp="1"/>
          </p:cNvGraphicFramePr>
          <p:nvPr>
            <p:extLst>
              <p:ext uri="{D42A27DB-BD31-4B8C-83A1-F6EECF244321}">
                <p14:modId xmlns:p14="http://schemas.microsoft.com/office/powerpoint/2010/main" val="2790109015"/>
              </p:ext>
            </p:extLst>
          </p:nvPr>
        </p:nvGraphicFramePr>
        <p:xfrm>
          <a:off x="720534" y="1121410"/>
          <a:ext cx="6085434"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tblGrid>
              <a:tr h="235994">
                <a:tc>
                  <a:txBody>
                    <a:bodyPr/>
                    <a:lstStyle/>
                    <a:p>
                      <a:pPr algn="ctr">
                        <a:defRPr sz="1100">
                          <a:latin typeface="Nexa Book"/>
                        </a:defRPr>
                      </a:pPr>
                      <a:r>
                        <a:rPr b="1">
                          <a:solidFill>
                            <a:srgbClr val="575555"/>
                          </a:solidFill>
                        </a:rPr>
                        <a:t>Mousseux Val De Loire</a:t>
                      </a:r>
                    </a:p>
                  </a:txBody>
                  <a:tcPr anchor="ctr">
                    <a:solidFill>
                      <a:schemeClr val="bg2"/>
                    </a:solidFill>
                  </a:tcPr>
                </a:tc>
                <a:tc>
                  <a:txBody>
                    <a:bodyPr/>
                    <a:lstStyle/>
                    <a:p>
                      <a:pPr algn="ctr">
                        <a:defRPr sz="1100">
                          <a:latin typeface="Nexa Book"/>
                        </a:defRPr>
                      </a:pPr>
                      <a:r>
                        <a:rPr b="1">
                          <a:solidFill>
                            <a:srgbClr val="575555"/>
                          </a:solidFill>
                        </a:rPr>
                        <a:t>Mousseux Alsace</a:t>
                      </a:r>
                    </a:p>
                  </a:txBody>
                  <a:tcPr anchor="ctr">
                    <a:solidFill>
                      <a:schemeClr val="bg2"/>
                    </a:solidFill>
                  </a:tcPr>
                </a:tc>
                <a:tc>
                  <a:txBody>
                    <a:bodyPr/>
                    <a:lstStyle/>
                    <a:p>
                      <a:pPr algn="ctr">
                        <a:defRPr sz="1100">
                          <a:latin typeface="Nexa Book"/>
                        </a:defRPr>
                      </a:pPr>
                      <a:r>
                        <a:rPr b="1">
                          <a:solidFill>
                            <a:srgbClr val="575555"/>
                          </a:solidFill>
                        </a:rPr>
                        <a:t>Mousseux Bordelais</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3412691863"/>
      </p:ext>
    </p:extLst>
  </p:cSld>
  <p:clrMapOvr>
    <a:masterClrMapping/>
  </p:clrMapOvr>
</p:sld>
</file>

<file path=ppt/slides/slide6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2/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60</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gment | Effervescents | CA E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Bruts (63%)</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4.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2.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7.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Heidsieck &amp; Co Monopo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Blanc De Blancs (1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9.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8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Besserat De Bellef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2.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De Blig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0.7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osés (6%)</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3.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8.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Demoisel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0.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Crus (5%)</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Vessel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Louis Mart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Extra Brut (3%)</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Nicolas Feuilla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Moët &amp; Chand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7.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Canard Duchê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Millesimes (3%)</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Dom Perign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7.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9.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0.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4.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1.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960632559"/>
      </p:ext>
    </p:extLst>
  </p:cSld>
  <p:clrMapOvr>
    <a:masterClrMapping/>
  </p:clrMapOvr>
</p:sld>
</file>

<file path=ppt/slides/slide6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2/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61</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gment | Effervescents | CA E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Mousseux Italiens (2%)</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Botteg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Savia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Contari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Mousseux Val De Loire (2%)</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Bouvet-Ladub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Chateau Moncontou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Mousseux Alsace (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Mu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Mousseux Bourgogne (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Patriarch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Mousseux Bordelais (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Cru La Maqueli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9.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Cele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014560028"/>
      </p:ext>
    </p:extLst>
  </p:cSld>
  <p:clrMapOvr>
    <a:masterClrMapping/>
  </p:clrMapOvr>
</p:sld>
</file>

<file path=ppt/slides/slide6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2/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62</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ector | Effervescents | NICOLAS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Champagnes (93%)</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3.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Malard 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Vranken 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5.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2.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Mousseux (6%)</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Cantine Vitev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Botteg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Krit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Mu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Chardonn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Effervescents Sans Alcool (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Lyre'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French Bloom</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5.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Veuve Du Vern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Nectaros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341673913"/>
      </p:ext>
    </p:extLst>
  </p:cSld>
  <p:clrMapOvr>
    <a:masterClrMapping/>
  </p:clrMapOvr>
</p:sld>
</file>

<file path=ppt/slides/slide6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2/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63</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ector | Effervescents | NICOLAS QCN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Champagnes (92%)</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Malard 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Vranken 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4.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0.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Mousseux (7%)</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Cantine Vitev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Botteg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Krit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Mu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Chardonn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Effervescents Sans Alcool (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Lyre'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Veuve Du Vern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French Bloom</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5.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Nectaros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685723182"/>
      </p:ext>
    </p:extLst>
  </p:cSld>
  <p:clrMapOvr>
    <a:masterClrMapping/>
  </p:clrMapOvr>
</p:sld>
</file>

<file path=ppt/slides/slide6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2/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64</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ector | Effervescents | NICOLAS VCN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Champagnes (93%)</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Malard 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Vranken 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Mousseux (6%)</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Cantine Vitev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Krit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Botteg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Mu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Bouvet-Ladub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Effervescents Sans Alcool (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Lyre'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Veuve Du Vern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French Bloom</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5.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Nectaros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483010982"/>
      </p:ext>
    </p:extLst>
  </p:cSld>
  <p:clrMapOvr>
    <a:masterClrMapping/>
  </p:clrMapOvr>
</p:sld>
</file>

<file path=ppt/slides/slide6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2/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65</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ector | Effervescents | NICOLAS QC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Champagnes (93%)</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6.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Malard 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6.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Vranken 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Mousseux (6%)</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Botteg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Cantine Vitev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Mu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Krit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Chardonn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Effervescents Sans Alcool (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Lyre'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French Bloom</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Veuve Du Vern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Nectaros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434763183"/>
      </p:ext>
    </p:extLst>
  </p:cSld>
  <p:clrMapOvr>
    <a:masterClrMapping/>
  </p:clrMapOvr>
</p:sld>
</file>

<file path=ppt/slides/slide6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2/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66</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ector | Effervescents | NICOLAS QCA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Champagnes (95%)</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8.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Malard 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4.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Mousseux (4%)</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Cantine Vitev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Botteg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Krit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Bouvet-Ladub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Chardonn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Effervescents Sans Alcool (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Lyre'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French Bloom</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5.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Veuve Du Vern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Nectaros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07921575"/>
      </p:ext>
    </p:extLst>
  </p:cSld>
  <p:clrMapOvr>
    <a:masterClrMapping/>
  </p:clrMapOvr>
</p:sld>
</file>

<file path=ppt/slides/slide6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2/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67</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ector | Effervescents | NICOLAS CCP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Champagnes (92%)</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3.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Malard 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Vranken 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Mousseux (7%)</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Cantine Vitev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Botteg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Mu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Krit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Bouvet-Ladub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Effervescents Sans Alcool (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Lyre'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7.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Veuve Du Vern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French Bloom</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4.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Nectaros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38683381"/>
      </p:ext>
    </p:extLst>
  </p:cSld>
  <p:clrMapOvr>
    <a:masterClrMapping/>
  </p:clrMapOvr>
</p:sld>
</file>

<file path=ppt/slides/slide6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2/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68</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ector | Effervescents | CA A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Champagnes (94%)</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8.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Malard 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Vranken 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5.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5.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Mousseux (5%)</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Botteg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Cantine Vitev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Krit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Chardonn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Mu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Effervescents Sans Alcool (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Lyre'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French Bloom</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5.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Veuve Du Vern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Nectaros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574598295"/>
      </p:ext>
    </p:extLst>
  </p:cSld>
  <p:clrMapOvr>
    <a:masterClrMapping/>
  </p:clrMapOvr>
</p:sld>
</file>

<file path=ppt/slides/slide6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2/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69</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ector | Effervescents | CA B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Champagnes (92%)</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0.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Malard 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Vranken 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5.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Mousseux (7%)</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Cantine Vitev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Botteg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Krit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Mu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Bouvet-Ladub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Effervescents Sans Alcool (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Lyre'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7.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French Bloom</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5.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Veuve Du Vern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Nectaros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4101341313"/>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08FC55-424A-ACCC-676F-44C3CCC9796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415BD49-9CDB-C892-E279-946572C3A129}"/>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BE947E9A-9EDC-50FE-5484-367359C894D7}"/>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6A5025B9-0C85-A050-B069-0AC43B6B8204}"/>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1004F20C-B07D-4614-4481-965EA185837B}"/>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A91D8E7D-FEEC-5BA1-EB74-93E5E7482F85}"/>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7</a:t>
            </a:fld>
            <a:endParaRPr lang="en-US" noProof="0"/>
          </a:p>
        </p:txBody>
      </p:sp>
      <p:sp>
        <p:nvSpPr>
          <p:cNvPr id="37" name="Text Placeholder 36">
            <a:extLst>
              <a:ext uri="{FF2B5EF4-FFF2-40B4-BE49-F238E27FC236}">
                <a16:creationId xmlns:a16="http://schemas.microsoft.com/office/drawing/2014/main" id="{FA0F6888-D5CC-383A-47AD-80C683524A7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2E389274-4FCB-6DE6-41BB-F4D26E075546}"/>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egment | NICOLAS RHO | P12M</a:t>
            </a:r>
          </a:p>
        </p:txBody>
      </p:sp>
      <p:sp>
        <p:nvSpPr>
          <p:cNvPr id="2" name="Title 1">
            <a:extLst>
              <a:ext uri="{FF2B5EF4-FFF2-40B4-BE49-F238E27FC236}">
                <a16:creationId xmlns:a16="http://schemas.microsoft.com/office/drawing/2014/main" id="{0B37106B-65BB-38CE-2DE5-FACF202E6E13}"/>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3AD1043F-CB15-E170-B712-2A89D1DA680D}"/>
              </a:ext>
            </a:extLst>
          </p:cNvPr>
          <p:cNvGraphicFramePr>
            <a:graphicFrameLocks noGrp="1"/>
          </p:cNvGraphicFramePr>
          <p:nvPr>
            <p:ph idx="4294967295"/>
            <p:extLst>
              <p:ext uri="{D42A27DB-BD31-4B8C-83A1-F6EECF244321}">
                <p14:modId xmlns:p14="http://schemas.microsoft.com/office/powerpoint/2010/main" val="133884854"/>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C7CB25F2-15EE-61CD-96F8-9E24F3CFB425}"/>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C8ACCE2D-6642-ED27-3E63-215D317EDF54}"/>
              </a:ext>
            </a:extLst>
          </p:cNvPr>
          <p:cNvGraphicFramePr>
            <a:graphicFrameLocks/>
          </p:cNvGraphicFramePr>
          <p:nvPr>
            <p:extLst>
              <p:ext uri="{D42A27DB-BD31-4B8C-83A1-F6EECF244321}">
                <p14:modId xmlns:p14="http://schemas.microsoft.com/office/powerpoint/2010/main" val="2986924536"/>
              </p:ext>
            </p:extLst>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8D2AC029-204E-C851-0DBB-376972B8F647}"/>
              </a:ext>
            </a:extLst>
          </p:cNvPr>
          <p:cNvGraphicFramePr>
            <a:graphicFrameLocks/>
          </p:cNvGraphicFramePr>
          <p:nvPr>
            <p:extLst>
              <p:ext uri="{D42A27DB-BD31-4B8C-83A1-F6EECF244321}">
                <p14:modId xmlns:p14="http://schemas.microsoft.com/office/powerpoint/2010/main" val="179014577"/>
              </p:ext>
            </p:extLst>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C1">
            <a:extLst>
              <a:ext uri="{FF2B5EF4-FFF2-40B4-BE49-F238E27FC236}">
                <a16:creationId xmlns:a16="http://schemas.microsoft.com/office/drawing/2014/main" id="{F3DC8CB2-3F2B-2774-573E-DFF620E84D4C}"/>
              </a:ext>
            </a:extLst>
          </p:cNvPr>
          <p:cNvGraphicFramePr>
            <a:graphicFrameLocks/>
          </p:cNvGraphicFramePr>
          <p:nvPr>
            <p:extLst>
              <p:ext uri="{D42A27DB-BD31-4B8C-83A1-F6EECF244321}">
                <p14:modId xmlns:p14="http://schemas.microsoft.com/office/powerpoint/2010/main" val="2789964414"/>
              </p:ext>
            </p:extLst>
          </p:nvPr>
        </p:nvGraphicFramePr>
        <p:xfrm>
          <a:off x="6566444" y="1354754"/>
          <a:ext cx="2268000" cy="3374309"/>
        </p:xfrm>
        <a:graphic>
          <a:graphicData uri="http://schemas.openxmlformats.org/drawingml/2006/chart">
            <c:chart xmlns:c="http://schemas.openxmlformats.org/drawingml/2006/chart" xmlns:r="http://schemas.openxmlformats.org/officeDocument/2006/relationships" r:id="rId8"/>
          </a:graphicData>
        </a:graphic>
      </p:graphicFrame>
      <p:sp>
        <p:nvSpPr>
          <p:cNvPr id="16" name="TextBox 15">
            <a:extLst>
              <a:ext uri="{FF2B5EF4-FFF2-40B4-BE49-F238E27FC236}">
                <a16:creationId xmlns:a16="http://schemas.microsoft.com/office/drawing/2014/main" id="{8C8CB6BD-A844-74EC-CFEC-C58CFCC7C5EC}"/>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B18FE6A9-85ED-634C-B0DB-D9A4E7A1AD69}"/>
              </a:ext>
            </a:extLst>
          </p:cNvPr>
          <p:cNvGraphicFramePr>
            <a:graphicFrameLocks noGrp="1"/>
          </p:cNvGraphicFramePr>
          <p:nvPr/>
        </p:nvGraphicFramePr>
        <p:xfrm>
          <a:off x="720534" y="1121410"/>
          <a:ext cx="8113912"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gridCol w="2028478">
                  <a:extLst>
                    <a:ext uri="{9D8B030D-6E8A-4147-A177-3AD203B41FA5}">
                      <a16:colId xmlns:a16="http://schemas.microsoft.com/office/drawing/2014/main" val="3571608413"/>
                    </a:ext>
                  </a:extLst>
                </a:gridCol>
              </a:tblGrid>
              <a:tr h="235994">
                <a:tc>
                  <a:txBody>
                    <a:bodyPr/>
                    <a:lstStyle/>
                    <a:p>
                      <a:pPr algn="ctr">
                        <a:defRPr sz="1100">
                          <a:latin typeface="Nexa Book"/>
                        </a:defRPr>
                      </a:pPr>
                      <a:r>
                        <a:rPr b="1">
                          <a:solidFill>
                            <a:srgbClr val="575555"/>
                          </a:solidFill>
                        </a:rPr>
                        <a:t>Blanc De Blancs</a:t>
                      </a:r>
                    </a:p>
                  </a:txBody>
                  <a:tcPr anchor="ctr">
                    <a:solidFill>
                      <a:schemeClr val="bg2"/>
                    </a:solidFill>
                  </a:tcPr>
                </a:tc>
                <a:tc>
                  <a:txBody>
                    <a:bodyPr/>
                    <a:lstStyle/>
                    <a:p>
                      <a:pPr algn="ctr">
                        <a:defRPr sz="1100">
                          <a:latin typeface="Nexa Book"/>
                        </a:defRPr>
                      </a:pPr>
                      <a:r>
                        <a:rPr b="1">
                          <a:solidFill>
                            <a:srgbClr val="575555"/>
                          </a:solidFill>
                        </a:rPr>
                        <a:t>Bruts</a:t>
                      </a:r>
                    </a:p>
                  </a:txBody>
                  <a:tcPr anchor="ctr">
                    <a:solidFill>
                      <a:schemeClr val="bg2"/>
                    </a:solidFill>
                  </a:tcPr>
                </a:tc>
                <a:tc>
                  <a:txBody>
                    <a:bodyPr/>
                    <a:lstStyle/>
                    <a:p>
                      <a:pPr algn="ctr">
                        <a:defRPr sz="1100">
                          <a:latin typeface="Nexa Book"/>
                        </a:defRPr>
                      </a:pPr>
                      <a:r>
                        <a:rPr b="1">
                          <a:solidFill>
                            <a:srgbClr val="575555"/>
                          </a:solidFill>
                        </a:rPr>
                        <a:t>Crus</a:t>
                      </a:r>
                    </a:p>
                  </a:txBody>
                  <a:tcPr anchor="ctr">
                    <a:solidFill>
                      <a:schemeClr val="bg2"/>
                    </a:solidFill>
                  </a:tcPr>
                </a:tc>
                <a:tc>
                  <a:txBody>
                    <a:bodyPr/>
                    <a:lstStyle/>
                    <a:p>
                      <a:pPr algn="ctr">
                        <a:defRPr sz="1100">
                          <a:latin typeface="Nexa Book"/>
                        </a:defRPr>
                      </a:pPr>
                      <a:r>
                        <a:rPr b="1">
                          <a:solidFill>
                            <a:srgbClr val="575555"/>
                          </a:solidFill>
                        </a:rPr>
                        <a:t>Extra Brut</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817818228"/>
      </p:ext>
    </p:extLst>
  </p:cSld>
  <p:clrMapOvr>
    <a:masterClrMapping/>
  </p:clrMapOvr>
</p:sld>
</file>

<file path=ppt/slides/slide6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2/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70</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ector | Effervescents | CA C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Champagnes (92%)</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1.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Malard 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Vranken 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5.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0.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Mousseux (6%)</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Cantine Vitev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Botteg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Krit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Chardonn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Mu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Effervescents Sans Alcool (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Lyre'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French Bloom</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5.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Veuve Du Vern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Nectaros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763422081"/>
      </p:ext>
    </p:extLst>
  </p:cSld>
  <p:clrMapOvr>
    <a:masterClrMapping/>
  </p:clrMapOvr>
</p:sld>
</file>

<file path=ppt/slides/slide6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2/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71</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ector | Effervescents | CA D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Champagnes (92%)</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0.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Malard 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Vranken 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5.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Mousseux (7%)</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Cantine Vitev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Botteg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Krit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Mu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Chardonn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Effervescents Sans Alcool (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Lyre'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Veuve Du Vern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French Bloom</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Nectaros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252500968"/>
      </p:ext>
    </p:extLst>
  </p:cSld>
  <p:clrMapOvr>
    <a:masterClrMapping/>
  </p:clrMapOvr>
</p:sld>
</file>

<file path=ppt/slides/slide6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2/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72</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ector | Effervescents | CA E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Champagnes (92%)</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9.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Malard 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Vranken 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5.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Mousseux (8%)</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Cantine Vitev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Krit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Mu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Botteg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Bouvet-Ladub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Effervescents Sans Alcool (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Lyre'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Veuve Du Vern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French Bloom</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Nectaros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573468395"/>
      </p:ext>
    </p:extLst>
  </p:cSld>
  <p:clrMapOvr>
    <a:masterClrMapping/>
  </p:clrMapOvr>
</p:sld>
</file>

<file path=ppt/slides/slide6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2/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73</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egment | Effervescents | NICOLAS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747457"/>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Bruts (62%)</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4.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5.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Malard 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Vranken 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8.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71478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Blanc De Blancs (12%)</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0.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Malard 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Lanson-Bc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5.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Henrio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9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78012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osés (6%)</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4.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Vranken 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Malard 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68211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Crus (4%)</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Vessel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Louis Mart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Malard 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71478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Millesimes (4%)</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5.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3.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5.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1.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68211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Extra Brut (3%)</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Cfgv</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8.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C&amp;C Sas Franc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746187109"/>
      </p:ext>
    </p:extLst>
  </p:cSld>
  <p:clrMapOvr>
    <a:masterClrMapping/>
  </p:clrMapOvr>
</p:sld>
</file>

<file path=ppt/slides/slide6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2/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74</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egment | Effervescents | NICOLAS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Mousseux Italiens (2%)</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Cantine Vitev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Botteg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Chardonn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Contari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Mousseux Val De Loire (2%)</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Bouvet-Ladub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Chateau Moncontou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Mousseux Bourgogne (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Krit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Patriarch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Mousseux Alsace (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Mu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Mousseux Bordelais (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Cru La Maqueli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Cele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197685686"/>
      </p:ext>
    </p:extLst>
  </p:cSld>
  <p:clrMapOvr>
    <a:masterClrMapping/>
  </p:clrMapOvr>
</p:sld>
</file>

<file path=ppt/slides/slide6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2/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75</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egment | Effervescents | NICOLAS QCN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Bruts (64%)</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3.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5.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Malard 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Vranken 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8.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Blanc De Blancs (9%)</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0.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Malard 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Lanson-Bc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5.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Henrio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osés (6%)</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1.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Vranken 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Malard 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Crus (5%)</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Vessel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Louis Mart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Malard 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Extra Brut (4%)</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Cfgv</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8.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C&amp;C Sas Franc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0.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Millesimes (3%)</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6.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2.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2.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0.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279224533"/>
      </p:ext>
    </p:extLst>
  </p:cSld>
  <p:clrMapOvr>
    <a:masterClrMapping/>
  </p:clrMapOvr>
</p:sld>
</file>

<file path=ppt/slides/slide6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2/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76</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egment | Effervescents | NICOLAS QCN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Mousseux Italiens (3%)</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Cantine Vitev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Botteg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Chardonn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Contari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Mousseux Val De Loire (2%)</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Chateau Moncontou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Bouvet-Ladub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Mousseux Bourgogne (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Krit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Patriarch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Mousseux Alsace (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Mu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Mousseux Bordelais (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Cru La Maqueli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Cele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26510415"/>
      </p:ext>
    </p:extLst>
  </p:cSld>
  <p:clrMapOvr>
    <a:masterClrMapping/>
  </p:clrMapOvr>
</p:sld>
</file>

<file path=ppt/slides/slide6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2/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77</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egment | Effervescents | NICOLAS VCN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Bruts (6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3.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Malard 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5.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Vranken 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4.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7.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Blanc De Blancs (13%)</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0.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Malard 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Lanson-Bc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4.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Henrio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osés (6%)</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4.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Vranken 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Malard 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Crus (4%)</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Vessel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Louis Mart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Malard 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Millesimes (3%)</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6.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9.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9.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Extra Brut (3%)</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Cfgv</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7.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C&amp;C Sas Franc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0.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734574350"/>
      </p:ext>
    </p:extLst>
  </p:cSld>
  <p:clrMapOvr>
    <a:masterClrMapping/>
  </p:clrMapOvr>
</p:sld>
</file>

<file path=ppt/slides/slide6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2/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78</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egment | Effervescents | NICOLAS VCN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Mousseux Italiens (2%)</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Cantine Vitev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9.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Botteg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Chardonn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Contari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Mousseux Val De Loire (2%)</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Bouvet-Ladub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Chateau Moncontou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Mousseux Bourgogne (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Krit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Patriarch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Mousseux Alsace (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Mu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Mousseux Bordelais (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Cru La Maqueli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Cele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432020884"/>
      </p:ext>
    </p:extLst>
  </p:cSld>
  <p:clrMapOvr>
    <a:masterClrMapping/>
  </p:clrMapOvr>
</p:sld>
</file>

<file path=ppt/slides/slide6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2/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79</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egment | Effervescents | NICOLAS QC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Bruts (6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4.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6.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Malard 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8.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Blanc De Blancs (12%)</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0.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Lanson-Bc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Malard 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Henrio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2.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osés (6%)</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1.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1.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Vranken 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5.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Malard 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Millesimes (5%)</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6.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1.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6.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Pernod Ric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1.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Crus (4%)</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Vessel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Louis Mart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Malard 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Extra Brut (4%)</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Cfgv</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8.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C&amp;C Sas Franc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255325283"/>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08FC55-424A-ACCC-676F-44C3CCC9796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415BD49-9CDB-C892-E279-946572C3A129}"/>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BE947E9A-9EDC-50FE-5484-367359C894D7}"/>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6A5025B9-0C85-A050-B069-0AC43B6B8204}"/>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1004F20C-B07D-4614-4481-965EA185837B}"/>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A91D8E7D-FEEC-5BA1-EB74-93E5E7482F85}"/>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8</a:t>
            </a:fld>
            <a:endParaRPr lang="en-US" noProof="0"/>
          </a:p>
        </p:txBody>
      </p:sp>
      <p:sp>
        <p:nvSpPr>
          <p:cNvPr id="37" name="Text Placeholder 36">
            <a:extLst>
              <a:ext uri="{FF2B5EF4-FFF2-40B4-BE49-F238E27FC236}">
                <a16:creationId xmlns:a16="http://schemas.microsoft.com/office/drawing/2014/main" id="{FA0F6888-D5CC-383A-47AD-80C683524A7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2E389274-4FCB-6DE6-41BB-F4D26E075546}"/>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egment | NICOLAS RHO | P12M</a:t>
            </a:r>
          </a:p>
        </p:txBody>
      </p:sp>
      <p:sp>
        <p:nvSpPr>
          <p:cNvPr id="2" name="Title 1">
            <a:extLst>
              <a:ext uri="{FF2B5EF4-FFF2-40B4-BE49-F238E27FC236}">
                <a16:creationId xmlns:a16="http://schemas.microsoft.com/office/drawing/2014/main" id="{0B37106B-65BB-38CE-2DE5-FACF202E6E13}"/>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3AD1043F-CB15-E170-B712-2A89D1DA680D}"/>
              </a:ext>
            </a:extLst>
          </p:cNvPr>
          <p:cNvGraphicFramePr>
            <a:graphicFrameLocks noGrp="1"/>
          </p:cNvGraphicFramePr>
          <p:nvPr>
            <p:ph idx="4294967295"/>
            <p:extLst>
              <p:ext uri="{D42A27DB-BD31-4B8C-83A1-F6EECF244321}">
                <p14:modId xmlns:p14="http://schemas.microsoft.com/office/powerpoint/2010/main" val="2767192332"/>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C7CB25F2-15EE-61CD-96F8-9E24F3CFB425}"/>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C8ACCE2D-6642-ED27-3E63-215D317EDF54}"/>
              </a:ext>
            </a:extLst>
          </p:cNvPr>
          <p:cNvGraphicFramePr>
            <a:graphicFrameLocks/>
          </p:cNvGraphicFramePr>
          <p:nvPr>
            <p:extLst>
              <p:ext uri="{D42A27DB-BD31-4B8C-83A1-F6EECF244321}">
                <p14:modId xmlns:p14="http://schemas.microsoft.com/office/powerpoint/2010/main" val="546718959"/>
              </p:ext>
            </p:extLst>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8D2AC029-204E-C851-0DBB-376972B8F647}"/>
              </a:ext>
            </a:extLst>
          </p:cNvPr>
          <p:cNvGraphicFramePr>
            <a:graphicFrameLocks/>
          </p:cNvGraphicFramePr>
          <p:nvPr>
            <p:extLst>
              <p:ext uri="{D42A27DB-BD31-4B8C-83A1-F6EECF244321}">
                <p14:modId xmlns:p14="http://schemas.microsoft.com/office/powerpoint/2010/main" val="561955244"/>
              </p:ext>
            </p:extLst>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C1">
            <a:extLst>
              <a:ext uri="{FF2B5EF4-FFF2-40B4-BE49-F238E27FC236}">
                <a16:creationId xmlns:a16="http://schemas.microsoft.com/office/drawing/2014/main" id="{F3DC8CB2-3F2B-2774-573E-DFF620E84D4C}"/>
              </a:ext>
            </a:extLst>
          </p:cNvPr>
          <p:cNvGraphicFramePr>
            <a:graphicFrameLocks/>
          </p:cNvGraphicFramePr>
          <p:nvPr>
            <p:extLst>
              <p:ext uri="{D42A27DB-BD31-4B8C-83A1-F6EECF244321}">
                <p14:modId xmlns:p14="http://schemas.microsoft.com/office/powerpoint/2010/main" val="4064068227"/>
              </p:ext>
            </p:extLst>
          </p:nvPr>
        </p:nvGraphicFramePr>
        <p:xfrm>
          <a:off x="6566444" y="1354754"/>
          <a:ext cx="2268000" cy="3374309"/>
        </p:xfrm>
        <a:graphic>
          <a:graphicData uri="http://schemas.openxmlformats.org/drawingml/2006/chart">
            <c:chart xmlns:c="http://schemas.openxmlformats.org/drawingml/2006/chart" xmlns:r="http://schemas.openxmlformats.org/officeDocument/2006/relationships" r:id="rId8"/>
          </a:graphicData>
        </a:graphic>
      </p:graphicFrame>
      <p:sp>
        <p:nvSpPr>
          <p:cNvPr id="16" name="TextBox 15">
            <a:extLst>
              <a:ext uri="{FF2B5EF4-FFF2-40B4-BE49-F238E27FC236}">
                <a16:creationId xmlns:a16="http://schemas.microsoft.com/office/drawing/2014/main" id="{8C8CB6BD-A844-74EC-CFEC-C58CFCC7C5EC}"/>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B18FE6A9-85ED-634C-B0DB-D9A4E7A1AD69}"/>
              </a:ext>
            </a:extLst>
          </p:cNvPr>
          <p:cNvGraphicFramePr>
            <a:graphicFrameLocks noGrp="1"/>
          </p:cNvGraphicFramePr>
          <p:nvPr/>
        </p:nvGraphicFramePr>
        <p:xfrm>
          <a:off x="720534" y="1121410"/>
          <a:ext cx="8113912"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gridCol w="2028478">
                  <a:extLst>
                    <a:ext uri="{9D8B030D-6E8A-4147-A177-3AD203B41FA5}">
                      <a16:colId xmlns:a16="http://schemas.microsoft.com/office/drawing/2014/main" val="3571608413"/>
                    </a:ext>
                  </a:extLst>
                </a:gridCol>
              </a:tblGrid>
              <a:tr h="235994">
                <a:tc>
                  <a:txBody>
                    <a:bodyPr/>
                    <a:lstStyle/>
                    <a:p>
                      <a:pPr algn="ctr">
                        <a:defRPr sz="1100">
                          <a:latin typeface="Nexa Book"/>
                        </a:defRPr>
                      </a:pPr>
                      <a:r>
                        <a:rPr b="1">
                          <a:solidFill>
                            <a:srgbClr val="575555"/>
                          </a:solidFill>
                        </a:rPr>
                        <a:t>Millesimes</a:t>
                      </a:r>
                    </a:p>
                  </a:txBody>
                  <a:tcPr anchor="ctr">
                    <a:solidFill>
                      <a:schemeClr val="bg2"/>
                    </a:solidFill>
                  </a:tcPr>
                </a:tc>
                <a:tc>
                  <a:txBody>
                    <a:bodyPr/>
                    <a:lstStyle/>
                    <a:p>
                      <a:pPr algn="ctr">
                        <a:defRPr sz="1100">
                          <a:latin typeface="Nexa Book"/>
                        </a:defRPr>
                      </a:pPr>
                      <a:r>
                        <a:rPr b="1">
                          <a:solidFill>
                            <a:srgbClr val="575555"/>
                          </a:solidFill>
                        </a:rPr>
                        <a:t>Rosés</a:t>
                      </a:r>
                    </a:p>
                  </a:txBody>
                  <a:tcPr anchor="ctr">
                    <a:solidFill>
                      <a:schemeClr val="bg2"/>
                    </a:solidFill>
                  </a:tcPr>
                </a:tc>
                <a:tc>
                  <a:txBody>
                    <a:bodyPr/>
                    <a:lstStyle/>
                    <a:p>
                      <a:pPr algn="ctr">
                        <a:defRPr sz="1100">
                          <a:latin typeface="Nexa Book"/>
                        </a:defRPr>
                      </a:pPr>
                      <a:r>
                        <a:rPr b="1">
                          <a:solidFill>
                            <a:srgbClr val="575555"/>
                          </a:solidFill>
                        </a:rPr>
                        <a:t>Mousseux Bourgogne</a:t>
                      </a:r>
                    </a:p>
                  </a:txBody>
                  <a:tcPr anchor="ctr">
                    <a:solidFill>
                      <a:schemeClr val="bg2"/>
                    </a:solidFill>
                  </a:tcPr>
                </a:tc>
                <a:tc>
                  <a:txBody>
                    <a:bodyPr/>
                    <a:lstStyle/>
                    <a:p>
                      <a:pPr algn="ctr">
                        <a:defRPr sz="1100">
                          <a:latin typeface="Nexa Book"/>
                        </a:defRPr>
                      </a:pPr>
                      <a:r>
                        <a:rPr b="1">
                          <a:solidFill>
                            <a:srgbClr val="575555"/>
                          </a:solidFill>
                        </a:rPr>
                        <a:t>Mousseux Italiens</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4012087306"/>
      </p:ext>
    </p:extLst>
  </p:cSld>
  <p:clrMapOvr>
    <a:masterClrMapping/>
  </p:clrMapOvr>
</p:sld>
</file>

<file path=ppt/slides/slide6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2/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80</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egment | Effervescents | NICOLAS QC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Mousseux Italiens (2%)</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Botteg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Cantine Vitev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Chardonn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Contari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Mousseux Val De Loire (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Chateau Moncontou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Bouvet-Ladub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Mousseux Alsace (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Mu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Mousseux Bourgogne (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Krit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Patriarch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Mousseux Bordelais (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Cru La Maqueli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Cele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740181487"/>
      </p:ext>
    </p:extLst>
  </p:cSld>
  <p:clrMapOvr>
    <a:masterClrMapping/>
  </p:clrMapOvr>
</p:sld>
</file>

<file path=ppt/slides/slide6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2/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81</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egment | Effervescents | NICOLAS QCA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Bruts (58%)</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4.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5.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8.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Malard 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0.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Blanc De Blancs (17%)</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8.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Lanson-Bc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Malard 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Pernod Ric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osés (7%)</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8.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4.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Vranken 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Malard 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Millesimes (5%)</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9.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6.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7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6.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2.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Extra Brut (4%)</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Cfgv</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7.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Crus (3%)</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Vessel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Louis Mart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Malard 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660747263"/>
      </p:ext>
    </p:extLst>
  </p:cSld>
  <p:clrMapOvr>
    <a:masterClrMapping/>
  </p:clrMapOvr>
</p:sld>
</file>

<file path=ppt/slides/slide6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2/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82</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egment | Effervescents | NICOLAS QCA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Mousseux Italiens (2%)</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Cantine Vitev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Botteg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Chardonn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Contari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Mousseux Val De Loire (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Bouvet-Ladub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Chateau Moncontou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Mousseux Bourgogne (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Krit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Patriarch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Mousseux Alsace (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Mu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Mousseux Bordelais (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Cru La Maqueli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Cele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140711044"/>
      </p:ext>
    </p:extLst>
  </p:cSld>
  <p:clrMapOvr>
    <a:masterClrMapping/>
  </p:clrMapOvr>
</p:sld>
</file>

<file path=ppt/slides/slide6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2/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83</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egment | Effervescents | NICOLAS CCP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Bruts (57%)</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5.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6.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Malard 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Vranken 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5.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Blanc De Blancs (17%)</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1.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Lanson-Bc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7.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Malard 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osés (7%)</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9.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3.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Vranken 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Malard 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Millesimes (5%)</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3.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3.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1.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9.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Extra Brut (3%)</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Cfgv</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9.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Crus (3%)</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Vessel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Louis Mart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Malard 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157376365"/>
      </p:ext>
    </p:extLst>
  </p:cSld>
  <p:clrMapOvr>
    <a:masterClrMapping/>
  </p:clrMapOvr>
</p:sld>
</file>

<file path=ppt/slides/slide6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2/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84</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egment | Effervescents | NICOLAS CCP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Mousseux Italiens (3%)</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Cantine Vitev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Botteg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Chardonn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Contari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Cast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Mousseux Val De Loire (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Bouvet-Ladub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Chateau Moncontou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Mousseux Alsace (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Mu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Mousseux Bourgogne (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Krit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Patriarch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Mousseux Bordelais (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Cru La Maqueli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Cele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5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25722986"/>
      </p:ext>
    </p:extLst>
  </p:cSld>
  <p:clrMapOvr>
    <a:masterClrMapping/>
  </p:clrMapOvr>
</p:sld>
</file>

<file path=ppt/slides/slide6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2/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85</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egment | Effervescents | CA A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Bruts (59%)</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4.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6.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Malard 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Vranken 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4.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0.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Blanc De Blancs (14%)</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1.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Malard 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Lanson-Bc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5.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Pernod Ric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osés (8%)</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5.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Vranken 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Malard 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Millesimes (5%)</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9.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8.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3.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2.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Crus (4%)</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Vessel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Louis Mart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Malard 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Extra Brut (3%)</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Cfgv</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7.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C&amp;C Sas Franc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1.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139690605"/>
      </p:ext>
    </p:extLst>
  </p:cSld>
  <p:clrMapOvr>
    <a:masterClrMapping/>
  </p:clrMapOvr>
</p:sld>
</file>

<file path=ppt/slides/slide6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2/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86</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egment | Effervescents | CA A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Mousseux Italiens (3%)</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Botteg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Cantine Vitev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Chardonn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Contari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Cast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Mousseux Val De Loire (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Chateau Moncontou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Bouvet-Ladub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Mousseux Bourgogne (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Krit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Patriarch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Mousseux Alsace (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Mu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Mousseux Bordelais (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Cru La Maqueli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7.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Cele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7.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539379809"/>
      </p:ext>
    </p:extLst>
  </p:cSld>
  <p:clrMapOvr>
    <a:masterClrMapping/>
  </p:clrMapOvr>
</p:sld>
</file>

<file path=ppt/slides/slide6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2/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87</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egment | Effervescents | CA B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Bruts (64%)</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4.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5.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Malard 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Vranken 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4.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8.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Blanc De Blancs (1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9.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Malard 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Lanson-Bc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4.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Henrio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2.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osés (6%)</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4.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1.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Vranken 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Malard 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Crus (4%)</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Vessel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Louis Mart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Malard 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Extra Brut (3%)</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Cfgv</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8.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Millesimes (3%)</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9.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0.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1.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489036559"/>
      </p:ext>
    </p:extLst>
  </p:cSld>
  <p:clrMapOvr>
    <a:masterClrMapping/>
  </p:clrMapOvr>
</p:sld>
</file>

<file path=ppt/slides/slide6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2/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88</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egment | Effervescents | CA B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Mousseux Italiens (2%)</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Cantine Vitev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Botteg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Chardonn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Contari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Mousseux Val De Loire (2%)</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Bouvet-Ladub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Chateau Moncontou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Mousseux Alsace (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Mu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Mousseux Bourgogne (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Krit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Patriarch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Mousseux Bordelais (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Cru La Maqueli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Cele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870461135"/>
      </p:ext>
    </p:extLst>
  </p:cSld>
  <p:clrMapOvr>
    <a:masterClrMapping/>
  </p:clrMapOvr>
</p:sld>
</file>

<file path=ppt/slides/slide6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2/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89</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egment | Effervescents | CA C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Bruts (63%)</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4.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5.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Malard 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Vranken 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8.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Blanc De Blancs (1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9.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Malard 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Lanson-Bc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5.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Henrio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osés (6%)</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7.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Vranken 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8.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Malard 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Crus (4%)</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Vessel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Louis Mart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Malard 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Extra Brut (3%)</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Cfgv</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8.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C&amp;C Sas Franc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1.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Millesimes (3%)</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8.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1.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Ep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0.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9.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551647379"/>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65918C-CF2D-B9BE-373E-8055AB4F589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BE947E9A-9EDC-50FE-5484-367359C894D7}"/>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DC475BB2-0528-29FB-C158-9EF2E6156FB0}"/>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C87CB3FA-1793-85BB-0720-68CB9A322CAF}"/>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300044B2-FAA5-2879-ADFC-6874BBAF83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DA8BB0C0-E087-2E71-1F6D-E725250BE3D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9</a:t>
            </a:fld>
            <a:endParaRPr lang="en-US" noProof="0"/>
          </a:p>
        </p:txBody>
      </p:sp>
      <p:sp>
        <p:nvSpPr>
          <p:cNvPr id="37" name="Text Placeholder 36">
            <a:extLst>
              <a:ext uri="{FF2B5EF4-FFF2-40B4-BE49-F238E27FC236}">
                <a16:creationId xmlns:a16="http://schemas.microsoft.com/office/drawing/2014/main" id="{4918FA18-B639-A629-2E9B-674B54B4AACA}"/>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37405B8B-A5F3-F9D8-A571-2F38544BBDBA}"/>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egment | NICOLAS RHO | P12M</a:t>
            </a:r>
          </a:p>
        </p:txBody>
      </p:sp>
      <p:sp>
        <p:nvSpPr>
          <p:cNvPr id="2" name="Title 1">
            <a:extLst>
              <a:ext uri="{FF2B5EF4-FFF2-40B4-BE49-F238E27FC236}">
                <a16:creationId xmlns:a16="http://schemas.microsoft.com/office/drawing/2014/main" id="{12784FBB-01F7-DE64-BC02-E8B59B51E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8694A9E2-2E6E-DE42-FC36-3888D1308CB4}"/>
              </a:ext>
            </a:extLst>
          </p:cNvPr>
          <p:cNvGraphicFramePr>
            <a:graphicFrameLocks noGrp="1"/>
          </p:cNvGraphicFramePr>
          <p:nvPr>
            <p:ph idx="4294967295"/>
            <p:extLst>
              <p:ext uri="{D42A27DB-BD31-4B8C-83A1-F6EECF244321}">
                <p14:modId xmlns:p14="http://schemas.microsoft.com/office/powerpoint/2010/main" val="3027134861"/>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F456CAE2-40D9-C89C-01D4-02D92ECC325F}"/>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9C31F180-BE4C-077E-6172-FE9EFF5651B0}"/>
              </a:ext>
            </a:extLst>
          </p:cNvPr>
          <p:cNvGraphicFramePr>
            <a:graphicFrameLocks/>
          </p:cNvGraphicFramePr>
          <p:nvPr>
            <p:extLst>
              <p:ext uri="{D42A27DB-BD31-4B8C-83A1-F6EECF244321}">
                <p14:modId xmlns:p14="http://schemas.microsoft.com/office/powerpoint/2010/main" val="727306172"/>
              </p:ext>
            </p:extLst>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01B1A8DD-FED6-2C47-296D-0983D1E720B2}"/>
              </a:ext>
            </a:extLst>
          </p:cNvPr>
          <p:cNvGraphicFramePr>
            <a:graphicFrameLocks/>
          </p:cNvGraphicFramePr>
          <p:nvPr>
            <p:extLst>
              <p:ext uri="{D42A27DB-BD31-4B8C-83A1-F6EECF244321}">
                <p14:modId xmlns:p14="http://schemas.microsoft.com/office/powerpoint/2010/main" val="2763547076"/>
              </p:ext>
            </p:extLst>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sp>
        <p:nvSpPr>
          <p:cNvPr id="16" name="TextBox 15">
            <a:extLst>
              <a:ext uri="{FF2B5EF4-FFF2-40B4-BE49-F238E27FC236}">
                <a16:creationId xmlns:a16="http://schemas.microsoft.com/office/drawing/2014/main" id="{2B180312-FE46-D4C9-3734-1E3750820943}"/>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4DB211A7-591C-E03E-65DC-47EB4C0D8D03}"/>
              </a:ext>
            </a:extLst>
          </p:cNvPr>
          <p:cNvGraphicFramePr>
            <a:graphicFrameLocks noGrp="1"/>
          </p:cNvGraphicFramePr>
          <p:nvPr>
            <p:extLst>
              <p:ext uri="{D42A27DB-BD31-4B8C-83A1-F6EECF244321}">
                <p14:modId xmlns:p14="http://schemas.microsoft.com/office/powerpoint/2010/main" val="2790109015"/>
              </p:ext>
            </p:extLst>
          </p:nvPr>
        </p:nvGraphicFramePr>
        <p:xfrm>
          <a:off x="720534" y="1121410"/>
          <a:ext cx="6085434"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tblGrid>
              <a:tr h="235994">
                <a:tc>
                  <a:txBody>
                    <a:bodyPr/>
                    <a:lstStyle/>
                    <a:p>
                      <a:pPr algn="ctr">
                        <a:defRPr sz="1100">
                          <a:latin typeface="Nexa Book"/>
                        </a:defRPr>
                      </a:pPr>
                      <a:r>
                        <a:rPr b="1">
                          <a:solidFill>
                            <a:srgbClr val="575555"/>
                          </a:solidFill>
                        </a:rPr>
                        <a:t>Mousseux Val De Loire</a:t>
                      </a:r>
                    </a:p>
                  </a:txBody>
                  <a:tcPr anchor="ctr">
                    <a:solidFill>
                      <a:schemeClr val="bg2"/>
                    </a:solidFill>
                  </a:tcPr>
                </a:tc>
                <a:tc>
                  <a:txBody>
                    <a:bodyPr/>
                    <a:lstStyle/>
                    <a:p>
                      <a:pPr algn="ctr">
                        <a:defRPr sz="1100">
                          <a:latin typeface="Nexa Book"/>
                        </a:defRPr>
                      </a:pPr>
                      <a:r>
                        <a:rPr b="1">
                          <a:solidFill>
                            <a:srgbClr val="575555"/>
                          </a:solidFill>
                        </a:rPr>
                        <a:t>Mousseux Alsace</a:t>
                      </a:r>
                    </a:p>
                  </a:txBody>
                  <a:tcPr anchor="ctr">
                    <a:solidFill>
                      <a:schemeClr val="bg2"/>
                    </a:solidFill>
                  </a:tcPr>
                </a:tc>
                <a:tc>
                  <a:txBody>
                    <a:bodyPr/>
                    <a:lstStyle/>
                    <a:p>
                      <a:pPr algn="ctr">
                        <a:defRPr sz="1100">
                          <a:latin typeface="Nexa Book"/>
                        </a:defRPr>
                      </a:pPr>
                      <a:r>
                        <a:rPr b="1">
                          <a:solidFill>
                            <a:srgbClr val="575555"/>
                          </a:solidFill>
                        </a:rPr>
                        <a:t>Mousseux Bordelais</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1672538024"/>
      </p:ext>
    </p:extLst>
  </p:cSld>
  <p:clrMapOvr>
    <a:masterClrMapping/>
  </p:clrMapOvr>
</p:sld>
</file>

<file path=ppt/slides/slide6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2/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90</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egment | Effervescents | CA C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Mousseux Italiens (3%)</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Cantine Vitev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Botteg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Chardonn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Contari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Mousseux Val De Loire (2%)</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Bouvet-Ladub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Chateau Moncontou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Mousseux Bourgogne (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Krit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Patriarch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Mousseux Alsace (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Mu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Mousseux Bordelais (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Cru La Maqueli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Cele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104343086"/>
      </p:ext>
    </p:extLst>
  </p:cSld>
  <p:clrMapOvr>
    <a:masterClrMapping/>
  </p:clrMapOvr>
</p:sld>
</file>

<file path=ppt/slides/slide6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2/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91</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egment | Effervescents | CA D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Bruts (63%)</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3.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5.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Malard 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Vranken 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8.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Blanc De Blancs (1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9.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Lanson-Bc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4.9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Malard 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Henrio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7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osés (6%)</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3.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Vranken 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8.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Malard 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Crus (5%)</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Vessel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Louis Mart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Malard 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Extra Brut (4%)</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Cfgv</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7.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C&amp;C Sas Franc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0.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Millesimes (3%)</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3.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3.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6.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2.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139279682"/>
      </p:ext>
    </p:extLst>
  </p:cSld>
  <p:clrMapOvr>
    <a:masterClrMapping/>
  </p:clrMapOvr>
</p:sld>
</file>

<file path=ppt/slides/slide6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2/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92</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egment | Effervescents | CA D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Mousseux Italiens (2%)</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Cantine Vitev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Botteg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Chardonn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Contari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Mousseux Val De Loire (2%)</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Bouvet-Ladub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Chateau Moncontou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Mousseux Bourgogne (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Krit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Patriarch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Mousseux Alsace (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Mu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Mousseux Bordelais (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Cru La Maqueli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Cele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890064232"/>
      </p:ext>
    </p:extLst>
  </p:cSld>
  <p:clrMapOvr>
    <a:masterClrMapping/>
  </p:clrMapOvr>
</p:sld>
</file>

<file path=ppt/slides/slide6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2/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93</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egment | Effervescents | CA E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Bruts (63%)</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3.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5.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Malard 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Vranken 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8.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Blanc De Blancs (1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9.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Malard 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Lanson-Bc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De Blig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0.7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osés (6%)</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3.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Vranken 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9.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Malard 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Crus (5%)</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Vessel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Louis Mart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Malard 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Extra Brut (3%)</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Cfgv</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7.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C&amp;C Sas Franc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Millesimes (3%)</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6.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9.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0.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1.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7.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553651077"/>
      </p:ext>
    </p:extLst>
  </p:cSld>
  <p:clrMapOvr>
    <a:masterClrMapping/>
  </p:clrMapOvr>
</p:sld>
</file>

<file path=ppt/slides/slide6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2/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94</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egment | Effervescents | CA E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Mousseux Italiens (2%)</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Cantine Vitev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Botteg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Chardonn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Contari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Mousseux Val De Loire (2%)</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Bouvet-Ladub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Chateau Moncontou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Mousseux Alsace (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Mu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Mousseux Bourgogne (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Krit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Patriarch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Mousseux Bordelais (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Cru La Maqueli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9.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Cele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878357029"/>
      </p:ext>
    </p:extLst>
  </p:cSld>
  <p:clrMapOvr>
    <a:masterClrMapping/>
  </p:clrMapOvr>
</p:sld>
</file>

<file path=ppt/slides/slide6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2/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95</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June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Vol | Category vs. Malard Nicolas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02358333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173599">
                  <a:extLst>
                    <a:ext uri="{9D8B030D-6E8A-4147-A177-3AD203B41FA5}">
                      <a16:colId xmlns:a16="http://schemas.microsoft.com/office/drawing/2014/main" val="2253286919"/>
                    </a:ext>
                  </a:extLst>
                </a:gridCol>
                <a:gridCol w="1173599">
                  <a:extLst>
                    <a:ext uri="{9D8B030D-6E8A-4147-A177-3AD203B41FA5}">
                      <a16:colId xmlns:a16="http://schemas.microsoft.com/office/drawing/2014/main" val="154020430"/>
                    </a:ext>
                  </a:extLst>
                </a:gridCol>
                <a:gridCol w="1173599">
                  <a:extLst>
                    <a:ext uri="{9D8B030D-6E8A-4147-A177-3AD203B41FA5}">
                      <a16:colId xmlns:a16="http://schemas.microsoft.com/office/drawing/2014/main" val="3928813835"/>
                    </a:ext>
                  </a:extLst>
                </a:gridCol>
                <a:gridCol w="1173599">
                  <a:extLst>
                    <a:ext uri="{9D8B030D-6E8A-4147-A177-3AD203B41FA5}">
                      <a16:colId xmlns:a16="http://schemas.microsoft.com/office/drawing/2014/main" val="4099274801"/>
                    </a:ext>
                  </a:extLst>
                </a:gridCol>
                <a:gridCol w="1173599">
                  <a:extLst>
                    <a:ext uri="{9D8B030D-6E8A-4147-A177-3AD203B41FA5}">
                      <a16:colId xmlns:a16="http://schemas.microsoft.com/office/drawing/2014/main" val="3203434082"/>
                    </a:ext>
                  </a:extLst>
                </a:gridCol>
                <a:gridCol w="1173599">
                  <a:extLst>
                    <a:ext uri="{9D8B030D-6E8A-4147-A177-3AD203B41FA5}">
                      <a16:colId xmlns:a16="http://schemas.microsoft.com/office/drawing/2014/main" val="1306444463"/>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0.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1.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45"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173606">
                  <a:extLst>
                    <a:ext uri="{9D8B030D-6E8A-4147-A177-3AD203B41FA5}">
                      <a16:colId xmlns:a16="http://schemas.microsoft.com/office/drawing/2014/main" val="2253286919"/>
                    </a:ext>
                  </a:extLst>
                </a:gridCol>
                <a:gridCol w="1173606">
                  <a:extLst>
                    <a:ext uri="{9D8B030D-6E8A-4147-A177-3AD203B41FA5}">
                      <a16:colId xmlns:a16="http://schemas.microsoft.com/office/drawing/2014/main" val="154020430"/>
                    </a:ext>
                  </a:extLst>
                </a:gridCol>
                <a:gridCol w="1173606">
                  <a:extLst>
                    <a:ext uri="{9D8B030D-6E8A-4147-A177-3AD203B41FA5}">
                      <a16:colId xmlns:a16="http://schemas.microsoft.com/office/drawing/2014/main" val="3928813835"/>
                    </a:ext>
                  </a:extLst>
                </a:gridCol>
                <a:gridCol w="1173606">
                  <a:extLst>
                    <a:ext uri="{9D8B030D-6E8A-4147-A177-3AD203B41FA5}">
                      <a16:colId xmlns:a16="http://schemas.microsoft.com/office/drawing/2014/main" val="4099274801"/>
                    </a:ext>
                  </a:extLst>
                </a:gridCol>
                <a:gridCol w="1173606">
                  <a:extLst>
                    <a:ext uri="{9D8B030D-6E8A-4147-A177-3AD203B41FA5}">
                      <a16:colId xmlns:a16="http://schemas.microsoft.com/office/drawing/2014/main" val="3203434082"/>
                    </a:ext>
                  </a:extLst>
                </a:gridCol>
                <a:gridCol w="1173606">
                  <a:extLst>
                    <a:ext uri="{9D8B030D-6E8A-4147-A177-3AD203B41FA5}">
                      <a16:colId xmlns:a16="http://schemas.microsoft.com/office/drawing/2014/main" val="1306444463"/>
                    </a:ext>
                  </a:extLst>
                </a:gridCol>
              </a:tblGrid>
              <a:tr h="252000">
                <a:tc>
                  <a:txBody>
                    <a:bodyPr/>
                    <a:lstStyle/>
                    <a:p>
                      <a:r>
                        <a:rPr sz="700">
                          <a:solidFill>
                            <a:srgbClr val="FFFFFF"/>
                          </a:solidFill>
                        </a:rPr>
                        <a:t>Company GM%</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310868215"/>
      </p:ext>
    </p:extLst>
  </p:cSld>
  <p:clrMapOvr>
    <a:masterClrMapping/>
  </p:clrMapOvr>
</p:sld>
</file>

<file path=ppt/slides/slide6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2/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96</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June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Vol | Category vs. Malard Nicolas | NICOLAS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02358333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880200">
                  <a:extLst>
                    <a:ext uri="{9D8B030D-6E8A-4147-A177-3AD203B41FA5}">
                      <a16:colId xmlns:a16="http://schemas.microsoft.com/office/drawing/2014/main" val="2253286919"/>
                    </a:ext>
                  </a:extLst>
                </a:gridCol>
                <a:gridCol w="880200">
                  <a:extLst>
                    <a:ext uri="{9D8B030D-6E8A-4147-A177-3AD203B41FA5}">
                      <a16:colId xmlns:a16="http://schemas.microsoft.com/office/drawing/2014/main" val="154020430"/>
                    </a:ext>
                  </a:extLst>
                </a:gridCol>
                <a:gridCol w="880200">
                  <a:extLst>
                    <a:ext uri="{9D8B030D-6E8A-4147-A177-3AD203B41FA5}">
                      <a16:colId xmlns:a16="http://schemas.microsoft.com/office/drawing/2014/main" val="3928813835"/>
                    </a:ext>
                  </a:extLst>
                </a:gridCol>
                <a:gridCol w="880200">
                  <a:extLst>
                    <a:ext uri="{9D8B030D-6E8A-4147-A177-3AD203B41FA5}">
                      <a16:colId xmlns:a16="http://schemas.microsoft.com/office/drawing/2014/main" val="4099274801"/>
                    </a:ext>
                  </a:extLst>
                </a:gridCol>
                <a:gridCol w="880200">
                  <a:extLst>
                    <a:ext uri="{9D8B030D-6E8A-4147-A177-3AD203B41FA5}">
                      <a16:colId xmlns:a16="http://schemas.microsoft.com/office/drawing/2014/main" val="3203434082"/>
                    </a:ext>
                  </a:extLst>
                </a:gridCol>
                <a:gridCol w="880200">
                  <a:extLst>
                    <a:ext uri="{9D8B030D-6E8A-4147-A177-3AD203B41FA5}">
                      <a16:colId xmlns:a16="http://schemas.microsoft.com/office/drawing/2014/main" val="1306444463"/>
                    </a:ext>
                  </a:extLst>
                </a:gridCol>
                <a:gridCol w="880200">
                  <a:extLst>
                    <a:ext uri="{9D8B030D-6E8A-4147-A177-3AD203B41FA5}">
                      <a16:colId xmlns:a16="http://schemas.microsoft.com/office/drawing/2014/main" val="2052677327"/>
                    </a:ext>
                  </a:extLst>
                </a:gridCol>
                <a:gridCol w="880200">
                  <a:extLst>
                    <a:ext uri="{9D8B030D-6E8A-4147-A177-3AD203B41FA5}">
                      <a16:colId xmlns:a16="http://schemas.microsoft.com/office/drawing/2014/main" val="1311887603"/>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1.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1.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4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880205">
                  <a:extLst>
                    <a:ext uri="{9D8B030D-6E8A-4147-A177-3AD203B41FA5}">
                      <a16:colId xmlns:a16="http://schemas.microsoft.com/office/drawing/2014/main" val="2253286919"/>
                    </a:ext>
                  </a:extLst>
                </a:gridCol>
                <a:gridCol w="880205">
                  <a:extLst>
                    <a:ext uri="{9D8B030D-6E8A-4147-A177-3AD203B41FA5}">
                      <a16:colId xmlns:a16="http://schemas.microsoft.com/office/drawing/2014/main" val="154020430"/>
                    </a:ext>
                  </a:extLst>
                </a:gridCol>
                <a:gridCol w="880205">
                  <a:extLst>
                    <a:ext uri="{9D8B030D-6E8A-4147-A177-3AD203B41FA5}">
                      <a16:colId xmlns:a16="http://schemas.microsoft.com/office/drawing/2014/main" val="3928813835"/>
                    </a:ext>
                  </a:extLst>
                </a:gridCol>
                <a:gridCol w="880205">
                  <a:extLst>
                    <a:ext uri="{9D8B030D-6E8A-4147-A177-3AD203B41FA5}">
                      <a16:colId xmlns:a16="http://schemas.microsoft.com/office/drawing/2014/main" val="4099274801"/>
                    </a:ext>
                  </a:extLst>
                </a:gridCol>
                <a:gridCol w="880205">
                  <a:extLst>
                    <a:ext uri="{9D8B030D-6E8A-4147-A177-3AD203B41FA5}">
                      <a16:colId xmlns:a16="http://schemas.microsoft.com/office/drawing/2014/main" val="3203434082"/>
                    </a:ext>
                  </a:extLst>
                </a:gridCol>
                <a:gridCol w="880205">
                  <a:extLst>
                    <a:ext uri="{9D8B030D-6E8A-4147-A177-3AD203B41FA5}">
                      <a16:colId xmlns:a16="http://schemas.microsoft.com/office/drawing/2014/main" val="1306444463"/>
                    </a:ext>
                  </a:extLst>
                </a:gridCol>
                <a:gridCol w="880205">
                  <a:extLst>
                    <a:ext uri="{9D8B030D-6E8A-4147-A177-3AD203B41FA5}">
                      <a16:colId xmlns:a16="http://schemas.microsoft.com/office/drawing/2014/main" val="2052677327"/>
                    </a:ext>
                  </a:extLst>
                </a:gridCol>
                <a:gridCol w="880205">
                  <a:extLst>
                    <a:ext uri="{9D8B030D-6E8A-4147-A177-3AD203B41FA5}">
                      <a16:colId xmlns:a16="http://schemas.microsoft.com/office/drawing/2014/main" val="1311887603"/>
                    </a:ext>
                  </a:extLst>
                </a:gridCol>
              </a:tblGrid>
              <a:tr h="252000">
                <a:tc>
                  <a:txBody>
                    <a:bodyPr/>
                    <a:lstStyle/>
                    <a:p>
                      <a:r>
                        <a:rPr sz="700">
                          <a:solidFill>
                            <a:srgbClr val="FFFFFF"/>
                          </a:solidFill>
                        </a:rPr>
                        <a:t>Company GM%</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3.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286392190"/>
      </p:ext>
    </p:extLst>
  </p:cSld>
  <p:clrMapOvr>
    <a:masterClrMapping/>
  </p:clrMapOvr>
</p:sld>
</file>

<file path=ppt/slides/slide6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2/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97</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June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Vol | Category vs. Malard Nicolas | NICOLAS QCN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02358333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880200">
                  <a:extLst>
                    <a:ext uri="{9D8B030D-6E8A-4147-A177-3AD203B41FA5}">
                      <a16:colId xmlns:a16="http://schemas.microsoft.com/office/drawing/2014/main" val="2253286919"/>
                    </a:ext>
                  </a:extLst>
                </a:gridCol>
                <a:gridCol w="880200">
                  <a:extLst>
                    <a:ext uri="{9D8B030D-6E8A-4147-A177-3AD203B41FA5}">
                      <a16:colId xmlns:a16="http://schemas.microsoft.com/office/drawing/2014/main" val="154020430"/>
                    </a:ext>
                  </a:extLst>
                </a:gridCol>
                <a:gridCol w="880200">
                  <a:extLst>
                    <a:ext uri="{9D8B030D-6E8A-4147-A177-3AD203B41FA5}">
                      <a16:colId xmlns:a16="http://schemas.microsoft.com/office/drawing/2014/main" val="3928813835"/>
                    </a:ext>
                  </a:extLst>
                </a:gridCol>
                <a:gridCol w="880200">
                  <a:extLst>
                    <a:ext uri="{9D8B030D-6E8A-4147-A177-3AD203B41FA5}">
                      <a16:colId xmlns:a16="http://schemas.microsoft.com/office/drawing/2014/main" val="4099274801"/>
                    </a:ext>
                  </a:extLst>
                </a:gridCol>
                <a:gridCol w="880200">
                  <a:extLst>
                    <a:ext uri="{9D8B030D-6E8A-4147-A177-3AD203B41FA5}">
                      <a16:colId xmlns:a16="http://schemas.microsoft.com/office/drawing/2014/main" val="3203434082"/>
                    </a:ext>
                  </a:extLst>
                </a:gridCol>
                <a:gridCol w="880200">
                  <a:extLst>
                    <a:ext uri="{9D8B030D-6E8A-4147-A177-3AD203B41FA5}">
                      <a16:colId xmlns:a16="http://schemas.microsoft.com/office/drawing/2014/main" val="1306444463"/>
                    </a:ext>
                  </a:extLst>
                </a:gridCol>
                <a:gridCol w="880200">
                  <a:extLst>
                    <a:ext uri="{9D8B030D-6E8A-4147-A177-3AD203B41FA5}">
                      <a16:colId xmlns:a16="http://schemas.microsoft.com/office/drawing/2014/main" val="2052677327"/>
                    </a:ext>
                  </a:extLst>
                </a:gridCol>
                <a:gridCol w="880200">
                  <a:extLst>
                    <a:ext uri="{9D8B030D-6E8A-4147-A177-3AD203B41FA5}">
                      <a16:colId xmlns:a16="http://schemas.microsoft.com/office/drawing/2014/main" val="1311887603"/>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3.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2.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4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880205">
                  <a:extLst>
                    <a:ext uri="{9D8B030D-6E8A-4147-A177-3AD203B41FA5}">
                      <a16:colId xmlns:a16="http://schemas.microsoft.com/office/drawing/2014/main" val="2253286919"/>
                    </a:ext>
                  </a:extLst>
                </a:gridCol>
                <a:gridCol w="880205">
                  <a:extLst>
                    <a:ext uri="{9D8B030D-6E8A-4147-A177-3AD203B41FA5}">
                      <a16:colId xmlns:a16="http://schemas.microsoft.com/office/drawing/2014/main" val="154020430"/>
                    </a:ext>
                  </a:extLst>
                </a:gridCol>
                <a:gridCol w="880205">
                  <a:extLst>
                    <a:ext uri="{9D8B030D-6E8A-4147-A177-3AD203B41FA5}">
                      <a16:colId xmlns:a16="http://schemas.microsoft.com/office/drawing/2014/main" val="3928813835"/>
                    </a:ext>
                  </a:extLst>
                </a:gridCol>
                <a:gridCol w="880205">
                  <a:extLst>
                    <a:ext uri="{9D8B030D-6E8A-4147-A177-3AD203B41FA5}">
                      <a16:colId xmlns:a16="http://schemas.microsoft.com/office/drawing/2014/main" val="4099274801"/>
                    </a:ext>
                  </a:extLst>
                </a:gridCol>
                <a:gridCol w="880205">
                  <a:extLst>
                    <a:ext uri="{9D8B030D-6E8A-4147-A177-3AD203B41FA5}">
                      <a16:colId xmlns:a16="http://schemas.microsoft.com/office/drawing/2014/main" val="3203434082"/>
                    </a:ext>
                  </a:extLst>
                </a:gridCol>
                <a:gridCol w="880205">
                  <a:extLst>
                    <a:ext uri="{9D8B030D-6E8A-4147-A177-3AD203B41FA5}">
                      <a16:colId xmlns:a16="http://schemas.microsoft.com/office/drawing/2014/main" val="1306444463"/>
                    </a:ext>
                  </a:extLst>
                </a:gridCol>
                <a:gridCol w="880205">
                  <a:extLst>
                    <a:ext uri="{9D8B030D-6E8A-4147-A177-3AD203B41FA5}">
                      <a16:colId xmlns:a16="http://schemas.microsoft.com/office/drawing/2014/main" val="2052677327"/>
                    </a:ext>
                  </a:extLst>
                </a:gridCol>
                <a:gridCol w="880205">
                  <a:extLst>
                    <a:ext uri="{9D8B030D-6E8A-4147-A177-3AD203B41FA5}">
                      <a16:colId xmlns:a16="http://schemas.microsoft.com/office/drawing/2014/main" val="1311887603"/>
                    </a:ext>
                  </a:extLst>
                </a:gridCol>
              </a:tblGrid>
              <a:tr h="252000">
                <a:tc>
                  <a:txBody>
                    <a:bodyPr/>
                    <a:lstStyle/>
                    <a:p>
                      <a:r>
                        <a:rPr sz="700">
                          <a:solidFill>
                            <a:srgbClr val="FFFFFF"/>
                          </a:solidFill>
                        </a:rPr>
                        <a:t>Company GM%</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3.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4134765189"/>
      </p:ext>
    </p:extLst>
  </p:cSld>
  <p:clrMapOvr>
    <a:masterClrMapping/>
  </p:clrMapOvr>
</p:sld>
</file>

<file path=ppt/slides/slide6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2/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98</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June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Vol | Category vs. Malard Nicolas | NICOLAS VCN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02358333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880200">
                  <a:extLst>
                    <a:ext uri="{9D8B030D-6E8A-4147-A177-3AD203B41FA5}">
                      <a16:colId xmlns:a16="http://schemas.microsoft.com/office/drawing/2014/main" val="2253286919"/>
                    </a:ext>
                  </a:extLst>
                </a:gridCol>
                <a:gridCol w="880200">
                  <a:extLst>
                    <a:ext uri="{9D8B030D-6E8A-4147-A177-3AD203B41FA5}">
                      <a16:colId xmlns:a16="http://schemas.microsoft.com/office/drawing/2014/main" val="154020430"/>
                    </a:ext>
                  </a:extLst>
                </a:gridCol>
                <a:gridCol w="880200">
                  <a:extLst>
                    <a:ext uri="{9D8B030D-6E8A-4147-A177-3AD203B41FA5}">
                      <a16:colId xmlns:a16="http://schemas.microsoft.com/office/drawing/2014/main" val="3928813835"/>
                    </a:ext>
                  </a:extLst>
                </a:gridCol>
                <a:gridCol w="880200">
                  <a:extLst>
                    <a:ext uri="{9D8B030D-6E8A-4147-A177-3AD203B41FA5}">
                      <a16:colId xmlns:a16="http://schemas.microsoft.com/office/drawing/2014/main" val="4099274801"/>
                    </a:ext>
                  </a:extLst>
                </a:gridCol>
                <a:gridCol w="880200">
                  <a:extLst>
                    <a:ext uri="{9D8B030D-6E8A-4147-A177-3AD203B41FA5}">
                      <a16:colId xmlns:a16="http://schemas.microsoft.com/office/drawing/2014/main" val="3203434082"/>
                    </a:ext>
                  </a:extLst>
                </a:gridCol>
                <a:gridCol w="880200">
                  <a:extLst>
                    <a:ext uri="{9D8B030D-6E8A-4147-A177-3AD203B41FA5}">
                      <a16:colId xmlns:a16="http://schemas.microsoft.com/office/drawing/2014/main" val="1306444463"/>
                    </a:ext>
                  </a:extLst>
                </a:gridCol>
                <a:gridCol w="880200">
                  <a:extLst>
                    <a:ext uri="{9D8B030D-6E8A-4147-A177-3AD203B41FA5}">
                      <a16:colId xmlns:a16="http://schemas.microsoft.com/office/drawing/2014/main" val="2052677327"/>
                    </a:ext>
                  </a:extLst>
                </a:gridCol>
                <a:gridCol w="880200">
                  <a:extLst>
                    <a:ext uri="{9D8B030D-6E8A-4147-A177-3AD203B41FA5}">
                      <a16:colId xmlns:a16="http://schemas.microsoft.com/office/drawing/2014/main" val="1311887603"/>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0.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0.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4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880205">
                  <a:extLst>
                    <a:ext uri="{9D8B030D-6E8A-4147-A177-3AD203B41FA5}">
                      <a16:colId xmlns:a16="http://schemas.microsoft.com/office/drawing/2014/main" val="2253286919"/>
                    </a:ext>
                  </a:extLst>
                </a:gridCol>
                <a:gridCol w="880205">
                  <a:extLst>
                    <a:ext uri="{9D8B030D-6E8A-4147-A177-3AD203B41FA5}">
                      <a16:colId xmlns:a16="http://schemas.microsoft.com/office/drawing/2014/main" val="154020430"/>
                    </a:ext>
                  </a:extLst>
                </a:gridCol>
                <a:gridCol w="880205">
                  <a:extLst>
                    <a:ext uri="{9D8B030D-6E8A-4147-A177-3AD203B41FA5}">
                      <a16:colId xmlns:a16="http://schemas.microsoft.com/office/drawing/2014/main" val="3928813835"/>
                    </a:ext>
                  </a:extLst>
                </a:gridCol>
                <a:gridCol w="880205">
                  <a:extLst>
                    <a:ext uri="{9D8B030D-6E8A-4147-A177-3AD203B41FA5}">
                      <a16:colId xmlns:a16="http://schemas.microsoft.com/office/drawing/2014/main" val="4099274801"/>
                    </a:ext>
                  </a:extLst>
                </a:gridCol>
                <a:gridCol w="880205">
                  <a:extLst>
                    <a:ext uri="{9D8B030D-6E8A-4147-A177-3AD203B41FA5}">
                      <a16:colId xmlns:a16="http://schemas.microsoft.com/office/drawing/2014/main" val="3203434082"/>
                    </a:ext>
                  </a:extLst>
                </a:gridCol>
                <a:gridCol w="880205">
                  <a:extLst>
                    <a:ext uri="{9D8B030D-6E8A-4147-A177-3AD203B41FA5}">
                      <a16:colId xmlns:a16="http://schemas.microsoft.com/office/drawing/2014/main" val="1306444463"/>
                    </a:ext>
                  </a:extLst>
                </a:gridCol>
                <a:gridCol w="880205">
                  <a:extLst>
                    <a:ext uri="{9D8B030D-6E8A-4147-A177-3AD203B41FA5}">
                      <a16:colId xmlns:a16="http://schemas.microsoft.com/office/drawing/2014/main" val="2052677327"/>
                    </a:ext>
                  </a:extLst>
                </a:gridCol>
                <a:gridCol w="880205">
                  <a:extLst>
                    <a:ext uri="{9D8B030D-6E8A-4147-A177-3AD203B41FA5}">
                      <a16:colId xmlns:a16="http://schemas.microsoft.com/office/drawing/2014/main" val="1311887603"/>
                    </a:ext>
                  </a:extLst>
                </a:gridCol>
              </a:tblGrid>
              <a:tr h="252000">
                <a:tc>
                  <a:txBody>
                    <a:bodyPr/>
                    <a:lstStyle/>
                    <a:p>
                      <a:r>
                        <a:rPr sz="700">
                          <a:solidFill>
                            <a:srgbClr val="FFFFFF"/>
                          </a:solidFill>
                        </a:rPr>
                        <a:t>Company GM%</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3.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086340877"/>
      </p:ext>
    </p:extLst>
  </p:cSld>
  <p:clrMapOvr>
    <a:masterClrMapping/>
  </p:clrMapOvr>
</p:sld>
</file>

<file path=ppt/slides/slide6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2/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99</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June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Vol | Category vs. Malard Nicolas | NICOLAS QC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02358333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880200">
                  <a:extLst>
                    <a:ext uri="{9D8B030D-6E8A-4147-A177-3AD203B41FA5}">
                      <a16:colId xmlns:a16="http://schemas.microsoft.com/office/drawing/2014/main" val="2253286919"/>
                    </a:ext>
                  </a:extLst>
                </a:gridCol>
                <a:gridCol w="880200">
                  <a:extLst>
                    <a:ext uri="{9D8B030D-6E8A-4147-A177-3AD203B41FA5}">
                      <a16:colId xmlns:a16="http://schemas.microsoft.com/office/drawing/2014/main" val="154020430"/>
                    </a:ext>
                  </a:extLst>
                </a:gridCol>
                <a:gridCol w="880200">
                  <a:extLst>
                    <a:ext uri="{9D8B030D-6E8A-4147-A177-3AD203B41FA5}">
                      <a16:colId xmlns:a16="http://schemas.microsoft.com/office/drawing/2014/main" val="3928813835"/>
                    </a:ext>
                  </a:extLst>
                </a:gridCol>
                <a:gridCol w="880200">
                  <a:extLst>
                    <a:ext uri="{9D8B030D-6E8A-4147-A177-3AD203B41FA5}">
                      <a16:colId xmlns:a16="http://schemas.microsoft.com/office/drawing/2014/main" val="4099274801"/>
                    </a:ext>
                  </a:extLst>
                </a:gridCol>
                <a:gridCol w="880200">
                  <a:extLst>
                    <a:ext uri="{9D8B030D-6E8A-4147-A177-3AD203B41FA5}">
                      <a16:colId xmlns:a16="http://schemas.microsoft.com/office/drawing/2014/main" val="3203434082"/>
                    </a:ext>
                  </a:extLst>
                </a:gridCol>
                <a:gridCol w="880200">
                  <a:extLst>
                    <a:ext uri="{9D8B030D-6E8A-4147-A177-3AD203B41FA5}">
                      <a16:colId xmlns:a16="http://schemas.microsoft.com/office/drawing/2014/main" val="1306444463"/>
                    </a:ext>
                  </a:extLst>
                </a:gridCol>
                <a:gridCol w="880200">
                  <a:extLst>
                    <a:ext uri="{9D8B030D-6E8A-4147-A177-3AD203B41FA5}">
                      <a16:colId xmlns:a16="http://schemas.microsoft.com/office/drawing/2014/main" val="2052677327"/>
                    </a:ext>
                  </a:extLst>
                </a:gridCol>
                <a:gridCol w="880200">
                  <a:extLst>
                    <a:ext uri="{9D8B030D-6E8A-4147-A177-3AD203B41FA5}">
                      <a16:colId xmlns:a16="http://schemas.microsoft.com/office/drawing/2014/main" val="1311887603"/>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1.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4.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4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880205">
                  <a:extLst>
                    <a:ext uri="{9D8B030D-6E8A-4147-A177-3AD203B41FA5}">
                      <a16:colId xmlns:a16="http://schemas.microsoft.com/office/drawing/2014/main" val="2253286919"/>
                    </a:ext>
                  </a:extLst>
                </a:gridCol>
                <a:gridCol w="880205">
                  <a:extLst>
                    <a:ext uri="{9D8B030D-6E8A-4147-A177-3AD203B41FA5}">
                      <a16:colId xmlns:a16="http://schemas.microsoft.com/office/drawing/2014/main" val="154020430"/>
                    </a:ext>
                  </a:extLst>
                </a:gridCol>
                <a:gridCol w="880205">
                  <a:extLst>
                    <a:ext uri="{9D8B030D-6E8A-4147-A177-3AD203B41FA5}">
                      <a16:colId xmlns:a16="http://schemas.microsoft.com/office/drawing/2014/main" val="3928813835"/>
                    </a:ext>
                  </a:extLst>
                </a:gridCol>
                <a:gridCol w="880205">
                  <a:extLst>
                    <a:ext uri="{9D8B030D-6E8A-4147-A177-3AD203B41FA5}">
                      <a16:colId xmlns:a16="http://schemas.microsoft.com/office/drawing/2014/main" val="4099274801"/>
                    </a:ext>
                  </a:extLst>
                </a:gridCol>
                <a:gridCol w="880205">
                  <a:extLst>
                    <a:ext uri="{9D8B030D-6E8A-4147-A177-3AD203B41FA5}">
                      <a16:colId xmlns:a16="http://schemas.microsoft.com/office/drawing/2014/main" val="3203434082"/>
                    </a:ext>
                  </a:extLst>
                </a:gridCol>
                <a:gridCol w="880205">
                  <a:extLst>
                    <a:ext uri="{9D8B030D-6E8A-4147-A177-3AD203B41FA5}">
                      <a16:colId xmlns:a16="http://schemas.microsoft.com/office/drawing/2014/main" val="1306444463"/>
                    </a:ext>
                  </a:extLst>
                </a:gridCol>
                <a:gridCol w="880205">
                  <a:extLst>
                    <a:ext uri="{9D8B030D-6E8A-4147-A177-3AD203B41FA5}">
                      <a16:colId xmlns:a16="http://schemas.microsoft.com/office/drawing/2014/main" val="2052677327"/>
                    </a:ext>
                  </a:extLst>
                </a:gridCol>
                <a:gridCol w="880205">
                  <a:extLst>
                    <a:ext uri="{9D8B030D-6E8A-4147-A177-3AD203B41FA5}">
                      <a16:colId xmlns:a16="http://schemas.microsoft.com/office/drawing/2014/main" val="1311887603"/>
                    </a:ext>
                  </a:extLst>
                </a:gridCol>
              </a:tblGrid>
              <a:tr h="252000">
                <a:tc>
                  <a:txBody>
                    <a:bodyPr/>
                    <a:lstStyle/>
                    <a:p>
                      <a:r>
                        <a:rPr sz="700">
                          <a:solidFill>
                            <a:srgbClr val="FFFFFF"/>
                          </a:solidFill>
                        </a:rPr>
                        <a:t>Company GM%</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3.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6.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4.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400458140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17F39D-9FE7-D5EF-D981-D08E2C3E7E72}"/>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6C569F5-3F88-086F-5B00-1E8A66D0F786}"/>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1E5943C8-93A2-CE99-9DC9-6106E372503B}"/>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58EF6AC-09CE-D3E4-3CE4-FEF3C28940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7F0F218-5714-F2E2-17DE-F734014EA97B}"/>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a:t>
            </a:fld>
            <a:endParaRPr lang="en-US" noProof="0"/>
          </a:p>
        </p:txBody>
      </p:sp>
      <p:sp>
        <p:nvSpPr>
          <p:cNvPr id="37" name="Text Placeholder 36">
            <a:extLst>
              <a:ext uri="{FF2B5EF4-FFF2-40B4-BE49-F238E27FC236}">
                <a16:creationId xmlns:a16="http://schemas.microsoft.com/office/drawing/2014/main" id="{5136C012-8234-3446-6BA4-D2A4ED46798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09B51F99-F9B2-A31A-6316-FFD484BF748A}"/>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Category | NICOLAS QCA | P12M</a:t>
            </a:r>
          </a:p>
        </p:txBody>
      </p:sp>
      <p:sp>
        <p:nvSpPr>
          <p:cNvPr id="2" name="Title 1">
            <a:extLst>
              <a:ext uri="{FF2B5EF4-FFF2-40B4-BE49-F238E27FC236}">
                <a16:creationId xmlns:a16="http://schemas.microsoft.com/office/drawing/2014/main" id="{119F61F6-E75A-45A7-FB48-021A4AD44DFE}"/>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452FBD9-A58C-004E-EBFE-BF25D0D39B4C}"/>
              </a:ext>
            </a:extLst>
          </p:cNvPr>
          <p:cNvGraphicFramePr>
            <a:graphicFrameLocks noGrp="1"/>
          </p:cNvGraphicFramePr>
          <p:nvPr>
            <p:ph idx="4294967295"/>
            <p:extLst>
              <p:ext uri="{D42A27DB-BD31-4B8C-83A1-F6EECF244321}">
                <p14:modId xmlns:p14="http://schemas.microsoft.com/office/powerpoint/2010/main" val="433754817"/>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B0F72B-C6D2-6D8D-0FC6-9AC4097CBCC1}"/>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sp>
        <p:nvSpPr>
          <p:cNvPr id="16" name="TextBox 15">
            <a:extLst>
              <a:ext uri="{FF2B5EF4-FFF2-40B4-BE49-F238E27FC236}">
                <a16:creationId xmlns:a16="http://schemas.microsoft.com/office/drawing/2014/main" id="{46D148F4-12D7-0EF3-ABFE-35612660B26D}"/>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F3F720E0-CF35-ADEF-C27B-40DD4DEC2868}"/>
              </a:ext>
            </a:extLst>
          </p:cNvPr>
          <p:cNvGraphicFramePr>
            <a:graphicFrameLocks noGrp="1"/>
          </p:cNvGraphicFramePr>
          <p:nvPr>
            <p:extLst>
              <p:ext uri="{D42A27DB-BD31-4B8C-83A1-F6EECF244321}">
                <p14:modId xmlns:p14="http://schemas.microsoft.com/office/powerpoint/2010/main" val="635621620"/>
              </p:ext>
            </p:extLst>
          </p:nvPr>
        </p:nvGraphicFramePr>
        <p:xfrm>
          <a:off x="720534" y="1121410"/>
          <a:ext cx="2028478"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tblGrid>
              <a:tr h="235994">
                <a:tc>
                  <a:txBody>
                    <a:bodyPr/>
                    <a:lstStyle/>
                    <a:p>
                      <a:pPr algn="ctr">
                        <a:defRPr sz="1100">
                          <a:latin typeface="Nexa Book"/>
                        </a:defRPr>
                      </a:pPr>
                      <a:r>
                        <a:rPr b="1">
                          <a:solidFill>
                            <a:srgbClr val="575555"/>
                          </a:solidFill>
                        </a:rPr>
                        <a:t>Effervescents</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168040857"/>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08FC55-424A-ACCC-676F-44C3CCC9796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415BD49-9CDB-C892-E279-946572C3A129}"/>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BE947E9A-9EDC-50FE-5484-367359C894D7}"/>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6A5025B9-0C85-A050-B069-0AC43B6B8204}"/>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1004F20C-B07D-4614-4481-965EA185837B}"/>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A91D8E7D-FEEC-5BA1-EB74-93E5E7482F85}"/>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0</a:t>
            </a:fld>
            <a:endParaRPr lang="en-US" noProof="0"/>
          </a:p>
        </p:txBody>
      </p:sp>
      <p:sp>
        <p:nvSpPr>
          <p:cNvPr id="37" name="Text Placeholder 36">
            <a:extLst>
              <a:ext uri="{FF2B5EF4-FFF2-40B4-BE49-F238E27FC236}">
                <a16:creationId xmlns:a16="http://schemas.microsoft.com/office/drawing/2014/main" id="{FA0F6888-D5CC-383A-47AD-80C683524A7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2E389274-4FCB-6DE6-41BB-F4D26E075546}"/>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egment | NICOLAS AQU | P12M</a:t>
            </a:r>
          </a:p>
        </p:txBody>
      </p:sp>
      <p:sp>
        <p:nvSpPr>
          <p:cNvPr id="2" name="Title 1">
            <a:extLst>
              <a:ext uri="{FF2B5EF4-FFF2-40B4-BE49-F238E27FC236}">
                <a16:creationId xmlns:a16="http://schemas.microsoft.com/office/drawing/2014/main" id="{0B37106B-65BB-38CE-2DE5-FACF202E6E13}"/>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3AD1043F-CB15-E170-B712-2A89D1DA680D}"/>
              </a:ext>
            </a:extLst>
          </p:cNvPr>
          <p:cNvGraphicFramePr>
            <a:graphicFrameLocks noGrp="1"/>
          </p:cNvGraphicFramePr>
          <p:nvPr>
            <p:ph idx="4294967295"/>
            <p:extLst>
              <p:ext uri="{D42A27DB-BD31-4B8C-83A1-F6EECF244321}">
                <p14:modId xmlns:p14="http://schemas.microsoft.com/office/powerpoint/2010/main" val="1549477909"/>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C7CB25F2-15EE-61CD-96F8-9E24F3CFB425}"/>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C8ACCE2D-6642-ED27-3E63-215D317EDF54}"/>
              </a:ext>
            </a:extLst>
          </p:cNvPr>
          <p:cNvGraphicFramePr>
            <a:graphicFrameLocks/>
          </p:cNvGraphicFramePr>
          <p:nvPr>
            <p:extLst>
              <p:ext uri="{D42A27DB-BD31-4B8C-83A1-F6EECF244321}">
                <p14:modId xmlns:p14="http://schemas.microsoft.com/office/powerpoint/2010/main" val="3248347062"/>
              </p:ext>
            </p:extLst>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8D2AC029-204E-C851-0DBB-376972B8F647}"/>
              </a:ext>
            </a:extLst>
          </p:cNvPr>
          <p:cNvGraphicFramePr>
            <a:graphicFrameLocks/>
          </p:cNvGraphicFramePr>
          <p:nvPr>
            <p:extLst>
              <p:ext uri="{D42A27DB-BD31-4B8C-83A1-F6EECF244321}">
                <p14:modId xmlns:p14="http://schemas.microsoft.com/office/powerpoint/2010/main" val="788640069"/>
              </p:ext>
            </p:extLst>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C1">
            <a:extLst>
              <a:ext uri="{FF2B5EF4-FFF2-40B4-BE49-F238E27FC236}">
                <a16:creationId xmlns:a16="http://schemas.microsoft.com/office/drawing/2014/main" id="{F3DC8CB2-3F2B-2774-573E-DFF620E84D4C}"/>
              </a:ext>
            </a:extLst>
          </p:cNvPr>
          <p:cNvGraphicFramePr>
            <a:graphicFrameLocks/>
          </p:cNvGraphicFramePr>
          <p:nvPr>
            <p:extLst>
              <p:ext uri="{D42A27DB-BD31-4B8C-83A1-F6EECF244321}">
                <p14:modId xmlns:p14="http://schemas.microsoft.com/office/powerpoint/2010/main" val="2977511379"/>
              </p:ext>
            </p:extLst>
          </p:nvPr>
        </p:nvGraphicFramePr>
        <p:xfrm>
          <a:off x="6566444" y="1354754"/>
          <a:ext cx="2268000" cy="3374309"/>
        </p:xfrm>
        <a:graphic>
          <a:graphicData uri="http://schemas.openxmlformats.org/drawingml/2006/chart">
            <c:chart xmlns:c="http://schemas.openxmlformats.org/drawingml/2006/chart" xmlns:r="http://schemas.openxmlformats.org/officeDocument/2006/relationships" r:id="rId8"/>
          </a:graphicData>
        </a:graphic>
      </p:graphicFrame>
      <p:sp>
        <p:nvSpPr>
          <p:cNvPr id="16" name="TextBox 15">
            <a:extLst>
              <a:ext uri="{FF2B5EF4-FFF2-40B4-BE49-F238E27FC236}">
                <a16:creationId xmlns:a16="http://schemas.microsoft.com/office/drawing/2014/main" id="{8C8CB6BD-A844-74EC-CFEC-C58CFCC7C5EC}"/>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B18FE6A9-85ED-634C-B0DB-D9A4E7A1AD69}"/>
              </a:ext>
            </a:extLst>
          </p:cNvPr>
          <p:cNvGraphicFramePr>
            <a:graphicFrameLocks noGrp="1"/>
          </p:cNvGraphicFramePr>
          <p:nvPr/>
        </p:nvGraphicFramePr>
        <p:xfrm>
          <a:off x="720534" y="1121410"/>
          <a:ext cx="8113912"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gridCol w="2028478">
                  <a:extLst>
                    <a:ext uri="{9D8B030D-6E8A-4147-A177-3AD203B41FA5}">
                      <a16:colId xmlns:a16="http://schemas.microsoft.com/office/drawing/2014/main" val="3571608413"/>
                    </a:ext>
                  </a:extLst>
                </a:gridCol>
              </a:tblGrid>
              <a:tr h="235994">
                <a:tc>
                  <a:txBody>
                    <a:bodyPr/>
                    <a:lstStyle/>
                    <a:p>
                      <a:pPr algn="ctr">
                        <a:defRPr sz="1100">
                          <a:latin typeface="Nexa Book"/>
                        </a:defRPr>
                      </a:pPr>
                      <a:r>
                        <a:rPr b="1">
                          <a:solidFill>
                            <a:srgbClr val="575555"/>
                          </a:solidFill>
                        </a:rPr>
                        <a:t>Blanc De Blancs</a:t>
                      </a:r>
                    </a:p>
                  </a:txBody>
                  <a:tcPr anchor="ctr">
                    <a:solidFill>
                      <a:schemeClr val="bg2"/>
                    </a:solidFill>
                  </a:tcPr>
                </a:tc>
                <a:tc>
                  <a:txBody>
                    <a:bodyPr/>
                    <a:lstStyle/>
                    <a:p>
                      <a:pPr algn="ctr">
                        <a:defRPr sz="1100">
                          <a:latin typeface="Nexa Book"/>
                        </a:defRPr>
                      </a:pPr>
                      <a:r>
                        <a:rPr b="1">
                          <a:solidFill>
                            <a:srgbClr val="575555"/>
                          </a:solidFill>
                        </a:rPr>
                        <a:t>Bruts</a:t>
                      </a:r>
                    </a:p>
                  </a:txBody>
                  <a:tcPr anchor="ctr">
                    <a:solidFill>
                      <a:schemeClr val="bg2"/>
                    </a:solidFill>
                  </a:tcPr>
                </a:tc>
                <a:tc>
                  <a:txBody>
                    <a:bodyPr/>
                    <a:lstStyle/>
                    <a:p>
                      <a:pPr algn="ctr">
                        <a:defRPr sz="1100">
                          <a:latin typeface="Nexa Book"/>
                        </a:defRPr>
                      </a:pPr>
                      <a:r>
                        <a:rPr b="1">
                          <a:solidFill>
                            <a:srgbClr val="575555"/>
                          </a:solidFill>
                        </a:rPr>
                        <a:t>Crus</a:t>
                      </a:r>
                    </a:p>
                  </a:txBody>
                  <a:tcPr anchor="ctr">
                    <a:solidFill>
                      <a:schemeClr val="bg2"/>
                    </a:solidFill>
                  </a:tcPr>
                </a:tc>
                <a:tc>
                  <a:txBody>
                    <a:bodyPr/>
                    <a:lstStyle/>
                    <a:p>
                      <a:pPr algn="ctr">
                        <a:defRPr sz="1100">
                          <a:latin typeface="Nexa Book"/>
                        </a:defRPr>
                      </a:pPr>
                      <a:r>
                        <a:rPr b="1">
                          <a:solidFill>
                            <a:srgbClr val="575555"/>
                          </a:solidFill>
                        </a:rPr>
                        <a:t>Extra Brut</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1130601954"/>
      </p:ext>
    </p:extLst>
  </p:cSld>
  <p:clrMapOvr>
    <a:masterClrMapping/>
  </p:clrMapOvr>
</p:sld>
</file>

<file path=ppt/slides/slide7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2/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00</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June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Vol | Category vs. Malard Nicolas | NICOLAS QCA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02358333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005942">
                  <a:extLst>
                    <a:ext uri="{9D8B030D-6E8A-4147-A177-3AD203B41FA5}">
                      <a16:colId xmlns:a16="http://schemas.microsoft.com/office/drawing/2014/main" val="2253286919"/>
                    </a:ext>
                  </a:extLst>
                </a:gridCol>
                <a:gridCol w="1005942">
                  <a:extLst>
                    <a:ext uri="{9D8B030D-6E8A-4147-A177-3AD203B41FA5}">
                      <a16:colId xmlns:a16="http://schemas.microsoft.com/office/drawing/2014/main" val="154020430"/>
                    </a:ext>
                  </a:extLst>
                </a:gridCol>
                <a:gridCol w="1005942">
                  <a:extLst>
                    <a:ext uri="{9D8B030D-6E8A-4147-A177-3AD203B41FA5}">
                      <a16:colId xmlns:a16="http://schemas.microsoft.com/office/drawing/2014/main" val="3928813835"/>
                    </a:ext>
                  </a:extLst>
                </a:gridCol>
                <a:gridCol w="1005942">
                  <a:extLst>
                    <a:ext uri="{9D8B030D-6E8A-4147-A177-3AD203B41FA5}">
                      <a16:colId xmlns:a16="http://schemas.microsoft.com/office/drawing/2014/main" val="4099274801"/>
                    </a:ext>
                  </a:extLst>
                </a:gridCol>
                <a:gridCol w="1005942">
                  <a:extLst>
                    <a:ext uri="{9D8B030D-6E8A-4147-A177-3AD203B41FA5}">
                      <a16:colId xmlns:a16="http://schemas.microsoft.com/office/drawing/2014/main" val="3203434082"/>
                    </a:ext>
                  </a:extLst>
                </a:gridCol>
                <a:gridCol w="1005942">
                  <a:extLst>
                    <a:ext uri="{9D8B030D-6E8A-4147-A177-3AD203B41FA5}">
                      <a16:colId xmlns:a16="http://schemas.microsoft.com/office/drawing/2014/main" val="1306444463"/>
                    </a:ext>
                  </a:extLst>
                </a:gridCol>
                <a:gridCol w="1005942">
                  <a:extLst>
                    <a:ext uri="{9D8B030D-6E8A-4147-A177-3AD203B41FA5}">
                      <a16:colId xmlns:a16="http://schemas.microsoft.com/office/drawing/2014/main" val="2052677327"/>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7.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0.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45"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005948">
                  <a:extLst>
                    <a:ext uri="{9D8B030D-6E8A-4147-A177-3AD203B41FA5}">
                      <a16:colId xmlns:a16="http://schemas.microsoft.com/office/drawing/2014/main" val="2253286919"/>
                    </a:ext>
                  </a:extLst>
                </a:gridCol>
                <a:gridCol w="1005948">
                  <a:extLst>
                    <a:ext uri="{9D8B030D-6E8A-4147-A177-3AD203B41FA5}">
                      <a16:colId xmlns:a16="http://schemas.microsoft.com/office/drawing/2014/main" val="154020430"/>
                    </a:ext>
                  </a:extLst>
                </a:gridCol>
                <a:gridCol w="1005948">
                  <a:extLst>
                    <a:ext uri="{9D8B030D-6E8A-4147-A177-3AD203B41FA5}">
                      <a16:colId xmlns:a16="http://schemas.microsoft.com/office/drawing/2014/main" val="3928813835"/>
                    </a:ext>
                  </a:extLst>
                </a:gridCol>
                <a:gridCol w="1005948">
                  <a:extLst>
                    <a:ext uri="{9D8B030D-6E8A-4147-A177-3AD203B41FA5}">
                      <a16:colId xmlns:a16="http://schemas.microsoft.com/office/drawing/2014/main" val="4099274801"/>
                    </a:ext>
                  </a:extLst>
                </a:gridCol>
                <a:gridCol w="1005948">
                  <a:extLst>
                    <a:ext uri="{9D8B030D-6E8A-4147-A177-3AD203B41FA5}">
                      <a16:colId xmlns:a16="http://schemas.microsoft.com/office/drawing/2014/main" val="3203434082"/>
                    </a:ext>
                  </a:extLst>
                </a:gridCol>
                <a:gridCol w="1005948">
                  <a:extLst>
                    <a:ext uri="{9D8B030D-6E8A-4147-A177-3AD203B41FA5}">
                      <a16:colId xmlns:a16="http://schemas.microsoft.com/office/drawing/2014/main" val="1306444463"/>
                    </a:ext>
                  </a:extLst>
                </a:gridCol>
                <a:gridCol w="1005948">
                  <a:extLst>
                    <a:ext uri="{9D8B030D-6E8A-4147-A177-3AD203B41FA5}">
                      <a16:colId xmlns:a16="http://schemas.microsoft.com/office/drawing/2014/main" val="2052677327"/>
                    </a:ext>
                  </a:extLst>
                </a:gridCol>
              </a:tblGrid>
              <a:tr h="252000">
                <a:tc>
                  <a:txBody>
                    <a:bodyPr/>
                    <a:lstStyle/>
                    <a:p>
                      <a:r>
                        <a:rPr sz="700">
                          <a:solidFill>
                            <a:srgbClr val="FFFFFF"/>
                          </a:solidFill>
                        </a:rPr>
                        <a:t>Company GM%</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3.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565649037"/>
      </p:ext>
    </p:extLst>
  </p:cSld>
  <p:clrMapOvr>
    <a:masterClrMapping/>
  </p:clrMapOvr>
</p:sld>
</file>

<file path=ppt/slides/slide7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2/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01</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June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Vol | Category vs. Malard Nicolas | NICOLAS CC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02358333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782400">
                  <a:extLst>
                    <a:ext uri="{9D8B030D-6E8A-4147-A177-3AD203B41FA5}">
                      <a16:colId xmlns:a16="http://schemas.microsoft.com/office/drawing/2014/main" val="2253286919"/>
                    </a:ext>
                  </a:extLst>
                </a:gridCol>
                <a:gridCol w="782400">
                  <a:extLst>
                    <a:ext uri="{9D8B030D-6E8A-4147-A177-3AD203B41FA5}">
                      <a16:colId xmlns:a16="http://schemas.microsoft.com/office/drawing/2014/main" val="154020430"/>
                    </a:ext>
                  </a:extLst>
                </a:gridCol>
                <a:gridCol w="782400">
                  <a:extLst>
                    <a:ext uri="{9D8B030D-6E8A-4147-A177-3AD203B41FA5}">
                      <a16:colId xmlns:a16="http://schemas.microsoft.com/office/drawing/2014/main" val="3928813835"/>
                    </a:ext>
                  </a:extLst>
                </a:gridCol>
                <a:gridCol w="782400">
                  <a:extLst>
                    <a:ext uri="{9D8B030D-6E8A-4147-A177-3AD203B41FA5}">
                      <a16:colId xmlns:a16="http://schemas.microsoft.com/office/drawing/2014/main" val="4099274801"/>
                    </a:ext>
                  </a:extLst>
                </a:gridCol>
                <a:gridCol w="782400">
                  <a:extLst>
                    <a:ext uri="{9D8B030D-6E8A-4147-A177-3AD203B41FA5}">
                      <a16:colId xmlns:a16="http://schemas.microsoft.com/office/drawing/2014/main" val="3203434082"/>
                    </a:ext>
                  </a:extLst>
                </a:gridCol>
                <a:gridCol w="782400">
                  <a:extLst>
                    <a:ext uri="{9D8B030D-6E8A-4147-A177-3AD203B41FA5}">
                      <a16:colId xmlns:a16="http://schemas.microsoft.com/office/drawing/2014/main" val="1306444463"/>
                    </a:ext>
                  </a:extLst>
                </a:gridCol>
                <a:gridCol w="782400">
                  <a:extLst>
                    <a:ext uri="{9D8B030D-6E8A-4147-A177-3AD203B41FA5}">
                      <a16:colId xmlns:a16="http://schemas.microsoft.com/office/drawing/2014/main" val="2052677327"/>
                    </a:ext>
                  </a:extLst>
                </a:gridCol>
                <a:gridCol w="782400">
                  <a:extLst>
                    <a:ext uri="{9D8B030D-6E8A-4147-A177-3AD203B41FA5}">
                      <a16:colId xmlns:a16="http://schemas.microsoft.com/office/drawing/2014/main" val="1311887603"/>
                    </a:ext>
                  </a:extLst>
                </a:gridCol>
                <a:gridCol w="782400">
                  <a:extLst>
                    <a:ext uri="{9D8B030D-6E8A-4147-A177-3AD203B41FA5}">
                      <a16:colId xmlns:a16="http://schemas.microsoft.com/office/drawing/2014/main" val="2227414998"/>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6.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9.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5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782405">
                  <a:extLst>
                    <a:ext uri="{9D8B030D-6E8A-4147-A177-3AD203B41FA5}">
                      <a16:colId xmlns:a16="http://schemas.microsoft.com/office/drawing/2014/main" val="2253286919"/>
                    </a:ext>
                  </a:extLst>
                </a:gridCol>
                <a:gridCol w="782405">
                  <a:extLst>
                    <a:ext uri="{9D8B030D-6E8A-4147-A177-3AD203B41FA5}">
                      <a16:colId xmlns:a16="http://schemas.microsoft.com/office/drawing/2014/main" val="154020430"/>
                    </a:ext>
                  </a:extLst>
                </a:gridCol>
                <a:gridCol w="782405">
                  <a:extLst>
                    <a:ext uri="{9D8B030D-6E8A-4147-A177-3AD203B41FA5}">
                      <a16:colId xmlns:a16="http://schemas.microsoft.com/office/drawing/2014/main" val="3928813835"/>
                    </a:ext>
                  </a:extLst>
                </a:gridCol>
                <a:gridCol w="782405">
                  <a:extLst>
                    <a:ext uri="{9D8B030D-6E8A-4147-A177-3AD203B41FA5}">
                      <a16:colId xmlns:a16="http://schemas.microsoft.com/office/drawing/2014/main" val="4099274801"/>
                    </a:ext>
                  </a:extLst>
                </a:gridCol>
                <a:gridCol w="782405">
                  <a:extLst>
                    <a:ext uri="{9D8B030D-6E8A-4147-A177-3AD203B41FA5}">
                      <a16:colId xmlns:a16="http://schemas.microsoft.com/office/drawing/2014/main" val="3203434082"/>
                    </a:ext>
                  </a:extLst>
                </a:gridCol>
                <a:gridCol w="782405">
                  <a:extLst>
                    <a:ext uri="{9D8B030D-6E8A-4147-A177-3AD203B41FA5}">
                      <a16:colId xmlns:a16="http://schemas.microsoft.com/office/drawing/2014/main" val="1306444463"/>
                    </a:ext>
                  </a:extLst>
                </a:gridCol>
                <a:gridCol w="782405">
                  <a:extLst>
                    <a:ext uri="{9D8B030D-6E8A-4147-A177-3AD203B41FA5}">
                      <a16:colId xmlns:a16="http://schemas.microsoft.com/office/drawing/2014/main" val="2052677327"/>
                    </a:ext>
                  </a:extLst>
                </a:gridCol>
                <a:gridCol w="782405">
                  <a:extLst>
                    <a:ext uri="{9D8B030D-6E8A-4147-A177-3AD203B41FA5}">
                      <a16:colId xmlns:a16="http://schemas.microsoft.com/office/drawing/2014/main" val="1311887603"/>
                    </a:ext>
                  </a:extLst>
                </a:gridCol>
                <a:gridCol w="782405">
                  <a:extLst>
                    <a:ext uri="{9D8B030D-6E8A-4147-A177-3AD203B41FA5}">
                      <a16:colId xmlns:a16="http://schemas.microsoft.com/office/drawing/2014/main" val="2227414998"/>
                    </a:ext>
                  </a:extLst>
                </a:gridCol>
              </a:tblGrid>
              <a:tr h="252000">
                <a:tc>
                  <a:txBody>
                    <a:bodyPr/>
                    <a:lstStyle/>
                    <a:p>
                      <a:r>
                        <a:rPr sz="700">
                          <a:solidFill>
                            <a:srgbClr val="FFFFFF"/>
                          </a:solidFill>
                        </a:rPr>
                        <a:t>Company GM%</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3.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6.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05873475"/>
      </p:ext>
    </p:extLst>
  </p:cSld>
  <p:clrMapOvr>
    <a:masterClrMapping/>
  </p:clrMapOvr>
</p:sld>
</file>

<file path=ppt/slides/slide7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2/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02</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June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Vol | Category vs. Malard Nicolas | NICOLAS IDF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02358333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880200">
                  <a:extLst>
                    <a:ext uri="{9D8B030D-6E8A-4147-A177-3AD203B41FA5}">
                      <a16:colId xmlns:a16="http://schemas.microsoft.com/office/drawing/2014/main" val="2253286919"/>
                    </a:ext>
                  </a:extLst>
                </a:gridCol>
                <a:gridCol w="880200">
                  <a:extLst>
                    <a:ext uri="{9D8B030D-6E8A-4147-A177-3AD203B41FA5}">
                      <a16:colId xmlns:a16="http://schemas.microsoft.com/office/drawing/2014/main" val="154020430"/>
                    </a:ext>
                  </a:extLst>
                </a:gridCol>
                <a:gridCol w="880200">
                  <a:extLst>
                    <a:ext uri="{9D8B030D-6E8A-4147-A177-3AD203B41FA5}">
                      <a16:colId xmlns:a16="http://schemas.microsoft.com/office/drawing/2014/main" val="3928813835"/>
                    </a:ext>
                  </a:extLst>
                </a:gridCol>
                <a:gridCol w="880200">
                  <a:extLst>
                    <a:ext uri="{9D8B030D-6E8A-4147-A177-3AD203B41FA5}">
                      <a16:colId xmlns:a16="http://schemas.microsoft.com/office/drawing/2014/main" val="4099274801"/>
                    </a:ext>
                  </a:extLst>
                </a:gridCol>
                <a:gridCol w="880200">
                  <a:extLst>
                    <a:ext uri="{9D8B030D-6E8A-4147-A177-3AD203B41FA5}">
                      <a16:colId xmlns:a16="http://schemas.microsoft.com/office/drawing/2014/main" val="3203434082"/>
                    </a:ext>
                  </a:extLst>
                </a:gridCol>
                <a:gridCol w="880200">
                  <a:extLst>
                    <a:ext uri="{9D8B030D-6E8A-4147-A177-3AD203B41FA5}">
                      <a16:colId xmlns:a16="http://schemas.microsoft.com/office/drawing/2014/main" val="1306444463"/>
                    </a:ext>
                  </a:extLst>
                </a:gridCol>
                <a:gridCol w="880200">
                  <a:extLst>
                    <a:ext uri="{9D8B030D-6E8A-4147-A177-3AD203B41FA5}">
                      <a16:colId xmlns:a16="http://schemas.microsoft.com/office/drawing/2014/main" val="2052677327"/>
                    </a:ext>
                  </a:extLst>
                </a:gridCol>
                <a:gridCol w="880200">
                  <a:extLst>
                    <a:ext uri="{9D8B030D-6E8A-4147-A177-3AD203B41FA5}">
                      <a16:colId xmlns:a16="http://schemas.microsoft.com/office/drawing/2014/main" val="1311887603"/>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1.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1.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4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880205">
                  <a:extLst>
                    <a:ext uri="{9D8B030D-6E8A-4147-A177-3AD203B41FA5}">
                      <a16:colId xmlns:a16="http://schemas.microsoft.com/office/drawing/2014/main" val="2253286919"/>
                    </a:ext>
                  </a:extLst>
                </a:gridCol>
                <a:gridCol w="880205">
                  <a:extLst>
                    <a:ext uri="{9D8B030D-6E8A-4147-A177-3AD203B41FA5}">
                      <a16:colId xmlns:a16="http://schemas.microsoft.com/office/drawing/2014/main" val="154020430"/>
                    </a:ext>
                  </a:extLst>
                </a:gridCol>
                <a:gridCol w="880205">
                  <a:extLst>
                    <a:ext uri="{9D8B030D-6E8A-4147-A177-3AD203B41FA5}">
                      <a16:colId xmlns:a16="http://schemas.microsoft.com/office/drawing/2014/main" val="3928813835"/>
                    </a:ext>
                  </a:extLst>
                </a:gridCol>
                <a:gridCol w="880205">
                  <a:extLst>
                    <a:ext uri="{9D8B030D-6E8A-4147-A177-3AD203B41FA5}">
                      <a16:colId xmlns:a16="http://schemas.microsoft.com/office/drawing/2014/main" val="4099274801"/>
                    </a:ext>
                  </a:extLst>
                </a:gridCol>
                <a:gridCol w="880205">
                  <a:extLst>
                    <a:ext uri="{9D8B030D-6E8A-4147-A177-3AD203B41FA5}">
                      <a16:colId xmlns:a16="http://schemas.microsoft.com/office/drawing/2014/main" val="3203434082"/>
                    </a:ext>
                  </a:extLst>
                </a:gridCol>
                <a:gridCol w="880205">
                  <a:extLst>
                    <a:ext uri="{9D8B030D-6E8A-4147-A177-3AD203B41FA5}">
                      <a16:colId xmlns:a16="http://schemas.microsoft.com/office/drawing/2014/main" val="1306444463"/>
                    </a:ext>
                  </a:extLst>
                </a:gridCol>
                <a:gridCol w="880205">
                  <a:extLst>
                    <a:ext uri="{9D8B030D-6E8A-4147-A177-3AD203B41FA5}">
                      <a16:colId xmlns:a16="http://schemas.microsoft.com/office/drawing/2014/main" val="2052677327"/>
                    </a:ext>
                  </a:extLst>
                </a:gridCol>
                <a:gridCol w="880205">
                  <a:extLst>
                    <a:ext uri="{9D8B030D-6E8A-4147-A177-3AD203B41FA5}">
                      <a16:colId xmlns:a16="http://schemas.microsoft.com/office/drawing/2014/main" val="1311887603"/>
                    </a:ext>
                  </a:extLst>
                </a:gridCol>
              </a:tblGrid>
              <a:tr h="252000">
                <a:tc>
                  <a:txBody>
                    <a:bodyPr/>
                    <a:lstStyle/>
                    <a:p>
                      <a:r>
                        <a:rPr sz="700">
                          <a:solidFill>
                            <a:srgbClr val="FFFFFF"/>
                          </a:solidFill>
                        </a:rPr>
                        <a:t>Company GM%</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3.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212627010"/>
      </p:ext>
    </p:extLst>
  </p:cSld>
  <p:clrMapOvr>
    <a:masterClrMapping/>
  </p:clrMapOvr>
</p:sld>
</file>

<file path=ppt/slides/slide7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2/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03</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June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Vol | Category vs. Malard Nicolas | NICOLAS PAC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02358333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005942">
                  <a:extLst>
                    <a:ext uri="{9D8B030D-6E8A-4147-A177-3AD203B41FA5}">
                      <a16:colId xmlns:a16="http://schemas.microsoft.com/office/drawing/2014/main" val="2253286919"/>
                    </a:ext>
                  </a:extLst>
                </a:gridCol>
                <a:gridCol w="1005942">
                  <a:extLst>
                    <a:ext uri="{9D8B030D-6E8A-4147-A177-3AD203B41FA5}">
                      <a16:colId xmlns:a16="http://schemas.microsoft.com/office/drawing/2014/main" val="154020430"/>
                    </a:ext>
                  </a:extLst>
                </a:gridCol>
                <a:gridCol w="1005942">
                  <a:extLst>
                    <a:ext uri="{9D8B030D-6E8A-4147-A177-3AD203B41FA5}">
                      <a16:colId xmlns:a16="http://schemas.microsoft.com/office/drawing/2014/main" val="3928813835"/>
                    </a:ext>
                  </a:extLst>
                </a:gridCol>
                <a:gridCol w="1005942">
                  <a:extLst>
                    <a:ext uri="{9D8B030D-6E8A-4147-A177-3AD203B41FA5}">
                      <a16:colId xmlns:a16="http://schemas.microsoft.com/office/drawing/2014/main" val="4099274801"/>
                    </a:ext>
                  </a:extLst>
                </a:gridCol>
                <a:gridCol w="1005942">
                  <a:extLst>
                    <a:ext uri="{9D8B030D-6E8A-4147-A177-3AD203B41FA5}">
                      <a16:colId xmlns:a16="http://schemas.microsoft.com/office/drawing/2014/main" val="3203434082"/>
                    </a:ext>
                  </a:extLst>
                </a:gridCol>
                <a:gridCol w="1005942">
                  <a:extLst>
                    <a:ext uri="{9D8B030D-6E8A-4147-A177-3AD203B41FA5}">
                      <a16:colId xmlns:a16="http://schemas.microsoft.com/office/drawing/2014/main" val="1306444463"/>
                    </a:ext>
                  </a:extLst>
                </a:gridCol>
                <a:gridCol w="1005942">
                  <a:extLst>
                    <a:ext uri="{9D8B030D-6E8A-4147-A177-3AD203B41FA5}">
                      <a16:colId xmlns:a16="http://schemas.microsoft.com/office/drawing/2014/main" val="2052677327"/>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1.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2.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45"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005948">
                  <a:extLst>
                    <a:ext uri="{9D8B030D-6E8A-4147-A177-3AD203B41FA5}">
                      <a16:colId xmlns:a16="http://schemas.microsoft.com/office/drawing/2014/main" val="2253286919"/>
                    </a:ext>
                  </a:extLst>
                </a:gridCol>
                <a:gridCol w="1005948">
                  <a:extLst>
                    <a:ext uri="{9D8B030D-6E8A-4147-A177-3AD203B41FA5}">
                      <a16:colId xmlns:a16="http://schemas.microsoft.com/office/drawing/2014/main" val="154020430"/>
                    </a:ext>
                  </a:extLst>
                </a:gridCol>
                <a:gridCol w="1005948">
                  <a:extLst>
                    <a:ext uri="{9D8B030D-6E8A-4147-A177-3AD203B41FA5}">
                      <a16:colId xmlns:a16="http://schemas.microsoft.com/office/drawing/2014/main" val="3928813835"/>
                    </a:ext>
                  </a:extLst>
                </a:gridCol>
                <a:gridCol w="1005948">
                  <a:extLst>
                    <a:ext uri="{9D8B030D-6E8A-4147-A177-3AD203B41FA5}">
                      <a16:colId xmlns:a16="http://schemas.microsoft.com/office/drawing/2014/main" val="4099274801"/>
                    </a:ext>
                  </a:extLst>
                </a:gridCol>
                <a:gridCol w="1005948">
                  <a:extLst>
                    <a:ext uri="{9D8B030D-6E8A-4147-A177-3AD203B41FA5}">
                      <a16:colId xmlns:a16="http://schemas.microsoft.com/office/drawing/2014/main" val="3203434082"/>
                    </a:ext>
                  </a:extLst>
                </a:gridCol>
                <a:gridCol w="1005948">
                  <a:extLst>
                    <a:ext uri="{9D8B030D-6E8A-4147-A177-3AD203B41FA5}">
                      <a16:colId xmlns:a16="http://schemas.microsoft.com/office/drawing/2014/main" val="1306444463"/>
                    </a:ext>
                  </a:extLst>
                </a:gridCol>
                <a:gridCol w="1005948">
                  <a:extLst>
                    <a:ext uri="{9D8B030D-6E8A-4147-A177-3AD203B41FA5}">
                      <a16:colId xmlns:a16="http://schemas.microsoft.com/office/drawing/2014/main" val="2052677327"/>
                    </a:ext>
                  </a:extLst>
                </a:gridCol>
              </a:tblGrid>
              <a:tr h="252000">
                <a:tc>
                  <a:txBody>
                    <a:bodyPr/>
                    <a:lstStyle/>
                    <a:p>
                      <a:r>
                        <a:rPr sz="700">
                          <a:solidFill>
                            <a:srgbClr val="FFFFFF"/>
                          </a:solidFill>
                        </a:rPr>
                        <a:t>Company GM%</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3.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6.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682501124"/>
      </p:ext>
    </p:extLst>
  </p:cSld>
  <p:clrMapOvr>
    <a:masterClrMapping/>
  </p:clrMapOvr>
</p:sld>
</file>

<file path=ppt/slides/slide7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2/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04</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June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Vol | Category vs. Malard Nicolas | NICOLAS RHO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02358333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005942">
                  <a:extLst>
                    <a:ext uri="{9D8B030D-6E8A-4147-A177-3AD203B41FA5}">
                      <a16:colId xmlns:a16="http://schemas.microsoft.com/office/drawing/2014/main" val="2253286919"/>
                    </a:ext>
                  </a:extLst>
                </a:gridCol>
                <a:gridCol w="1005942">
                  <a:extLst>
                    <a:ext uri="{9D8B030D-6E8A-4147-A177-3AD203B41FA5}">
                      <a16:colId xmlns:a16="http://schemas.microsoft.com/office/drawing/2014/main" val="154020430"/>
                    </a:ext>
                  </a:extLst>
                </a:gridCol>
                <a:gridCol w="1005942">
                  <a:extLst>
                    <a:ext uri="{9D8B030D-6E8A-4147-A177-3AD203B41FA5}">
                      <a16:colId xmlns:a16="http://schemas.microsoft.com/office/drawing/2014/main" val="3928813835"/>
                    </a:ext>
                  </a:extLst>
                </a:gridCol>
                <a:gridCol w="1005942">
                  <a:extLst>
                    <a:ext uri="{9D8B030D-6E8A-4147-A177-3AD203B41FA5}">
                      <a16:colId xmlns:a16="http://schemas.microsoft.com/office/drawing/2014/main" val="4099274801"/>
                    </a:ext>
                  </a:extLst>
                </a:gridCol>
                <a:gridCol w="1005942">
                  <a:extLst>
                    <a:ext uri="{9D8B030D-6E8A-4147-A177-3AD203B41FA5}">
                      <a16:colId xmlns:a16="http://schemas.microsoft.com/office/drawing/2014/main" val="3203434082"/>
                    </a:ext>
                  </a:extLst>
                </a:gridCol>
                <a:gridCol w="1005942">
                  <a:extLst>
                    <a:ext uri="{9D8B030D-6E8A-4147-A177-3AD203B41FA5}">
                      <a16:colId xmlns:a16="http://schemas.microsoft.com/office/drawing/2014/main" val="1306444463"/>
                    </a:ext>
                  </a:extLst>
                </a:gridCol>
                <a:gridCol w="1005942">
                  <a:extLst>
                    <a:ext uri="{9D8B030D-6E8A-4147-A177-3AD203B41FA5}">
                      <a16:colId xmlns:a16="http://schemas.microsoft.com/office/drawing/2014/main" val="2052677327"/>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8.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45"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005948">
                  <a:extLst>
                    <a:ext uri="{9D8B030D-6E8A-4147-A177-3AD203B41FA5}">
                      <a16:colId xmlns:a16="http://schemas.microsoft.com/office/drawing/2014/main" val="2253286919"/>
                    </a:ext>
                  </a:extLst>
                </a:gridCol>
                <a:gridCol w="1005948">
                  <a:extLst>
                    <a:ext uri="{9D8B030D-6E8A-4147-A177-3AD203B41FA5}">
                      <a16:colId xmlns:a16="http://schemas.microsoft.com/office/drawing/2014/main" val="154020430"/>
                    </a:ext>
                  </a:extLst>
                </a:gridCol>
                <a:gridCol w="1005948">
                  <a:extLst>
                    <a:ext uri="{9D8B030D-6E8A-4147-A177-3AD203B41FA5}">
                      <a16:colId xmlns:a16="http://schemas.microsoft.com/office/drawing/2014/main" val="3928813835"/>
                    </a:ext>
                  </a:extLst>
                </a:gridCol>
                <a:gridCol w="1005948">
                  <a:extLst>
                    <a:ext uri="{9D8B030D-6E8A-4147-A177-3AD203B41FA5}">
                      <a16:colId xmlns:a16="http://schemas.microsoft.com/office/drawing/2014/main" val="4099274801"/>
                    </a:ext>
                  </a:extLst>
                </a:gridCol>
                <a:gridCol w="1005948">
                  <a:extLst>
                    <a:ext uri="{9D8B030D-6E8A-4147-A177-3AD203B41FA5}">
                      <a16:colId xmlns:a16="http://schemas.microsoft.com/office/drawing/2014/main" val="3203434082"/>
                    </a:ext>
                  </a:extLst>
                </a:gridCol>
                <a:gridCol w="1005948">
                  <a:extLst>
                    <a:ext uri="{9D8B030D-6E8A-4147-A177-3AD203B41FA5}">
                      <a16:colId xmlns:a16="http://schemas.microsoft.com/office/drawing/2014/main" val="1306444463"/>
                    </a:ext>
                  </a:extLst>
                </a:gridCol>
                <a:gridCol w="1005948">
                  <a:extLst>
                    <a:ext uri="{9D8B030D-6E8A-4147-A177-3AD203B41FA5}">
                      <a16:colId xmlns:a16="http://schemas.microsoft.com/office/drawing/2014/main" val="2052677327"/>
                    </a:ext>
                  </a:extLst>
                </a:gridCol>
              </a:tblGrid>
              <a:tr h="252000">
                <a:tc>
                  <a:txBody>
                    <a:bodyPr/>
                    <a:lstStyle/>
                    <a:p>
                      <a:r>
                        <a:rPr sz="700">
                          <a:solidFill>
                            <a:srgbClr val="FFFFFF"/>
                          </a:solidFill>
                        </a:rPr>
                        <a:t>Company GM%</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4.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6.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262141689"/>
      </p:ext>
    </p:extLst>
  </p:cSld>
  <p:clrMapOvr>
    <a:masterClrMapping/>
  </p:clrMapOvr>
</p:sld>
</file>

<file path=ppt/slides/slide7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2/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05</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June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Vol | Category vs. Malard Nicolas | NICOLAS AQU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02358333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880200">
                  <a:extLst>
                    <a:ext uri="{9D8B030D-6E8A-4147-A177-3AD203B41FA5}">
                      <a16:colId xmlns:a16="http://schemas.microsoft.com/office/drawing/2014/main" val="2253286919"/>
                    </a:ext>
                  </a:extLst>
                </a:gridCol>
                <a:gridCol w="880200">
                  <a:extLst>
                    <a:ext uri="{9D8B030D-6E8A-4147-A177-3AD203B41FA5}">
                      <a16:colId xmlns:a16="http://schemas.microsoft.com/office/drawing/2014/main" val="154020430"/>
                    </a:ext>
                  </a:extLst>
                </a:gridCol>
                <a:gridCol w="880200">
                  <a:extLst>
                    <a:ext uri="{9D8B030D-6E8A-4147-A177-3AD203B41FA5}">
                      <a16:colId xmlns:a16="http://schemas.microsoft.com/office/drawing/2014/main" val="3928813835"/>
                    </a:ext>
                  </a:extLst>
                </a:gridCol>
                <a:gridCol w="880200">
                  <a:extLst>
                    <a:ext uri="{9D8B030D-6E8A-4147-A177-3AD203B41FA5}">
                      <a16:colId xmlns:a16="http://schemas.microsoft.com/office/drawing/2014/main" val="4099274801"/>
                    </a:ext>
                  </a:extLst>
                </a:gridCol>
                <a:gridCol w="880200">
                  <a:extLst>
                    <a:ext uri="{9D8B030D-6E8A-4147-A177-3AD203B41FA5}">
                      <a16:colId xmlns:a16="http://schemas.microsoft.com/office/drawing/2014/main" val="3203434082"/>
                    </a:ext>
                  </a:extLst>
                </a:gridCol>
                <a:gridCol w="880200">
                  <a:extLst>
                    <a:ext uri="{9D8B030D-6E8A-4147-A177-3AD203B41FA5}">
                      <a16:colId xmlns:a16="http://schemas.microsoft.com/office/drawing/2014/main" val="1306444463"/>
                    </a:ext>
                  </a:extLst>
                </a:gridCol>
                <a:gridCol w="880200">
                  <a:extLst>
                    <a:ext uri="{9D8B030D-6E8A-4147-A177-3AD203B41FA5}">
                      <a16:colId xmlns:a16="http://schemas.microsoft.com/office/drawing/2014/main" val="2052677327"/>
                    </a:ext>
                  </a:extLst>
                </a:gridCol>
                <a:gridCol w="880200">
                  <a:extLst>
                    <a:ext uri="{9D8B030D-6E8A-4147-A177-3AD203B41FA5}">
                      <a16:colId xmlns:a16="http://schemas.microsoft.com/office/drawing/2014/main" val="1311887603"/>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5.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6.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4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880205">
                  <a:extLst>
                    <a:ext uri="{9D8B030D-6E8A-4147-A177-3AD203B41FA5}">
                      <a16:colId xmlns:a16="http://schemas.microsoft.com/office/drawing/2014/main" val="2253286919"/>
                    </a:ext>
                  </a:extLst>
                </a:gridCol>
                <a:gridCol w="880205">
                  <a:extLst>
                    <a:ext uri="{9D8B030D-6E8A-4147-A177-3AD203B41FA5}">
                      <a16:colId xmlns:a16="http://schemas.microsoft.com/office/drawing/2014/main" val="154020430"/>
                    </a:ext>
                  </a:extLst>
                </a:gridCol>
                <a:gridCol w="880205">
                  <a:extLst>
                    <a:ext uri="{9D8B030D-6E8A-4147-A177-3AD203B41FA5}">
                      <a16:colId xmlns:a16="http://schemas.microsoft.com/office/drawing/2014/main" val="3928813835"/>
                    </a:ext>
                  </a:extLst>
                </a:gridCol>
                <a:gridCol w="880205">
                  <a:extLst>
                    <a:ext uri="{9D8B030D-6E8A-4147-A177-3AD203B41FA5}">
                      <a16:colId xmlns:a16="http://schemas.microsoft.com/office/drawing/2014/main" val="4099274801"/>
                    </a:ext>
                  </a:extLst>
                </a:gridCol>
                <a:gridCol w="880205">
                  <a:extLst>
                    <a:ext uri="{9D8B030D-6E8A-4147-A177-3AD203B41FA5}">
                      <a16:colId xmlns:a16="http://schemas.microsoft.com/office/drawing/2014/main" val="3203434082"/>
                    </a:ext>
                  </a:extLst>
                </a:gridCol>
                <a:gridCol w="880205">
                  <a:extLst>
                    <a:ext uri="{9D8B030D-6E8A-4147-A177-3AD203B41FA5}">
                      <a16:colId xmlns:a16="http://schemas.microsoft.com/office/drawing/2014/main" val="1306444463"/>
                    </a:ext>
                  </a:extLst>
                </a:gridCol>
                <a:gridCol w="880205">
                  <a:extLst>
                    <a:ext uri="{9D8B030D-6E8A-4147-A177-3AD203B41FA5}">
                      <a16:colId xmlns:a16="http://schemas.microsoft.com/office/drawing/2014/main" val="2052677327"/>
                    </a:ext>
                  </a:extLst>
                </a:gridCol>
                <a:gridCol w="880205">
                  <a:extLst>
                    <a:ext uri="{9D8B030D-6E8A-4147-A177-3AD203B41FA5}">
                      <a16:colId xmlns:a16="http://schemas.microsoft.com/office/drawing/2014/main" val="1311887603"/>
                    </a:ext>
                  </a:extLst>
                </a:gridCol>
              </a:tblGrid>
              <a:tr h="252000">
                <a:tc>
                  <a:txBody>
                    <a:bodyPr/>
                    <a:lstStyle/>
                    <a:p>
                      <a:r>
                        <a:rPr sz="700">
                          <a:solidFill>
                            <a:srgbClr val="FFFFFF"/>
                          </a:solidFill>
                        </a:rPr>
                        <a:t>Company GM%</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3.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6.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225366059"/>
      </p:ext>
    </p:extLst>
  </p:cSld>
  <p:clrMapOvr>
    <a:masterClrMapping/>
  </p:clrMapOvr>
</p:sld>
</file>

<file path=ppt/slides/slide7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2/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06</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June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Vol | Category vs. Malard Nicolas | NICOLAS 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02358333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005942">
                  <a:extLst>
                    <a:ext uri="{9D8B030D-6E8A-4147-A177-3AD203B41FA5}">
                      <a16:colId xmlns:a16="http://schemas.microsoft.com/office/drawing/2014/main" val="2253286919"/>
                    </a:ext>
                  </a:extLst>
                </a:gridCol>
                <a:gridCol w="1005942">
                  <a:extLst>
                    <a:ext uri="{9D8B030D-6E8A-4147-A177-3AD203B41FA5}">
                      <a16:colId xmlns:a16="http://schemas.microsoft.com/office/drawing/2014/main" val="154020430"/>
                    </a:ext>
                  </a:extLst>
                </a:gridCol>
                <a:gridCol w="1005942">
                  <a:extLst>
                    <a:ext uri="{9D8B030D-6E8A-4147-A177-3AD203B41FA5}">
                      <a16:colId xmlns:a16="http://schemas.microsoft.com/office/drawing/2014/main" val="3928813835"/>
                    </a:ext>
                  </a:extLst>
                </a:gridCol>
                <a:gridCol w="1005942">
                  <a:extLst>
                    <a:ext uri="{9D8B030D-6E8A-4147-A177-3AD203B41FA5}">
                      <a16:colId xmlns:a16="http://schemas.microsoft.com/office/drawing/2014/main" val="4099274801"/>
                    </a:ext>
                  </a:extLst>
                </a:gridCol>
                <a:gridCol w="1005942">
                  <a:extLst>
                    <a:ext uri="{9D8B030D-6E8A-4147-A177-3AD203B41FA5}">
                      <a16:colId xmlns:a16="http://schemas.microsoft.com/office/drawing/2014/main" val="3203434082"/>
                    </a:ext>
                  </a:extLst>
                </a:gridCol>
                <a:gridCol w="1005942">
                  <a:extLst>
                    <a:ext uri="{9D8B030D-6E8A-4147-A177-3AD203B41FA5}">
                      <a16:colId xmlns:a16="http://schemas.microsoft.com/office/drawing/2014/main" val="1306444463"/>
                    </a:ext>
                  </a:extLst>
                </a:gridCol>
                <a:gridCol w="1005942">
                  <a:extLst>
                    <a:ext uri="{9D8B030D-6E8A-4147-A177-3AD203B41FA5}">
                      <a16:colId xmlns:a16="http://schemas.microsoft.com/office/drawing/2014/main" val="2052677327"/>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6.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7.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45"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005948">
                  <a:extLst>
                    <a:ext uri="{9D8B030D-6E8A-4147-A177-3AD203B41FA5}">
                      <a16:colId xmlns:a16="http://schemas.microsoft.com/office/drawing/2014/main" val="2253286919"/>
                    </a:ext>
                  </a:extLst>
                </a:gridCol>
                <a:gridCol w="1005948">
                  <a:extLst>
                    <a:ext uri="{9D8B030D-6E8A-4147-A177-3AD203B41FA5}">
                      <a16:colId xmlns:a16="http://schemas.microsoft.com/office/drawing/2014/main" val="154020430"/>
                    </a:ext>
                  </a:extLst>
                </a:gridCol>
                <a:gridCol w="1005948">
                  <a:extLst>
                    <a:ext uri="{9D8B030D-6E8A-4147-A177-3AD203B41FA5}">
                      <a16:colId xmlns:a16="http://schemas.microsoft.com/office/drawing/2014/main" val="3928813835"/>
                    </a:ext>
                  </a:extLst>
                </a:gridCol>
                <a:gridCol w="1005948">
                  <a:extLst>
                    <a:ext uri="{9D8B030D-6E8A-4147-A177-3AD203B41FA5}">
                      <a16:colId xmlns:a16="http://schemas.microsoft.com/office/drawing/2014/main" val="4099274801"/>
                    </a:ext>
                  </a:extLst>
                </a:gridCol>
                <a:gridCol w="1005948">
                  <a:extLst>
                    <a:ext uri="{9D8B030D-6E8A-4147-A177-3AD203B41FA5}">
                      <a16:colId xmlns:a16="http://schemas.microsoft.com/office/drawing/2014/main" val="3203434082"/>
                    </a:ext>
                  </a:extLst>
                </a:gridCol>
                <a:gridCol w="1005948">
                  <a:extLst>
                    <a:ext uri="{9D8B030D-6E8A-4147-A177-3AD203B41FA5}">
                      <a16:colId xmlns:a16="http://schemas.microsoft.com/office/drawing/2014/main" val="1306444463"/>
                    </a:ext>
                  </a:extLst>
                </a:gridCol>
                <a:gridCol w="1005948">
                  <a:extLst>
                    <a:ext uri="{9D8B030D-6E8A-4147-A177-3AD203B41FA5}">
                      <a16:colId xmlns:a16="http://schemas.microsoft.com/office/drawing/2014/main" val="2052677327"/>
                    </a:ext>
                  </a:extLst>
                </a:gridCol>
              </a:tblGrid>
              <a:tr h="252000">
                <a:tc>
                  <a:txBody>
                    <a:bodyPr/>
                    <a:lstStyle/>
                    <a:p>
                      <a:r>
                        <a:rPr sz="700">
                          <a:solidFill>
                            <a:srgbClr val="FFFFFF"/>
                          </a:solidFill>
                        </a:rPr>
                        <a:t>Company GM%</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2.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6.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522671625"/>
      </p:ext>
    </p:extLst>
  </p:cSld>
  <p:clrMapOvr>
    <a:masterClrMapping/>
  </p:clrMapOvr>
</p:sld>
</file>

<file path=ppt/slides/slide7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2/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07</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June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Vol | Category vs. Malard Nicolas | CA A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02358333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880200">
                  <a:extLst>
                    <a:ext uri="{9D8B030D-6E8A-4147-A177-3AD203B41FA5}">
                      <a16:colId xmlns:a16="http://schemas.microsoft.com/office/drawing/2014/main" val="2253286919"/>
                    </a:ext>
                  </a:extLst>
                </a:gridCol>
                <a:gridCol w="880200">
                  <a:extLst>
                    <a:ext uri="{9D8B030D-6E8A-4147-A177-3AD203B41FA5}">
                      <a16:colId xmlns:a16="http://schemas.microsoft.com/office/drawing/2014/main" val="154020430"/>
                    </a:ext>
                  </a:extLst>
                </a:gridCol>
                <a:gridCol w="880200">
                  <a:extLst>
                    <a:ext uri="{9D8B030D-6E8A-4147-A177-3AD203B41FA5}">
                      <a16:colId xmlns:a16="http://schemas.microsoft.com/office/drawing/2014/main" val="3928813835"/>
                    </a:ext>
                  </a:extLst>
                </a:gridCol>
                <a:gridCol w="880200">
                  <a:extLst>
                    <a:ext uri="{9D8B030D-6E8A-4147-A177-3AD203B41FA5}">
                      <a16:colId xmlns:a16="http://schemas.microsoft.com/office/drawing/2014/main" val="4099274801"/>
                    </a:ext>
                  </a:extLst>
                </a:gridCol>
                <a:gridCol w="880200">
                  <a:extLst>
                    <a:ext uri="{9D8B030D-6E8A-4147-A177-3AD203B41FA5}">
                      <a16:colId xmlns:a16="http://schemas.microsoft.com/office/drawing/2014/main" val="3203434082"/>
                    </a:ext>
                  </a:extLst>
                </a:gridCol>
                <a:gridCol w="880200">
                  <a:extLst>
                    <a:ext uri="{9D8B030D-6E8A-4147-A177-3AD203B41FA5}">
                      <a16:colId xmlns:a16="http://schemas.microsoft.com/office/drawing/2014/main" val="1306444463"/>
                    </a:ext>
                  </a:extLst>
                </a:gridCol>
                <a:gridCol w="880200">
                  <a:extLst>
                    <a:ext uri="{9D8B030D-6E8A-4147-A177-3AD203B41FA5}">
                      <a16:colId xmlns:a16="http://schemas.microsoft.com/office/drawing/2014/main" val="2052677327"/>
                    </a:ext>
                  </a:extLst>
                </a:gridCol>
                <a:gridCol w="880200">
                  <a:extLst>
                    <a:ext uri="{9D8B030D-6E8A-4147-A177-3AD203B41FA5}">
                      <a16:colId xmlns:a16="http://schemas.microsoft.com/office/drawing/2014/main" val="1311887603"/>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9.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1.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4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880205">
                  <a:extLst>
                    <a:ext uri="{9D8B030D-6E8A-4147-A177-3AD203B41FA5}">
                      <a16:colId xmlns:a16="http://schemas.microsoft.com/office/drawing/2014/main" val="2253286919"/>
                    </a:ext>
                  </a:extLst>
                </a:gridCol>
                <a:gridCol w="880205">
                  <a:extLst>
                    <a:ext uri="{9D8B030D-6E8A-4147-A177-3AD203B41FA5}">
                      <a16:colId xmlns:a16="http://schemas.microsoft.com/office/drawing/2014/main" val="154020430"/>
                    </a:ext>
                  </a:extLst>
                </a:gridCol>
                <a:gridCol w="880205">
                  <a:extLst>
                    <a:ext uri="{9D8B030D-6E8A-4147-A177-3AD203B41FA5}">
                      <a16:colId xmlns:a16="http://schemas.microsoft.com/office/drawing/2014/main" val="3928813835"/>
                    </a:ext>
                  </a:extLst>
                </a:gridCol>
                <a:gridCol w="880205">
                  <a:extLst>
                    <a:ext uri="{9D8B030D-6E8A-4147-A177-3AD203B41FA5}">
                      <a16:colId xmlns:a16="http://schemas.microsoft.com/office/drawing/2014/main" val="4099274801"/>
                    </a:ext>
                  </a:extLst>
                </a:gridCol>
                <a:gridCol w="880205">
                  <a:extLst>
                    <a:ext uri="{9D8B030D-6E8A-4147-A177-3AD203B41FA5}">
                      <a16:colId xmlns:a16="http://schemas.microsoft.com/office/drawing/2014/main" val="3203434082"/>
                    </a:ext>
                  </a:extLst>
                </a:gridCol>
                <a:gridCol w="880205">
                  <a:extLst>
                    <a:ext uri="{9D8B030D-6E8A-4147-A177-3AD203B41FA5}">
                      <a16:colId xmlns:a16="http://schemas.microsoft.com/office/drawing/2014/main" val="1306444463"/>
                    </a:ext>
                  </a:extLst>
                </a:gridCol>
                <a:gridCol w="880205">
                  <a:extLst>
                    <a:ext uri="{9D8B030D-6E8A-4147-A177-3AD203B41FA5}">
                      <a16:colId xmlns:a16="http://schemas.microsoft.com/office/drawing/2014/main" val="2052677327"/>
                    </a:ext>
                  </a:extLst>
                </a:gridCol>
                <a:gridCol w="880205">
                  <a:extLst>
                    <a:ext uri="{9D8B030D-6E8A-4147-A177-3AD203B41FA5}">
                      <a16:colId xmlns:a16="http://schemas.microsoft.com/office/drawing/2014/main" val="1311887603"/>
                    </a:ext>
                  </a:extLst>
                </a:gridCol>
              </a:tblGrid>
              <a:tr h="252000">
                <a:tc>
                  <a:txBody>
                    <a:bodyPr/>
                    <a:lstStyle/>
                    <a:p>
                      <a:r>
                        <a:rPr sz="700">
                          <a:solidFill>
                            <a:srgbClr val="FFFFFF"/>
                          </a:solidFill>
                        </a:rPr>
                        <a:t>Company GM%</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3.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59592163"/>
      </p:ext>
    </p:extLst>
  </p:cSld>
  <p:clrMapOvr>
    <a:masterClrMapping/>
  </p:clrMapOvr>
</p:sld>
</file>

<file path=ppt/slides/slide7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2/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08</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June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Vol | Category vs. Malard Nicolas | CA B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02358333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782400">
                  <a:extLst>
                    <a:ext uri="{9D8B030D-6E8A-4147-A177-3AD203B41FA5}">
                      <a16:colId xmlns:a16="http://schemas.microsoft.com/office/drawing/2014/main" val="2253286919"/>
                    </a:ext>
                  </a:extLst>
                </a:gridCol>
                <a:gridCol w="782400">
                  <a:extLst>
                    <a:ext uri="{9D8B030D-6E8A-4147-A177-3AD203B41FA5}">
                      <a16:colId xmlns:a16="http://schemas.microsoft.com/office/drawing/2014/main" val="154020430"/>
                    </a:ext>
                  </a:extLst>
                </a:gridCol>
                <a:gridCol w="782400">
                  <a:extLst>
                    <a:ext uri="{9D8B030D-6E8A-4147-A177-3AD203B41FA5}">
                      <a16:colId xmlns:a16="http://schemas.microsoft.com/office/drawing/2014/main" val="3928813835"/>
                    </a:ext>
                  </a:extLst>
                </a:gridCol>
                <a:gridCol w="782400">
                  <a:extLst>
                    <a:ext uri="{9D8B030D-6E8A-4147-A177-3AD203B41FA5}">
                      <a16:colId xmlns:a16="http://schemas.microsoft.com/office/drawing/2014/main" val="4099274801"/>
                    </a:ext>
                  </a:extLst>
                </a:gridCol>
                <a:gridCol w="782400">
                  <a:extLst>
                    <a:ext uri="{9D8B030D-6E8A-4147-A177-3AD203B41FA5}">
                      <a16:colId xmlns:a16="http://schemas.microsoft.com/office/drawing/2014/main" val="3203434082"/>
                    </a:ext>
                  </a:extLst>
                </a:gridCol>
                <a:gridCol w="782400">
                  <a:extLst>
                    <a:ext uri="{9D8B030D-6E8A-4147-A177-3AD203B41FA5}">
                      <a16:colId xmlns:a16="http://schemas.microsoft.com/office/drawing/2014/main" val="1306444463"/>
                    </a:ext>
                  </a:extLst>
                </a:gridCol>
                <a:gridCol w="782400">
                  <a:extLst>
                    <a:ext uri="{9D8B030D-6E8A-4147-A177-3AD203B41FA5}">
                      <a16:colId xmlns:a16="http://schemas.microsoft.com/office/drawing/2014/main" val="2052677327"/>
                    </a:ext>
                  </a:extLst>
                </a:gridCol>
                <a:gridCol w="782400">
                  <a:extLst>
                    <a:ext uri="{9D8B030D-6E8A-4147-A177-3AD203B41FA5}">
                      <a16:colId xmlns:a16="http://schemas.microsoft.com/office/drawing/2014/main" val="1311887603"/>
                    </a:ext>
                  </a:extLst>
                </a:gridCol>
                <a:gridCol w="782400">
                  <a:extLst>
                    <a:ext uri="{9D8B030D-6E8A-4147-A177-3AD203B41FA5}">
                      <a16:colId xmlns:a16="http://schemas.microsoft.com/office/drawing/2014/main" val="2227414998"/>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3.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3.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5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782405">
                  <a:extLst>
                    <a:ext uri="{9D8B030D-6E8A-4147-A177-3AD203B41FA5}">
                      <a16:colId xmlns:a16="http://schemas.microsoft.com/office/drawing/2014/main" val="2253286919"/>
                    </a:ext>
                  </a:extLst>
                </a:gridCol>
                <a:gridCol w="782405">
                  <a:extLst>
                    <a:ext uri="{9D8B030D-6E8A-4147-A177-3AD203B41FA5}">
                      <a16:colId xmlns:a16="http://schemas.microsoft.com/office/drawing/2014/main" val="154020430"/>
                    </a:ext>
                  </a:extLst>
                </a:gridCol>
                <a:gridCol w="782405">
                  <a:extLst>
                    <a:ext uri="{9D8B030D-6E8A-4147-A177-3AD203B41FA5}">
                      <a16:colId xmlns:a16="http://schemas.microsoft.com/office/drawing/2014/main" val="3928813835"/>
                    </a:ext>
                  </a:extLst>
                </a:gridCol>
                <a:gridCol w="782405">
                  <a:extLst>
                    <a:ext uri="{9D8B030D-6E8A-4147-A177-3AD203B41FA5}">
                      <a16:colId xmlns:a16="http://schemas.microsoft.com/office/drawing/2014/main" val="4099274801"/>
                    </a:ext>
                  </a:extLst>
                </a:gridCol>
                <a:gridCol w="782405">
                  <a:extLst>
                    <a:ext uri="{9D8B030D-6E8A-4147-A177-3AD203B41FA5}">
                      <a16:colId xmlns:a16="http://schemas.microsoft.com/office/drawing/2014/main" val="3203434082"/>
                    </a:ext>
                  </a:extLst>
                </a:gridCol>
                <a:gridCol w="782405">
                  <a:extLst>
                    <a:ext uri="{9D8B030D-6E8A-4147-A177-3AD203B41FA5}">
                      <a16:colId xmlns:a16="http://schemas.microsoft.com/office/drawing/2014/main" val="1306444463"/>
                    </a:ext>
                  </a:extLst>
                </a:gridCol>
                <a:gridCol w="782405">
                  <a:extLst>
                    <a:ext uri="{9D8B030D-6E8A-4147-A177-3AD203B41FA5}">
                      <a16:colId xmlns:a16="http://schemas.microsoft.com/office/drawing/2014/main" val="2052677327"/>
                    </a:ext>
                  </a:extLst>
                </a:gridCol>
                <a:gridCol w="782405">
                  <a:extLst>
                    <a:ext uri="{9D8B030D-6E8A-4147-A177-3AD203B41FA5}">
                      <a16:colId xmlns:a16="http://schemas.microsoft.com/office/drawing/2014/main" val="1311887603"/>
                    </a:ext>
                  </a:extLst>
                </a:gridCol>
                <a:gridCol w="782405">
                  <a:extLst>
                    <a:ext uri="{9D8B030D-6E8A-4147-A177-3AD203B41FA5}">
                      <a16:colId xmlns:a16="http://schemas.microsoft.com/office/drawing/2014/main" val="2227414998"/>
                    </a:ext>
                  </a:extLst>
                </a:gridCol>
              </a:tblGrid>
              <a:tr h="252000">
                <a:tc>
                  <a:txBody>
                    <a:bodyPr/>
                    <a:lstStyle/>
                    <a:p>
                      <a:r>
                        <a:rPr sz="700">
                          <a:solidFill>
                            <a:srgbClr val="FFFFFF"/>
                          </a:solidFill>
                        </a:rPr>
                        <a:t>Company GM%</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3.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97132960"/>
      </p:ext>
    </p:extLst>
  </p:cSld>
  <p:clrMapOvr>
    <a:masterClrMapping/>
  </p:clrMapOvr>
</p:sld>
</file>

<file path=ppt/slides/slide7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2/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09</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June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Vol | Category vs. Malard Nicolas | CA C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02358333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880200">
                  <a:extLst>
                    <a:ext uri="{9D8B030D-6E8A-4147-A177-3AD203B41FA5}">
                      <a16:colId xmlns:a16="http://schemas.microsoft.com/office/drawing/2014/main" val="2253286919"/>
                    </a:ext>
                  </a:extLst>
                </a:gridCol>
                <a:gridCol w="880200">
                  <a:extLst>
                    <a:ext uri="{9D8B030D-6E8A-4147-A177-3AD203B41FA5}">
                      <a16:colId xmlns:a16="http://schemas.microsoft.com/office/drawing/2014/main" val="154020430"/>
                    </a:ext>
                  </a:extLst>
                </a:gridCol>
                <a:gridCol w="880200">
                  <a:extLst>
                    <a:ext uri="{9D8B030D-6E8A-4147-A177-3AD203B41FA5}">
                      <a16:colId xmlns:a16="http://schemas.microsoft.com/office/drawing/2014/main" val="3928813835"/>
                    </a:ext>
                  </a:extLst>
                </a:gridCol>
                <a:gridCol w="880200">
                  <a:extLst>
                    <a:ext uri="{9D8B030D-6E8A-4147-A177-3AD203B41FA5}">
                      <a16:colId xmlns:a16="http://schemas.microsoft.com/office/drawing/2014/main" val="4099274801"/>
                    </a:ext>
                  </a:extLst>
                </a:gridCol>
                <a:gridCol w="880200">
                  <a:extLst>
                    <a:ext uri="{9D8B030D-6E8A-4147-A177-3AD203B41FA5}">
                      <a16:colId xmlns:a16="http://schemas.microsoft.com/office/drawing/2014/main" val="3203434082"/>
                    </a:ext>
                  </a:extLst>
                </a:gridCol>
                <a:gridCol w="880200">
                  <a:extLst>
                    <a:ext uri="{9D8B030D-6E8A-4147-A177-3AD203B41FA5}">
                      <a16:colId xmlns:a16="http://schemas.microsoft.com/office/drawing/2014/main" val="1306444463"/>
                    </a:ext>
                  </a:extLst>
                </a:gridCol>
                <a:gridCol w="880200">
                  <a:extLst>
                    <a:ext uri="{9D8B030D-6E8A-4147-A177-3AD203B41FA5}">
                      <a16:colId xmlns:a16="http://schemas.microsoft.com/office/drawing/2014/main" val="2052677327"/>
                    </a:ext>
                  </a:extLst>
                </a:gridCol>
                <a:gridCol w="880200">
                  <a:extLst>
                    <a:ext uri="{9D8B030D-6E8A-4147-A177-3AD203B41FA5}">
                      <a16:colId xmlns:a16="http://schemas.microsoft.com/office/drawing/2014/main" val="1311887603"/>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2.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2.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4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880205">
                  <a:extLst>
                    <a:ext uri="{9D8B030D-6E8A-4147-A177-3AD203B41FA5}">
                      <a16:colId xmlns:a16="http://schemas.microsoft.com/office/drawing/2014/main" val="2253286919"/>
                    </a:ext>
                  </a:extLst>
                </a:gridCol>
                <a:gridCol w="880205">
                  <a:extLst>
                    <a:ext uri="{9D8B030D-6E8A-4147-A177-3AD203B41FA5}">
                      <a16:colId xmlns:a16="http://schemas.microsoft.com/office/drawing/2014/main" val="154020430"/>
                    </a:ext>
                  </a:extLst>
                </a:gridCol>
                <a:gridCol w="880205">
                  <a:extLst>
                    <a:ext uri="{9D8B030D-6E8A-4147-A177-3AD203B41FA5}">
                      <a16:colId xmlns:a16="http://schemas.microsoft.com/office/drawing/2014/main" val="3928813835"/>
                    </a:ext>
                  </a:extLst>
                </a:gridCol>
                <a:gridCol w="880205">
                  <a:extLst>
                    <a:ext uri="{9D8B030D-6E8A-4147-A177-3AD203B41FA5}">
                      <a16:colId xmlns:a16="http://schemas.microsoft.com/office/drawing/2014/main" val="4099274801"/>
                    </a:ext>
                  </a:extLst>
                </a:gridCol>
                <a:gridCol w="880205">
                  <a:extLst>
                    <a:ext uri="{9D8B030D-6E8A-4147-A177-3AD203B41FA5}">
                      <a16:colId xmlns:a16="http://schemas.microsoft.com/office/drawing/2014/main" val="3203434082"/>
                    </a:ext>
                  </a:extLst>
                </a:gridCol>
                <a:gridCol w="880205">
                  <a:extLst>
                    <a:ext uri="{9D8B030D-6E8A-4147-A177-3AD203B41FA5}">
                      <a16:colId xmlns:a16="http://schemas.microsoft.com/office/drawing/2014/main" val="1306444463"/>
                    </a:ext>
                  </a:extLst>
                </a:gridCol>
                <a:gridCol w="880205">
                  <a:extLst>
                    <a:ext uri="{9D8B030D-6E8A-4147-A177-3AD203B41FA5}">
                      <a16:colId xmlns:a16="http://schemas.microsoft.com/office/drawing/2014/main" val="2052677327"/>
                    </a:ext>
                  </a:extLst>
                </a:gridCol>
                <a:gridCol w="880205">
                  <a:extLst>
                    <a:ext uri="{9D8B030D-6E8A-4147-A177-3AD203B41FA5}">
                      <a16:colId xmlns:a16="http://schemas.microsoft.com/office/drawing/2014/main" val="1311887603"/>
                    </a:ext>
                  </a:extLst>
                </a:gridCol>
              </a:tblGrid>
              <a:tr h="252000">
                <a:tc>
                  <a:txBody>
                    <a:bodyPr/>
                    <a:lstStyle/>
                    <a:p>
                      <a:r>
                        <a:rPr sz="700">
                          <a:solidFill>
                            <a:srgbClr val="FFFFFF"/>
                          </a:solidFill>
                        </a:rPr>
                        <a:t>Company GM%</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3.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891476295"/>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08FC55-424A-ACCC-676F-44C3CCC9796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415BD49-9CDB-C892-E279-946572C3A129}"/>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BE947E9A-9EDC-50FE-5484-367359C894D7}"/>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6A5025B9-0C85-A050-B069-0AC43B6B8204}"/>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1004F20C-B07D-4614-4481-965EA185837B}"/>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A91D8E7D-FEEC-5BA1-EB74-93E5E7482F85}"/>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1</a:t>
            </a:fld>
            <a:endParaRPr lang="en-US" noProof="0"/>
          </a:p>
        </p:txBody>
      </p:sp>
      <p:sp>
        <p:nvSpPr>
          <p:cNvPr id="37" name="Text Placeholder 36">
            <a:extLst>
              <a:ext uri="{FF2B5EF4-FFF2-40B4-BE49-F238E27FC236}">
                <a16:creationId xmlns:a16="http://schemas.microsoft.com/office/drawing/2014/main" id="{FA0F6888-D5CC-383A-47AD-80C683524A7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2E389274-4FCB-6DE6-41BB-F4D26E075546}"/>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egment | NICOLAS AQU | P12M</a:t>
            </a:r>
          </a:p>
        </p:txBody>
      </p:sp>
      <p:sp>
        <p:nvSpPr>
          <p:cNvPr id="2" name="Title 1">
            <a:extLst>
              <a:ext uri="{FF2B5EF4-FFF2-40B4-BE49-F238E27FC236}">
                <a16:creationId xmlns:a16="http://schemas.microsoft.com/office/drawing/2014/main" id="{0B37106B-65BB-38CE-2DE5-FACF202E6E13}"/>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3AD1043F-CB15-E170-B712-2A89D1DA680D}"/>
              </a:ext>
            </a:extLst>
          </p:cNvPr>
          <p:cNvGraphicFramePr>
            <a:graphicFrameLocks noGrp="1"/>
          </p:cNvGraphicFramePr>
          <p:nvPr>
            <p:ph idx="4294967295"/>
            <p:extLst>
              <p:ext uri="{D42A27DB-BD31-4B8C-83A1-F6EECF244321}">
                <p14:modId xmlns:p14="http://schemas.microsoft.com/office/powerpoint/2010/main" val="3037053607"/>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C7CB25F2-15EE-61CD-96F8-9E24F3CFB425}"/>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C8ACCE2D-6642-ED27-3E63-215D317EDF54}"/>
              </a:ext>
            </a:extLst>
          </p:cNvPr>
          <p:cNvGraphicFramePr>
            <a:graphicFrameLocks/>
          </p:cNvGraphicFramePr>
          <p:nvPr>
            <p:extLst>
              <p:ext uri="{D42A27DB-BD31-4B8C-83A1-F6EECF244321}">
                <p14:modId xmlns:p14="http://schemas.microsoft.com/office/powerpoint/2010/main" val="487289089"/>
              </p:ext>
            </p:extLst>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8D2AC029-204E-C851-0DBB-376972B8F647}"/>
              </a:ext>
            </a:extLst>
          </p:cNvPr>
          <p:cNvGraphicFramePr>
            <a:graphicFrameLocks/>
          </p:cNvGraphicFramePr>
          <p:nvPr>
            <p:extLst>
              <p:ext uri="{D42A27DB-BD31-4B8C-83A1-F6EECF244321}">
                <p14:modId xmlns:p14="http://schemas.microsoft.com/office/powerpoint/2010/main" val="3966162721"/>
              </p:ext>
            </p:extLst>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C1">
            <a:extLst>
              <a:ext uri="{FF2B5EF4-FFF2-40B4-BE49-F238E27FC236}">
                <a16:creationId xmlns:a16="http://schemas.microsoft.com/office/drawing/2014/main" id="{F3DC8CB2-3F2B-2774-573E-DFF620E84D4C}"/>
              </a:ext>
            </a:extLst>
          </p:cNvPr>
          <p:cNvGraphicFramePr>
            <a:graphicFrameLocks/>
          </p:cNvGraphicFramePr>
          <p:nvPr>
            <p:extLst>
              <p:ext uri="{D42A27DB-BD31-4B8C-83A1-F6EECF244321}">
                <p14:modId xmlns:p14="http://schemas.microsoft.com/office/powerpoint/2010/main" val="3251229971"/>
              </p:ext>
            </p:extLst>
          </p:nvPr>
        </p:nvGraphicFramePr>
        <p:xfrm>
          <a:off x="6566444" y="1354754"/>
          <a:ext cx="2268000" cy="3374309"/>
        </p:xfrm>
        <a:graphic>
          <a:graphicData uri="http://schemas.openxmlformats.org/drawingml/2006/chart">
            <c:chart xmlns:c="http://schemas.openxmlformats.org/drawingml/2006/chart" xmlns:r="http://schemas.openxmlformats.org/officeDocument/2006/relationships" r:id="rId8"/>
          </a:graphicData>
        </a:graphic>
      </p:graphicFrame>
      <p:sp>
        <p:nvSpPr>
          <p:cNvPr id="16" name="TextBox 15">
            <a:extLst>
              <a:ext uri="{FF2B5EF4-FFF2-40B4-BE49-F238E27FC236}">
                <a16:creationId xmlns:a16="http://schemas.microsoft.com/office/drawing/2014/main" id="{8C8CB6BD-A844-74EC-CFEC-C58CFCC7C5EC}"/>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B18FE6A9-85ED-634C-B0DB-D9A4E7A1AD69}"/>
              </a:ext>
            </a:extLst>
          </p:cNvPr>
          <p:cNvGraphicFramePr>
            <a:graphicFrameLocks noGrp="1"/>
          </p:cNvGraphicFramePr>
          <p:nvPr/>
        </p:nvGraphicFramePr>
        <p:xfrm>
          <a:off x="720534" y="1121410"/>
          <a:ext cx="8113912"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gridCol w="2028478">
                  <a:extLst>
                    <a:ext uri="{9D8B030D-6E8A-4147-A177-3AD203B41FA5}">
                      <a16:colId xmlns:a16="http://schemas.microsoft.com/office/drawing/2014/main" val="3571608413"/>
                    </a:ext>
                  </a:extLst>
                </a:gridCol>
              </a:tblGrid>
              <a:tr h="235994">
                <a:tc>
                  <a:txBody>
                    <a:bodyPr/>
                    <a:lstStyle/>
                    <a:p>
                      <a:pPr algn="ctr">
                        <a:defRPr sz="1100">
                          <a:latin typeface="Nexa Book"/>
                        </a:defRPr>
                      </a:pPr>
                      <a:r>
                        <a:rPr b="1">
                          <a:solidFill>
                            <a:srgbClr val="575555"/>
                          </a:solidFill>
                        </a:rPr>
                        <a:t>Millesimes</a:t>
                      </a:r>
                    </a:p>
                  </a:txBody>
                  <a:tcPr anchor="ctr">
                    <a:solidFill>
                      <a:schemeClr val="bg2"/>
                    </a:solidFill>
                  </a:tcPr>
                </a:tc>
                <a:tc>
                  <a:txBody>
                    <a:bodyPr/>
                    <a:lstStyle/>
                    <a:p>
                      <a:pPr algn="ctr">
                        <a:defRPr sz="1100">
                          <a:latin typeface="Nexa Book"/>
                        </a:defRPr>
                      </a:pPr>
                      <a:r>
                        <a:rPr b="1">
                          <a:solidFill>
                            <a:srgbClr val="575555"/>
                          </a:solidFill>
                        </a:rPr>
                        <a:t>Rosés</a:t>
                      </a:r>
                    </a:p>
                  </a:txBody>
                  <a:tcPr anchor="ctr">
                    <a:solidFill>
                      <a:schemeClr val="bg2"/>
                    </a:solidFill>
                  </a:tcPr>
                </a:tc>
                <a:tc>
                  <a:txBody>
                    <a:bodyPr/>
                    <a:lstStyle/>
                    <a:p>
                      <a:pPr algn="ctr">
                        <a:defRPr sz="1100">
                          <a:latin typeface="Nexa Book"/>
                        </a:defRPr>
                      </a:pPr>
                      <a:r>
                        <a:rPr b="1">
                          <a:solidFill>
                            <a:srgbClr val="575555"/>
                          </a:solidFill>
                        </a:rPr>
                        <a:t>Mousseux Bourgogne</a:t>
                      </a:r>
                    </a:p>
                  </a:txBody>
                  <a:tcPr anchor="ctr">
                    <a:solidFill>
                      <a:schemeClr val="bg2"/>
                    </a:solidFill>
                  </a:tcPr>
                </a:tc>
                <a:tc>
                  <a:txBody>
                    <a:bodyPr/>
                    <a:lstStyle/>
                    <a:p>
                      <a:pPr algn="ctr">
                        <a:defRPr sz="1100">
                          <a:latin typeface="Nexa Book"/>
                        </a:defRPr>
                      </a:pPr>
                      <a:r>
                        <a:rPr b="1">
                          <a:solidFill>
                            <a:srgbClr val="575555"/>
                          </a:solidFill>
                        </a:rPr>
                        <a:t>Mousseux Italiens</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2006543846"/>
      </p:ext>
    </p:extLst>
  </p:cSld>
  <p:clrMapOvr>
    <a:masterClrMapping/>
  </p:clrMapOvr>
</p:sld>
</file>

<file path=ppt/slides/slide7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2/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10</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June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Vol | Category vs. Malard Nicolas | CA D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02358333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782400">
                  <a:extLst>
                    <a:ext uri="{9D8B030D-6E8A-4147-A177-3AD203B41FA5}">
                      <a16:colId xmlns:a16="http://schemas.microsoft.com/office/drawing/2014/main" val="2253286919"/>
                    </a:ext>
                  </a:extLst>
                </a:gridCol>
                <a:gridCol w="782400">
                  <a:extLst>
                    <a:ext uri="{9D8B030D-6E8A-4147-A177-3AD203B41FA5}">
                      <a16:colId xmlns:a16="http://schemas.microsoft.com/office/drawing/2014/main" val="154020430"/>
                    </a:ext>
                  </a:extLst>
                </a:gridCol>
                <a:gridCol w="782400">
                  <a:extLst>
                    <a:ext uri="{9D8B030D-6E8A-4147-A177-3AD203B41FA5}">
                      <a16:colId xmlns:a16="http://schemas.microsoft.com/office/drawing/2014/main" val="3928813835"/>
                    </a:ext>
                  </a:extLst>
                </a:gridCol>
                <a:gridCol w="782400">
                  <a:extLst>
                    <a:ext uri="{9D8B030D-6E8A-4147-A177-3AD203B41FA5}">
                      <a16:colId xmlns:a16="http://schemas.microsoft.com/office/drawing/2014/main" val="4099274801"/>
                    </a:ext>
                  </a:extLst>
                </a:gridCol>
                <a:gridCol w="782400">
                  <a:extLst>
                    <a:ext uri="{9D8B030D-6E8A-4147-A177-3AD203B41FA5}">
                      <a16:colId xmlns:a16="http://schemas.microsoft.com/office/drawing/2014/main" val="3203434082"/>
                    </a:ext>
                  </a:extLst>
                </a:gridCol>
                <a:gridCol w="782400">
                  <a:extLst>
                    <a:ext uri="{9D8B030D-6E8A-4147-A177-3AD203B41FA5}">
                      <a16:colId xmlns:a16="http://schemas.microsoft.com/office/drawing/2014/main" val="1306444463"/>
                    </a:ext>
                  </a:extLst>
                </a:gridCol>
                <a:gridCol w="782400">
                  <a:extLst>
                    <a:ext uri="{9D8B030D-6E8A-4147-A177-3AD203B41FA5}">
                      <a16:colId xmlns:a16="http://schemas.microsoft.com/office/drawing/2014/main" val="2052677327"/>
                    </a:ext>
                  </a:extLst>
                </a:gridCol>
                <a:gridCol w="782400">
                  <a:extLst>
                    <a:ext uri="{9D8B030D-6E8A-4147-A177-3AD203B41FA5}">
                      <a16:colId xmlns:a16="http://schemas.microsoft.com/office/drawing/2014/main" val="1311887603"/>
                    </a:ext>
                  </a:extLst>
                </a:gridCol>
                <a:gridCol w="782400">
                  <a:extLst>
                    <a:ext uri="{9D8B030D-6E8A-4147-A177-3AD203B41FA5}">
                      <a16:colId xmlns:a16="http://schemas.microsoft.com/office/drawing/2014/main" val="2227414998"/>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1.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5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782405">
                  <a:extLst>
                    <a:ext uri="{9D8B030D-6E8A-4147-A177-3AD203B41FA5}">
                      <a16:colId xmlns:a16="http://schemas.microsoft.com/office/drawing/2014/main" val="2253286919"/>
                    </a:ext>
                  </a:extLst>
                </a:gridCol>
                <a:gridCol w="782405">
                  <a:extLst>
                    <a:ext uri="{9D8B030D-6E8A-4147-A177-3AD203B41FA5}">
                      <a16:colId xmlns:a16="http://schemas.microsoft.com/office/drawing/2014/main" val="154020430"/>
                    </a:ext>
                  </a:extLst>
                </a:gridCol>
                <a:gridCol w="782405">
                  <a:extLst>
                    <a:ext uri="{9D8B030D-6E8A-4147-A177-3AD203B41FA5}">
                      <a16:colId xmlns:a16="http://schemas.microsoft.com/office/drawing/2014/main" val="3928813835"/>
                    </a:ext>
                  </a:extLst>
                </a:gridCol>
                <a:gridCol w="782405">
                  <a:extLst>
                    <a:ext uri="{9D8B030D-6E8A-4147-A177-3AD203B41FA5}">
                      <a16:colId xmlns:a16="http://schemas.microsoft.com/office/drawing/2014/main" val="4099274801"/>
                    </a:ext>
                  </a:extLst>
                </a:gridCol>
                <a:gridCol w="782405">
                  <a:extLst>
                    <a:ext uri="{9D8B030D-6E8A-4147-A177-3AD203B41FA5}">
                      <a16:colId xmlns:a16="http://schemas.microsoft.com/office/drawing/2014/main" val="3203434082"/>
                    </a:ext>
                  </a:extLst>
                </a:gridCol>
                <a:gridCol w="782405">
                  <a:extLst>
                    <a:ext uri="{9D8B030D-6E8A-4147-A177-3AD203B41FA5}">
                      <a16:colId xmlns:a16="http://schemas.microsoft.com/office/drawing/2014/main" val="1306444463"/>
                    </a:ext>
                  </a:extLst>
                </a:gridCol>
                <a:gridCol w="782405">
                  <a:extLst>
                    <a:ext uri="{9D8B030D-6E8A-4147-A177-3AD203B41FA5}">
                      <a16:colId xmlns:a16="http://schemas.microsoft.com/office/drawing/2014/main" val="2052677327"/>
                    </a:ext>
                  </a:extLst>
                </a:gridCol>
                <a:gridCol w="782405">
                  <a:extLst>
                    <a:ext uri="{9D8B030D-6E8A-4147-A177-3AD203B41FA5}">
                      <a16:colId xmlns:a16="http://schemas.microsoft.com/office/drawing/2014/main" val="1311887603"/>
                    </a:ext>
                  </a:extLst>
                </a:gridCol>
                <a:gridCol w="782405">
                  <a:extLst>
                    <a:ext uri="{9D8B030D-6E8A-4147-A177-3AD203B41FA5}">
                      <a16:colId xmlns:a16="http://schemas.microsoft.com/office/drawing/2014/main" val="2227414998"/>
                    </a:ext>
                  </a:extLst>
                </a:gridCol>
              </a:tblGrid>
              <a:tr h="252000">
                <a:tc>
                  <a:txBody>
                    <a:bodyPr/>
                    <a:lstStyle/>
                    <a:p>
                      <a:r>
                        <a:rPr sz="700">
                          <a:solidFill>
                            <a:srgbClr val="FFFFFF"/>
                          </a:solidFill>
                        </a:rPr>
                        <a:t>Company GM%</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3.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562905693"/>
      </p:ext>
    </p:extLst>
  </p:cSld>
  <p:clrMapOvr>
    <a:masterClrMapping/>
  </p:clrMapOvr>
</p:sld>
</file>

<file path=ppt/slides/slide7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2/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11</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June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Vol | Category vs. Malard Nicolas | CA E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02358333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782400">
                  <a:extLst>
                    <a:ext uri="{9D8B030D-6E8A-4147-A177-3AD203B41FA5}">
                      <a16:colId xmlns:a16="http://schemas.microsoft.com/office/drawing/2014/main" val="2253286919"/>
                    </a:ext>
                  </a:extLst>
                </a:gridCol>
                <a:gridCol w="782400">
                  <a:extLst>
                    <a:ext uri="{9D8B030D-6E8A-4147-A177-3AD203B41FA5}">
                      <a16:colId xmlns:a16="http://schemas.microsoft.com/office/drawing/2014/main" val="154020430"/>
                    </a:ext>
                  </a:extLst>
                </a:gridCol>
                <a:gridCol w="782400">
                  <a:extLst>
                    <a:ext uri="{9D8B030D-6E8A-4147-A177-3AD203B41FA5}">
                      <a16:colId xmlns:a16="http://schemas.microsoft.com/office/drawing/2014/main" val="3928813835"/>
                    </a:ext>
                  </a:extLst>
                </a:gridCol>
                <a:gridCol w="782400">
                  <a:extLst>
                    <a:ext uri="{9D8B030D-6E8A-4147-A177-3AD203B41FA5}">
                      <a16:colId xmlns:a16="http://schemas.microsoft.com/office/drawing/2014/main" val="4099274801"/>
                    </a:ext>
                  </a:extLst>
                </a:gridCol>
                <a:gridCol w="782400">
                  <a:extLst>
                    <a:ext uri="{9D8B030D-6E8A-4147-A177-3AD203B41FA5}">
                      <a16:colId xmlns:a16="http://schemas.microsoft.com/office/drawing/2014/main" val="3203434082"/>
                    </a:ext>
                  </a:extLst>
                </a:gridCol>
                <a:gridCol w="782400">
                  <a:extLst>
                    <a:ext uri="{9D8B030D-6E8A-4147-A177-3AD203B41FA5}">
                      <a16:colId xmlns:a16="http://schemas.microsoft.com/office/drawing/2014/main" val="1306444463"/>
                    </a:ext>
                  </a:extLst>
                </a:gridCol>
                <a:gridCol w="782400">
                  <a:extLst>
                    <a:ext uri="{9D8B030D-6E8A-4147-A177-3AD203B41FA5}">
                      <a16:colId xmlns:a16="http://schemas.microsoft.com/office/drawing/2014/main" val="2052677327"/>
                    </a:ext>
                  </a:extLst>
                </a:gridCol>
                <a:gridCol w="782400">
                  <a:extLst>
                    <a:ext uri="{9D8B030D-6E8A-4147-A177-3AD203B41FA5}">
                      <a16:colId xmlns:a16="http://schemas.microsoft.com/office/drawing/2014/main" val="1311887603"/>
                    </a:ext>
                  </a:extLst>
                </a:gridCol>
                <a:gridCol w="782400">
                  <a:extLst>
                    <a:ext uri="{9D8B030D-6E8A-4147-A177-3AD203B41FA5}">
                      <a16:colId xmlns:a16="http://schemas.microsoft.com/office/drawing/2014/main" val="2227414998"/>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2.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0.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5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782405">
                  <a:extLst>
                    <a:ext uri="{9D8B030D-6E8A-4147-A177-3AD203B41FA5}">
                      <a16:colId xmlns:a16="http://schemas.microsoft.com/office/drawing/2014/main" val="2253286919"/>
                    </a:ext>
                  </a:extLst>
                </a:gridCol>
                <a:gridCol w="782405">
                  <a:extLst>
                    <a:ext uri="{9D8B030D-6E8A-4147-A177-3AD203B41FA5}">
                      <a16:colId xmlns:a16="http://schemas.microsoft.com/office/drawing/2014/main" val="154020430"/>
                    </a:ext>
                  </a:extLst>
                </a:gridCol>
                <a:gridCol w="782405">
                  <a:extLst>
                    <a:ext uri="{9D8B030D-6E8A-4147-A177-3AD203B41FA5}">
                      <a16:colId xmlns:a16="http://schemas.microsoft.com/office/drawing/2014/main" val="3928813835"/>
                    </a:ext>
                  </a:extLst>
                </a:gridCol>
                <a:gridCol w="782405">
                  <a:extLst>
                    <a:ext uri="{9D8B030D-6E8A-4147-A177-3AD203B41FA5}">
                      <a16:colId xmlns:a16="http://schemas.microsoft.com/office/drawing/2014/main" val="4099274801"/>
                    </a:ext>
                  </a:extLst>
                </a:gridCol>
                <a:gridCol w="782405">
                  <a:extLst>
                    <a:ext uri="{9D8B030D-6E8A-4147-A177-3AD203B41FA5}">
                      <a16:colId xmlns:a16="http://schemas.microsoft.com/office/drawing/2014/main" val="3203434082"/>
                    </a:ext>
                  </a:extLst>
                </a:gridCol>
                <a:gridCol w="782405">
                  <a:extLst>
                    <a:ext uri="{9D8B030D-6E8A-4147-A177-3AD203B41FA5}">
                      <a16:colId xmlns:a16="http://schemas.microsoft.com/office/drawing/2014/main" val="1306444463"/>
                    </a:ext>
                  </a:extLst>
                </a:gridCol>
                <a:gridCol w="782405">
                  <a:extLst>
                    <a:ext uri="{9D8B030D-6E8A-4147-A177-3AD203B41FA5}">
                      <a16:colId xmlns:a16="http://schemas.microsoft.com/office/drawing/2014/main" val="2052677327"/>
                    </a:ext>
                  </a:extLst>
                </a:gridCol>
                <a:gridCol w="782405">
                  <a:extLst>
                    <a:ext uri="{9D8B030D-6E8A-4147-A177-3AD203B41FA5}">
                      <a16:colId xmlns:a16="http://schemas.microsoft.com/office/drawing/2014/main" val="1311887603"/>
                    </a:ext>
                  </a:extLst>
                </a:gridCol>
                <a:gridCol w="782405">
                  <a:extLst>
                    <a:ext uri="{9D8B030D-6E8A-4147-A177-3AD203B41FA5}">
                      <a16:colId xmlns:a16="http://schemas.microsoft.com/office/drawing/2014/main" val="2227414998"/>
                    </a:ext>
                  </a:extLst>
                </a:gridCol>
              </a:tblGrid>
              <a:tr h="252000">
                <a:tc>
                  <a:txBody>
                    <a:bodyPr/>
                    <a:lstStyle/>
                    <a:p>
                      <a:r>
                        <a:rPr sz="700">
                          <a:solidFill>
                            <a:srgbClr val="FFFFFF"/>
                          </a:solidFill>
                        </a:rPr>
                        <a:t>Company GM%</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3.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825446381"/>
      </p:ext>
    </p:extLst>
  </p:cSld>
  <p:clrMapOvr>
    <a:masterClrMapping/>
  </p:clrMapOvr>
</p:sld>
</file>

<file path=ppt/slides/slide7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2/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12</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June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Vol | Category vs. Nicolas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02358333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9" cy="383858"/>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173599">
                  <a:extLst>
                    <a:ext uri="{9D8B030D-6E8A-4147-A177-3AD203B41FA5}">
                      <a16:colId xmlns:a16="http://schemas.microsoft.com/office/drawing/2014/main" val="2253286919"/>
                    </a:ext>
                  </a:extLst>
                </a:gridCol>
                <a:gridCol w="1173599">
                  <a:extLst>
                    <a:ext uri="{9D8B030D-6E8A-4147-A177-3AD203B41FA5}">
                      <a16:colId xmlns:a16="http://schemas.microsoft.com/office/drawing/2014/main" val="154020430"/>
                    </a:ext>
                  </a:extLst>
                </a:gridCol>
                <a:gridCol w="1173599">
                  <a:extLst>
                    <a:ext uri="{9D8B030D-6E8A-4147-A177-3AD203B41FA5}">
                      <a16:colId xmlns:a16="http://schemas.microsoft.com/office/drawing/2014/main" val="3928813835"/>
                    </a:ext>
                  </a:extLst>
                </a:gridCol>
                <a:gridCol w="1173599">
                  <a:extLst>
                    <a:ext uri="{9D8B030D-6E8A-4147-A177-3AD203B41FA5}">
                      <a16:colId xmlns:a16="http://schemas.microsoft.com/office/drawing/2014/main" val="4099274801"/>
                    </a:ext>
                  </a:extLst>
                </a:gridCol>
                <a:gridCol w="1173599">
                  <a:extLst>
                    <a:ext uri="{9D8B030D-6E8A-4147-A177-3AD203B41FA5}">
                      <a16:colId xmlns:a16="http://schemas.microsoft.com/office/drawing/2014/main" val="3203434082"/>
                    </a:ext>
                  </a:extLst>
                </a:gridCol>
                <a:gridCol w="1173599">
                  <a:extLst>
                    <a:ext uri="{9D8B030D-6E8A-4147-A177-3AD203B41FA5}">
                      <a16:colId xmlns:a16="http://schemas.microsoft.com/office/drawing/2014/main" val="1306444463"/>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0.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1.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45"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173606">
                  <a:extLst>
                    <a:ext uri="{9D8B030D-6E8A-4147-A177-3AD203B41FA5}">
                      <a16:colId xmlns:a16="http://schemas.microsoft.com/office/drawing/2014/main" val="2253286919"/>
                    </a:ext>
                  </a:extLst>
                </a:gridCol>
                <a:gridCol w="1173606">
                  <a:extLst>
                    <a:ext uri="{9D8B030D-6E8A-4147-A177-3AD203B41FA5}">
                      <a16:colId xmlns:a16="http://schemas.microsoft.com/office/drawing/2014/main" val="154020430"/>
                    </a:ext>
                  </a:extLst>
                </a:gridCol>
                <a:gridCol w="1173606">
                  <a:extLst>
                    <a:ext uri="{9D8B030D-6E8A-4147-A177-3AD203B41FA5}">
                      <a16:colId xmlns:a16="http://schemas.microsoft.com/office/drawing/2014/main" val="3928813835"/>
                    </a:ext>
                  </a:extLst>
                </a:gridCol>
                <a:gridCol w="1173606">
                  <a:extLst>
                    <a:ext uri="{9D8B030D-6E8A-4147-A177-3AD203B41FA5}">
                      <a16:colId xmlns:a16="http://schemas.microsoft.com/office/drawing/2014/main" val="4099274801"/>
                    </a:ext>
                  </a:extLst>
                </a:gridCol>
                <a:gridCol w="1173606">
                  <a:extLst>
                    <a:ext uri="{9D8B030D-6E8A-4147-A177-3AD203B41FA5}">
                      <a16:colId xmlns:a16="http://schemas.microsoft.com/office/drawing/2014/main" val="3203434082"/>
                    </a:ext>
                  </a:extLst>
                </a:gridCol>
                <a:gridCol w="1173606">
                  <a:extLst>
                    <a:ext uri="{9D8B030D-6E8A-4147-A177-3AD203B41FA5}">
                      <a16:colId xmlns:a16="http://schemas.microsoft.com/office/drawing/2014/main" val="1306444463"/>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933354416"/>
      </p:ext>
    </p:extLst>
  </p:cSld>
  <p:clrMapOvr>
    <a:masterClrMapping/>
  </p:clrMapOvr>
</p:sld>
</file>

<file path=ppt/slides/slide7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2/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13</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June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Vol | Category vs. Nicolas | NICOLAS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02358333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880200">
                  <a:extLst>
                    <a:ext uri="{9D8B030D-6E8A-4147-A177-3AD203B41FA5}">
                      <a16:colId xmlns:a16="http://schemas.microsoft.com/office/drawing/2014/main" val="2253286919"/>
                    </a:ext>
                  </a:extLst>
                </a:gridCol>
                <a:gridCol w="880200">
                  <a:extLst>
                    <a:ext uri="{9D8B030D-6E8A-4147-A177-3AD203B41FA5}">
                      <a16:colId xmlns:a16="http://schemas.microsoft.com/office/drawing/2014/main" val="154020430"/>
                    </a:ext>
                  </a:extLst>
                </a:gridCol>
                <a:gridCol w="880200">
                  <a:extLst>
                    <a:ext uri="{9D8B030D-6E8A-4147-A177-3AD203B41FA5}">
                      <a16:colId xmlns:a16="http://schemas.microsoft.com/office/drawing/2014/main" val="3928813835"/>
                    </a:ext>
                  </a:extLst>
                </a:gridCol>
                <a:gridCol w="880200">
                  <a:extLst>
                    <a:ext uri="{9D8B030D-6E8A-4147-A177-3AD203B41FA5}">
                      <a16:colId xmlns:a16="http://schemas.microsoft.com/office/drawing/2014/main" val="4099274801"/>
                    </a:ext>
                  </a:extLst>
                </a:gridCol>
                <a:gridCol w="880200">
                  <a:extLst>
                    <a:ext uri="{9D8B030D-6E8A-4147-A177-3AD203B41FA5}">
                      <a16:colId xmlns:a16="http://schemas.microsoft.com/office/drawing/2014/main" val="3203434082"/>
                    </a:ext>
                  </a:extLst>
                </a:gridCol>
                <a:gridCol w="880200">
                  <a:extLst>
                    <a:ext uri="{9D8B030D-6E8A-4147-A177-3AD203B41FA5}">
                      <a16:colId xmlns:a16="http://schemas.microsoft.com/office/drawing/2014/main" val="1306444463"/>
                    </a:ext>
                  </a:extLst>
                </a:gridCol>
                <a:gridCol w="880200">
                  <a:extLst>
                    <a:ext uri="{9D8B030D-6E8A-4147-A177-3AD203B41FA5}">
                      <a16:colId xmlns:a16="http://schemas.microsoft.com/office/drawing/2014/main" val="2052677327"/>
                    </a:ext>
                  </a:extLst>
                </a:gridCol>
                <a:gridCol w="880200">
                  <a:extLst>
                    <a:ext uri="{9D8B030D-6E8A-4147-A177-3AD203B41FA5}">
                      <a16:colId xmlns:a16="http://schemas.microsoft.com/office/drawing/2014/main" val="1311887603"/>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1.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1.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4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880205">
                  <a:extLst>
                    <a:ext uri="{9D8B030D-6E8A-4147-A177-3AD203B41FA5}">
                      <a16:colId xmlns:a16="http://schemas.microsoft.com/office/drawing/2014/main" val="2253286919"/>
                    </a:ext>
                  </a:extLst>
                </a:gridCol>
                <a:gridCol w="880205">
                  <a:extLst>
                    <a:ext uri="{9D8B030D-6E8A-4147-A177-3AD203B41FA5}">
                      <a16:colId xmlns:a16="http://schemas.microsoft.com/office/drawing/2014/main" val="154020430"/>
                    </a:ext>
                  </a:extLst>
                </a:gridCol>
                <a:gridCol w="880205">
                  <a:extLst>
                    <a:ext uri="{9D8B030D-6E8A-4147-A177-3AD203B41FA5}">
                      <a16:colId xmlns:a16="http://schemas.microsoft.com/office/drawing/2014/main" val="3928813835"/>
                    </a:ext>
                  </a:extLst>
                </a:gridCol>
                <a:gridCol w="880205">
                  <a:extLst>
                    <a:ext uri="{9D8B030D-6E8A-4147-A177-3AD203B41FA5}">
                      <a16:colId xmlns:a16="http://schemas.microsoft.com/office/drawing/2014/main" val="4099274801"/>
                    </a:ext>
                  </a:extLst>
                </a:gridCol>
                <a:gridCol w="880205">
                  <a:extLst>
                    <a:ext uri="{9D8B030D-6E8A-4147-A177-3AD203B41FA5}">
                      <a16:colId xmlns:a16="http://schemas.microsoft.com/office/drawing/2014/main" val="3203434082"/>
                    </a:ext>
                  </a:extLst>
                </a:gridCol>
                <a:gridCol w="880205">
                  <a:extLst>
                    <a:ext uri="{9D8B030D-6E8A-4147-A177-3AD203B41FA5}">
                      <a16:colId xmlns:a16="http://schemas.microsoft.com/office/drawing/2014/main" val="1306444463"/>
                    </a:ext>
                  </a:extLst>
                </a:gridCol>
                <a:gridCol w="880205">
                  <a:extLst>
                    <a:ext uri="{9D8B030D-6E8A-4147-A177-3AD203B41FA5}">
                      <a16:colId xmlns:a16="http://schemas.microsoft.com/office/drawing/2014/main" val="2052677327"/>
                    </a:ext>
                  </a:extLst>
                </a:gridCol>
                <a:gridCol w="880205">
                  <a:extLst>
                    <a:ext uri="{9D8B030D-6E8A-4147-A177-3AD203B41FA5}">
                      <a16:colId xmlns:a16="http://schemas.microsoft.com/office/drawing/2014/main" val="1311887603"/>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3.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592991109"/>
      </p:ext>
    </p:extLst>
  </p:cSld>
  <p:clrMapOvr>
    <a:masterClrMapping/>
  </p:clrMapOvr>
</p:sld>
</file>

<file path=ppt/slides/slide7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2/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14</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June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Vol | Category vs. Nicolas | NICOLAS QCN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02358333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880200">
                  <a:extLst>
                    <a:ext uri="{9D8B030D-6E8A-4147-A177-3AD203B41FA5}">
                      <a16:colId xmlns:a16="http://schemas.microsoft.com/office/drawing/2014/main" val="2253286919"/>
                    </a:ext>
                  </a:extLst>
                </a:gridCol>
                <a:gridCol w="880200">
                  <a:extLst>
                    <a:ext uri="{9D8B030D-6E8A-4147-A177-3AD203B41FA5}">
                      <a16:colId xmlns:a16="http://schemas.microsoft.com/office/drawing/2014/main" val="154020430"/>
                    </a:ext>
                  </a:extLst>
                </a:gridCol>
                <a:gridCol w="880200">
                  <a:extLst>
                    <a:ext uri="{9D8B030D-6E8A-4147-A177-3AD203B41FA5}">
                      <a16:colId xmlns:a16="http://schemas.microsoft.com/office/drawing/2014/main" val="3928813835"/>
                    </a:ext>
                  </a:extLst>
                </a:gridCol>
                <a:gridCol w="880200">
                  <a:extLst>
                    <a:ext uri="{9D8B030D-6E8A-4147-A177-3AD203B41FA5}">
                      <a16:colId xmlns:a16="http://schemas.microsoft.com/office/drawing/2014/main" val="4099274801"/>
                    </a:ext>
                  </a:extLst>
                </a:gridCol>
                <a:gridCol w="880200">
                  <a:extLst>
                    <a:ext uri="{9D8B030D-6E8A-4147-A177-3AD203B41FA5}">
                      <a16:colId xmlns:a16="http://schemas.microsoft.com/office/drawing/2014/main" val="3203434082"/>
                    </a:ext>
                  </a:extLst>
                </a:gridCol>
                <a:gridCol w="880200">
                  <a:extLst>
                    <a:ext uri="{9D8B030D-6E8A-4147-A177-3AD203B41FA5}">
                      <a16:colId xmlns:a16="http://schemas.microsoft.com/office/drawing/2014/main" val="1306444463"/>
                    </a:ext>
                  </a:extLst>
                </a:gridCol>
                <a:gridCol w="880200">
                  <a:extLst>
                    <a:ext uri="{9D8B030D-6E8A-4147-A177-3AD203B41FA5}">
                      <a16:colId xmlns:a16="http://schemas.microsoft.com/office/drawing/2014/main" val="2052677327"/>
                    </a:ext>
                  </a:extLst>
                </a:gridCol>
                <a:gridCol w="880200">
                  <a:extLst>
                    <a:ext uri="{9D8B030D-6E8A-4147-A177-3AD203B41FA5}">
                      <a16:colId xmlns:a16="http://schemas.microsoft.com/office/drawing/2014/main" val="1311887603"/>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3.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1.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4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880205">
                  <a:extLst>
                    <a:ext uri="{9D8B030D-6E8A-4147-A177-3AD203B41FA5}">
                      <a16:colId xmlns:a16="http://schemas.microsoft.com/office/drawing/2014/main" val="2253286919"/>
                    </a:ext>
                  </a:extLst>
                </a:gridCol>
                <a:gridCol w="880205">
                  <a:extLst>
                    <a:ext uri="{9D8B030D-6E8A-4147-A177-3AD203B41FA5}">
                      <a16:colId xmlns:a16="http://schemas.microsoft.com/office/drawing/2014/main" val="154020430"/>
                    </a:ext>
                  </a:extLst>
                </a:gridCol>
                <a:gridCol w="880205">
                  <a:extLst>
                    <a:ext uri="{9D8B030D-6E8A-4147-A177-3AD203B41FA5}">
                      <a16:colId xmlns:a16="http://schemas.microsoft.com/office/drawing/2014/main" val="3928813835"/>
                    </a:ext>
                  </a:extLst>
                </a:gridCol>
                <a:gridCol w="880205">
                  <a:extLst>
                    <a:ext uri="{9D8B030D-6E8A-4147-A177-3AD203B41FA5}">
                      <a16:colId xmlns:a16="http://schemas.microsoft.com/office/drawing/2014/main" val="4099274801"/>
                    </a:ext>
                  </a:extLst>
                </a:gridCol>
                <a:gridCol w="880205">
                  <a:extLst>
                    <a:ext uri="{9D8B030D-6E8A-4147-A177-3AD203B41FA5}">
                      <a16:colId xmlns:a16="http://schemas.microsoft.com/office/drawing/2014/main" val="3203434082"/>
                    </a:ext>
                  </a:extLst>
                </a:gridCol>
                <a:gridCol w="880205">
                  <a:extLst>
                    <a:ext uri="{9D8B030D-6E8A-4147-A177-3AD203B41FA5}">
                      <a16:colId xmlns:a16="http://schemas.microsoft.com/office/drawing/2014/main" val="1306444463"/>
                    </a:ext>
                  </a:extLst>
                </a:gridCol>
                <a:gridCol w="880205">
                  <a:extLst>
                    <a:ext uri="{9D8B030D-6E8A-4147-A177-3AD203B41FA5}">
                      <a16:colId xmlns:a16="http://schemas.microsoft.com/office/drawing/2014/main" val="2052677327"/>
                    </a:ext>
                  </a:extLst>
                </a:gridCol>
                <a:gridCol w="880205">
                  <a:extLst>
                    <a:ext uri="{9D8B030D-6E8A-4147-A177-3AD203B41FA5}">
                      <a16:colId xmlns:a16="http://schemas.microsoft.com/office/drawing/2014/main" val="1311887603"/>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3.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347690798"/>
      </p:ext>
    </p:extLst>
  </p:cSld>
  <p:clrMapOvr>
    <a:masterClrMapping/>
  </p:clrMapOvr>
</p:sld>
</file>

<file path=ppt/slides/slide7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2/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15</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June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Vol | Category vs. Nicolas | NICOLAS VCN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02358333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880200">
                  <a:extLst>
                    <a:ext uri="{9D8B030D-6E8A-4147-A177-3AD203B41FA5}">
                      <a16:colId xmlns:a16="http://schemas.microsoft.com/office/drawing/2014/main" val="2253286919"/>
                    </a:ext>
                  </a:extLst>
                </a:gridCol>
                <a:gridCol w="880200">
                  <a:extLst>
                    <a:ext uri="{9D8B030D-6E8A-4147-A177-3AD203B41FA5}">
                      <a16:colId xmlns:a16="http://schemas.microsoft.com/office/drawing/2014/main" val="154020430"/>
                    </a:ext>
                  </a:extLst>
                </a:gridCol>
                <a:gridCol w="880200">
                  <a:extLst>
                    <a:ext uri="{9D8B030D-6E8A-4147-A177-3AD203B41FA5}">
                      <a16:colId xmlns:a16="http://schemas.microsoft.com/office/drawing/2014/main" val="3928813835"/>
                    </a:ext>
                  </a:extLst>
                </a:gridCol>
                <a:gridCol w="880200">
                  <a:extLst>
                    <a:ext uri="{9D8B030D-6E8A-4147-A177-3AD203B41FA5}">
                      <a16:colId xmlns:a16="http://schemas.microsoft.com/office/drawing/2014/main" val="4099274801"/>
                    </a:ext>
                  </a:extLst>
                </a:gridCol>
                <a:gridCol w="880200">
                  <a:extLst>
                    <a:ext uri="{9D8B030D-6E8A-4147-A177-3AD203B41FA5}">
                      <a16:colId xmlns:a16="http://schemas.microsoft.com/office/drawing/2014/main" val="3203434082"/>
                    </a:ext>
                  </a:extLst>
                </a:gridCol>
                <a:gridCol w="880200">
                  <a:extLst>
                    <a:ext uri="{9D8B030D-6E8A-4147-A177-3AD203B41FA5}">
                      <a16:colId xmlns:a16="http://schemas.microsoft.com/office/drawing/2014/main" val="1306444463"/>
                    </a:ext>
                  </a:extLst>
                </a:gridCol>
                <a:gridCol w="880200">
                  <a:extLst>
                    <a:ext uri="{9D8B030D-6E8A-4147-A177-3AD203B41FA5}">
                      <a16:colId xmlns:a16="http://schemas.microsoft.com/office/drawing/2014/main" val="2052677327"/>
                    </a:ext>
                  </a:extLst>
                </a:gridCol>
                <a:gridCol w="880200">
                  <a:extLst>
                    <a:ext uri="{9D8B030D-6E8A-4147-A177-3AD203B41FA5}">
                      <a16:colId xmlns:a16="http://schemas.microsoft.com/office/drawing/2014/main" val="1311887603"/>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0.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4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880205">
                  <a:extLst>
                    <a:ext uri="{9D8B030D-6E8A-4147-A177-3AD203B41FA5}">
                      <a16:colId xmlns:a16="http://schemas.microsoft.com/office/drawing/2014/main" val="2253286919"/>
                    </a:ext>
                  </a:extLst>
                </a:gridCol>
                <a:gridCol w="880205">
                  <a:extLst>
                    <a:ext uri="{9D8B030D-6E8A-4147-A177-3AD203B41FA5}">
                      <a16:colId xmlns:a16="http://schemas.microsoft.com/office/drawing/2014/main" val="154020430"/>
                    </a:ext>
                  </a:extLst>
                </a:gridCol>
                <a:gridCol w="880205">
                  <a:extLst>
                    <a:ext uri="{9D8B030D-6E8A-4147-A177-3AD203B41FA5}">
                      <a16:colId xmlns:a16="http://schemas.microsoft.com/office/drawing/2014/main" val="3928813835"/>
                    </a:ext>
                  </a:extLst>
                </a:gridCol>
                <a:gridCol w="880205">
                  <a:extLst>
                    <a:ext uri="{9D8B030D-6E8A-4147-A177-3AD203B41FA5}">
                      <a16:colId xmlns:a16="http://schemas.microsoft.com/office/drawing/2014/main" val="4099274801"/>
                    </a:ext>
                  </a:extLst>
                </a:gridCol>
                <a:gridCol w="880205">
                  <a:extLst>
                    <a:ext uri="{9D8B030D-6E8A-4147-A177-3AD203B41FA5}">
                      <a16:colId xmlns:a16="http://schemas.microsoft.com/office/drawing/2014/main" val="3203434082"/>
                    </a:ext>
                  </a:extLst>
                </a:gridCol>
                <a:gridCol w="880205">
                  <a:extLst>
                    <a:ext uri="{9D8B030D-6E8A-4147-A177-3AD203B41FA5}">
                      <a16:colId xmlns:a16="http://schemas.microsoft.com/office/drawing/2014/main" val="1306444463"/>
                    </a:ext>
                  </a:extLst>
                </a:gridCol>
                <a:gridCol w="880205">
                  <a:extLst>
                    <a:ext uri="{9D8B030D-6E8A-4147-A177-3AD203B41FA5}">
                      <a16:colId xmlns:a16="http://schemas.microsoft.com/office/drawing/2014/main" val="2052677327"/>
                    </a:ext>
                  </a:extLst>
                </a:gridCol>
                <a:gridCol w="880205">
                  <a:extLst>
                    <a:ext uri="{9D8B030D-6E8A-4147-A177-3AD203B41FA5}">
                      <a16:colId xmlns:a16="http://schemas.microsoft.com/office/drawing/2014/main" val="1311887603"/>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3.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034907421"/>
      </p:ext>
    </p:extLst>
  </p:cSld>
  <p:clrMapOvr>
    <a:masterClrMapping/>
  </p:clrMapOvr>
</p:sld>
</file>

<file path=ppt/slides/slide7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2/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16</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June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Vol | Category vs. Nicolas | NICOLAS QC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02358333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880200">
                  <a:extLst>
                    <a:ext uri="{9D8B030D-6E8A-4147-A177-3AD203B41FA5}">
                      <a16:colId xmlns:a16="http://schemas.microsoft.com/office/drawing/2014/main" val="2253286919"/>
                    </a:ext>
                  </a:extLst>
                </a:gridCol>
                <a:gridCol w="880200">
                  <a:extLst>
                    <a:ext uri="{9D8B030D-6E8A-4147-A177-3AD203B41FA5}">
                      <a16:colId xmlns:a16="http://schemas.microsoft.com/office/drawing/2014/main" val="154020430"/>
                    </a:ext>
                  </a:extLst>
                </a:gridCol>
                <a:gridCol w="880200">
                  <a:extLst>
                    <a:ext uri="{9D8B030D-6E8A-4147-A177-3AD203B41FA5}">
                      <a16:colId xmlns:a16="http://schemas.microsoft.com/office/drawing/2014/main" val="3928813835"/>
                    </a:ext>
                  </a:extLst>
                </a:gridCol>
                <a:gridCol w="880200">
                  <a:extLst>
                    <a:ext uri="{9D8B030D-6E8A-4147-A177-3AD203B41FA5}">
                      <a16:colId xmlns:a16="http://schemas.microsoft.com/office/drawing/2014/main" val="4099274801"/>
                    </a:ext>
                  </a:extLst>
                </a:gridCol>
                <a:gridCol w="880200">
                  <a:extLst>
                    <a:ext uri="{9D8B030D-6E8A-4147-A177-3AD203B41FA5}">
                      <a16:colId xmlns:a16="http://schemas.microsoft.com/office/drawing/2014/main" val="3203434082"/>
                    </a:ext>
                  </a:extLst>
                </a:gridCol>
                <a:gridCol w="880200">
                  <a:extLst>
                    <a:ext uri="{9D8B030D-6E8A-4147-A177-3AD203B41FA5}">
                      <a16:colId xmlns:a16="http://schemas.microsoft.com/office/drawing/2014/main" val="1306444463"/>
                    </a:ext>
                  </a:extLst>
                </a:gridCol>
                <a:gridCol w="880200">
                  <a:extLst>
                    <a:ext uri="{9D8B030D-6E8A-4147-A177-3AD203B41FA5}">
                      <a16:colId xmlns:a16="http://schemas.microsoft.com/office/drawing/2014/main" val="2052677327"/>
                    </a:ext>
                  </a:extLst>
                </a:gridCol>
                <a:gridCol w="880200">
                  <a:extLst>
                    <a:ext uri="{9D8B030D-6E8A-4147-A177-3AD203B41FA5}">
                      <a16:colId xmlns:a16="http://schemas.microsoft.com/office/drawing/2014/main" val="1311887603"/>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1.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3.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4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880205">
                  <a:extLst>
                    <a:ext uri="{9D8B030D-6E8A-4147-A177-3AD203B41FA5}">
                      <a16:colId xmlns:a16="http://schemas.microsoft.com/office/drawing/2014/main" val="2253286919"/>
                    </a:ext>
                  </a:extLst>
                </a:gridCol>
                <a:gridCol w="880205">
                  <a:extLst>
                    <a:ext uri="{9D8B030D-6E8A-4147-A177-3AD203B41FA5}">
                      <a16:colId xmlns:a16="http://schemas.microsoft.com/office/drawing/2014/main" val="154020430"/>
                    </a:ext>
                  </a:extLst>
                </a:gridCol>
                <a:gridCol w="880205">
                  <a:extLst>
                    <a:ext uri="{9D8B030D-6E8A-4147-A177-3AD203B41FA5}">
                      <a16:colId xmlns:a16="http://schemas.microsoft.com/office/drawing/2014/main" val="3928813835"/>
                    </a:ext>
                  </a:extLst>
                </a:gridCol>
                <a:gridCol w="880205">
                  <a:extLst>
                    <a:ext uri="{9D8B030D-6E8A-4147-A177-3AD203B41FA5}">
                      <a16:colId xmlns:a16="http://schemas.microsoft.com/office/drawing/2014/main" val="4099274801"/>
                    </a:ext>
                  </a:extLst>
                </a:gridCol>
                <a:gridCol w="880205">
                  <a:extLst>
                    <a:ext uri="{9D8B030D-6E8A-4147-A177-3AD203B41FA5}">
                      <a16:colId xmlns:a16="http://schemas.microsoft.com/office/drawing/2014/main" val="3203434082"/>
                    </a:ext>
                  </a:extLst>
                </a:gridCol>
                <a:gridCol w="880205">
                  <a:extLst>
                    <a:ext uri="{9D8B030D-6E8A-4147-A177-3AD203B41FA5}">
                      <a16:colId xmlns:a16="http://schemas.microsoft.com/office/drawing/2014/main" val="1306444463"/>
                    </a:ext>
                  </a:extLst>
                </a:gridCol>
                <a:gridCol w="880205">
                  <a:extLst>
                    <a:ext uri="{9D8B030D-6E8A-4147-A177-3AD203B41FA5}">
                      <a16:colId xmlns:a16="http://schemas.microsoft.com/office/drawing/2014/main" val="2052677327"/>
                    </a:ext>
                  </a:extLst>
                </a:gridCol>
                <a:gridCol w="880205">
                  <a:extLst>
                    <a:ext uri="{9D8B030D-6E8A-4147-A177-3AD203B41FA5}">
                      <a16:colId xmlns:a16="http://schemas.microsoft.com/office/drawing/2014/main" val="1311887603"/>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3.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6.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4.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4271544106"/>
      </p:ext>
    </p:extLst>
  </p:cSld>
  <p:clrMapOvr>
    <a:masterClrMapping/>
  </p:clrMapOvr>
</p:sld>
</file>

<file path=ppt/slides/slide7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2/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17</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June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Vol | Category vs. Nicolas | NICOLAS QCA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02358333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005942">
                  <a:extLst>
                    <a:ext uri="{9D8B030D-6E8A-4147-A177-3AD203B41FA5}">
                      <a16:colId xmlns:a16="http://schemas.microsoft.com/office/drawing/2014/main" val="2253286919"/>
                    </a:ext>
                  </a:extLst>
                </a:gridCol>
                <a:gridCol w="1005942">
                  <a:extLst>
                    <a:ext uri="{9D8B030D-6E8A-4147-A177-3AD203B41FA5}">
                      <a16:colId xmlns:a16="http://schemas.microsoft.com/office/drawing/2014/main" val="154020430"/>
                    </a:ext>
                  </a:extLst>
                </a:gridCol>
                <a:gridCol w="1005942">
                  <a:extLst>
                    <a:ext uri="{9D8B030D-6E8A-4147-A177-3AD203B41FA5}">
                      <a16:colId xmlns:a16="http://schemas.microsoft.com/office/drawing/2014/main" val="3928813835"/>
                    </a:ext>
                  </a:extLst>
                </a:gridCol>
                <a:gridCol w="1005942">
                  <a:extLst>
                    <a:ext uri="{9D8B030D-6E8A-4147-A177-3AD203B41FA5}">
                      <a16:colId xmlns:a16="http://schemas.microsoft.com/office/drawing/2014/main" val="4099274801"/>
                    </a:ext>
                  </a:extLst>
                </a:gridCol>
                <a:gridCol w="1005942">
                  <a:extLst>
                    <a:ext uri="{9D8B030D-6E8A-4147-A177-3AD203B41FA5}">
                      <a16:colId xmlns:a16="http://schemas.microsoft.com/office/drawing/2014/main" val="3203434082"/>
                    </a:ext>
                  </a:extLst>
                </a:gridCol>
                <a:gridCol w="1005942">
                  <a:extLst>
                    <a:ext uri="{9D8B030D-6E8A-4147-A177-3AD203B41FA5}">
                      <a16:colId xmlns:a16="http://schemas.microsoft.com/office/drawing/2014/main" val="1306444463"/>
                    </a:ext>
                  </a:extLst>
                </a:gridCol>
                <a:gridCol w="1005942">
                  <a:extLst>
                    <a:ext uri="{9D8B030D-6E8A-4147-A177-3AD203B41FA5}">
                      <a16:colId xmlns:a16="http://schemas.microsoft.com/office/drawing/2014/main" val="2052677327"/>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7.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0.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45"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005948">
                  <a:extLst>
                    <a:ext uri="{9D8B030D-6E8A-4147-A177-3AD203B41FA5}">
                      <a16:colId xmlns:a16="http://schemas.microsoft.com/office/drawing/2014/main" val="2253286919"/>
                    </a:ext>
                  </a:extLst>
                </a:gridCol>
                <a:gridCol w="1005948">
                  <a:extLst>
                    <a:ext uri="{9D8B030D-6E8A-4147-A177-3AD203B41FA5}">
                      <a16:colId xmlns:a16="http://schemas.microsoft.com/office/drawing/2014/main" val="154020430"/>
                    </a:ext>
                  </a:extLst>
                </a:gridCol>
                <a:gridCol w="1005948">
                  <a:extLst>
                    <a:ext uri="{9D8B030D-6E8A-4147-A177-3AD203B41FA5}">
                      <a16:colId xmlns:a16="http://schemas.microsoft.com/office/drawing/2014/main" val="3928813835"/>
                    </a:ext>
                  </a:extLst>
                </a:gridCol>
                <a:gridCol w="1005948">
                  <a:extLst>
                    <a:ext uri="{9D8B030D-6E8A-4147-A177-3AD203B41FA5}">
                      <a16:colId xmlns:a16="http://schemas.microsoft.com/office/drawing/2014/main" val="4099274801"/>
                    </a:ext>
                  </a:extLst>
                </a:gridCol>
                <a:gridCol w="1005948">
                  <a:extLst>
                    <a:ext uri="{9D8B030D-6E8A-4147-A177-3AD203B41FA5}">
                      <a16:colId xmlns:a16="http://schemas.microsoft.com/office/drawing/2014/main" val="3203434082"/>
                    </a:ext>
                  </a:extLst>
                </a:gridCol>
                <a:gridCol w="1005948">
                  <a:extLst>
                    <a:ext uri="{9D8B030D-6E8A-4147-A177-3AD203B41FA5}">
                      <a16:colId xmlns:a16="http://schemas.microsoft.com/office/drawing/2014/main" val="1306444463"/>
                    </a:ext>
                  </a:extLst>
                </a:gridCol>
                <a:gridCol w="1005948">
                  <a:extLst>
                    <a:ext uri="{9D8B030D-6E8A-4147-A177-3AD203B41FA5}">
                      <a16:colId xmlns:a16="http://schemas.microsoft.com/office/drawing/2014/main" val="2052677327"/>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3.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238292932"/>
      </p:ext>
    </p:extLst>
  </p:cSld>
  <p:clrMapOvr>
    <a:masterClrMapping/>
  </p:clrMapOvr>
</p:sld>
</file>

<file path=ppt/slides/slide7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2/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18</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June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Vol | Category vs. Nicolas | NICOLAS CC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02358333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782400">
                  <a:extLst>
                    <a:ext uri="{9D8B030D-6E8A-4147-A177-3AD203B41FA5}">
                      <a16:colId xmlns:a16="http://schemas.microsoft.com/office/drawing/2014/main" val="2253286919"/>
                    </a:ext>
                  </a:extLst>
                </a:gridCol>
                <a:gridCol w="782400">
                  <a:extLst>
                    <a:ext uri="{9D8B030D-6E8A-4147-A177-3AD203B41FA5}">
                      <a16:colId xmlns:a16="http://schemas.microsoft.com/office/drawing/2014/main" val="154020430"/>
                    </a:ext>
                  </a:extLst>
                </a:gridCol>
                <a:gridCol w="782400">
                  <a:extLst>
                    <a:ext uri="{9D8B030D-6E8A-4147-A177-3AD203B41FA5}">
                      <a16:colId xmlns:a16="http://schemas.microsoft.com/office/drawing/2014/main" val="3928813835"/>
                    </a:ext>
                  </a:extLst>
                </a:gridCol>
                <a:gridCol w="782400">
                  <a:extLst>
                    <a:ext uri="{9D8B030D-6E8A-4147-A177-3AD203B41FA5}">
                      <a16:colId xmlns:a16="http://schemas.microsoft.com/office/drawing/2014/main" val="4099274801"/>
                    </a:ext>
                  </a:extLst>
                </a:gridCol>
                <a:gridCol w="782400">
                  <a:extLst>
                    <a:ext uri="{9D8B030D-6E8A-4147-A177-3AD203B41FA5}">
                      <a16:colId xmlns:a16="http://schemas.microsoft.com/office/drawing/2014/main" val="3203434082"/>
                    </a:ext>
                  </a:extLst>
                </a:gridCol>
                <a:gridCol w="782400">
                  <a:extLst>
                    <a:ext uri="{9D8B030D-6E8A-4147-A177-3AD203B41FA5}">
                      <a16:colId xmlns:a16="http://schemas.microsoft.com/office/drawing/2014/main" val="1306444463"/>
                    </a:ext>
                  </a:extLst>
                </a:gridCol>
                <a:gridCol w="782400">
                  <a:extLst>
                    <a:ext uri="{9D8B030D-6E8A-4147-A177-3AD203B41FA5}">
                      <a16:colId xmlns:a16="http://schemas.microsoft.com/office/drawing/2014/main" val="2052677327"/>
                    </a:ext>
                  </a:extLst>
                </a:gridCol>
                <a:gridCol w="782400">
                  <a:extLst>
                    <a:ext uri="{9D8B030D-6E8A-4147-A177-3AD203B41FA5}">
                      <a16:colId xmlns:a16="http://schemas.microsoft.com/office/drawing/2014/main" val="1311887603"/>
                    </a:ext>
                  </a:extLst>
                </a:gridCol>
                <a:gridCol w="782400">
                  <a:extLst>
                    <a:ext uri="{9D8B030D-6E8A-4147-A177-3AD203B41FA5}">
                      <a16:colId xmlns:a16="http://schemas.microsoft.com/office/drawing/2014/main" val="2227414998"/>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6.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9.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5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782405">
                  <a:extLst>
                    <a:ext uri="{9D8B030D-6E8A-4147-A177-3AD203B41FA5}">
                      <a16:colId xmlns:a16="http://schemas.microsoft.com/office/drawing/2014/main" val="2253286919"/>
                    </a:ext>
                  </a:extLst>
                </a:gridCol>
                <a:gridCol w="782405">
                  <a:extLst>
                    <a:ext uri="{9D8B030D-6E8A-4147-A177-3AD203B41FA5}">
                      <a16:colId xmlns:a16="http://schemas.microsoft.com/office/drawing/2014/main" val="154020430"/>
                    </a:ext>
                  </a:extLst>
                </a:gridCol>
                <a:gridCol w="782405">
                  <a:extLst>
                    <a:ext uri="{9D8B030D-6E8A-4147-A177-3AD203B41FA5}">
                      <a16:colId xmlns:a16="http://schemas.microsoft.com/office/drawing/2014/main" val="3928813835"/>
                    </a:ext>
                  </a:extLst>
                </a:gridCol>
                <a:gridCol w="782405">
                  <a:extLst>
                    <a:ext uri="{9D8B030D-6E8A-4147-A177-3AD203B41FA5}">
                      <a16:colId xmlns:a16="http://schemas.microsoft.com/office/drawing/2014/main" val="4099274801"/>
                    </a:ext>
                  </a:extLst>
                </a:gridCol>
                <a:gridCol w="782405">
                  <a:extLst>
                    <a:ext uri="{9D8B030D-6E8A-4147-A177-3AD203B41FA5}">
                      <a16:colId xmlns:a16="http://schemas.microsoft.com/office/drawing/2014/main" val="3203434082"/>
                    </a:ext>
                  </a:extLst>
                </a:gridCol>
                <a:gridCol w="782405">
                  <a:extLst>
                    <a:ext uri="{9D8B030D-6E8A-4147-A177-3AD203B41FA5}">
                      <a16:colId xmlns:a16="http://schemas.microsoft.com/office/drawing/2014/main" val="1306444463"/>
                    </a:ext>
                  </a:extLst>
                </a:gridCol>
                <a:gridCol w="782405">
                  <a:extLst>
                    <a:ext uri="{9D8B030D-6E8A-4147-A177-3AD203B41FA5}">
                      <a16:colId xmlns:a16="http://schemas.microsoft.com/office/drawing/2014/main" val="2052677327"/>
                    </a:ext>
                  </a:extLst>
                </a:gridCol>
                <a:gridCol w="782405">
                  <a:extLst>
                    <a:ext uri="{9D8B030D-6E8A-4147-A177-3AD203B41FA5}">
                      <a16:colId xmlns:a16="http://schemas.microsoft.com/office/drawing/2014/main" val="1311887603"/>
                    </a:ext>
                  </a:extLst>
                </a:gridCol>
                <a:gridCol w="782405">
                  <a:extLst>
                    <a:ext uri="{9D8B030D-6E8A-4147-A177-3AD203B41FA5}">
                      <a16:colId xmlns:a16="http://schemas.microsoft.com/office/drawing/2014/main" val="2227414998"/>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3.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321931970"/>
      </p:ext>
    </p:extLst>
  </p:cSld>
  <p:clrMapOvr>
    <a:masterClrMapping/>
  </p:clrMapOvr>
</p:sld>
</file>

<file path=ppt/slides/slide7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2/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19</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June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Vol | Category vs. Nicolas | NICOLAS IDF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02358333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880200">
                  <a:extLst>
                    <a:ext uri="{9D8B030D-6E8A-4147-A177-3AD203B41FA5}">
                      <a16:colId xmlns:a16="http://schemas.microsoft.com/office/drawing/2014/main" val="2253286919"/>
                    </a:ext>
                  </a:extLst>
                </a:gridCol>
                <a:gridCol w="880200">
                  <a:extLst>
                    <a:ext uri="{9D8B030D-6E8A-4147-A177-3AD203B41FA5}">
                      <a16:colId xmlns:a16="http://schemas.microsoft.com/office/drawing/2014/main" val="154020430"/>
                    </a:ext>
                  </a:extLst>
                </a:gridCol>
                <a:gridCol w="880200">
                  <a:extLst>
                    <a:ext uri="{9D8B030D-6E8A-4147-A177-3AD203B41FA5}">
                      <a16:colId xmlns:a16="http://schemas.microsoft.com/office/drawing/2014/main" val="3928813835"/>
                    </a:ext>
                  </a:extLst>
                </a:gridCol>
                <a:gridCol w="880200">
                  <a:extLst>
                    <a:ext uri="{9D8B030D-6E8A-4147-A177-3AD203B41FA5}">
                      <a16:colId xmlns:a16="http://schemas.microsoft.com/office/drawing/2014/main" val="4099274801"/>
                    </a:ext>
                  </a:extLst>
                </a:gridCol>
                <a:gridCol w="880200">
                  <a:extLst>
                    <a:ext uri="{9D8B030D-6E8A-4147-A177-3AD203B41FA5}">
                      <a16:colId xmlns:a16="http://schemas.microsoft.com/office/drawing/2014/main" val="3203434082"/>
                    </a:ext>
                  </a:extLst>
                </a:gridCol>
                <a:gridCol w="880200">
                  <a:extLst>
                    <a:ext uri="{9D8B030D-6E8A-4147-A177-3AD203B41FA5}">
                      <a16:colId xmlns:a16="http://schemas.microsoft.com/office/drawing/2014/main" val="1306444463"/>
                    </a:ext>
                  </a:extLst>
                </a:gridCol>
                <a:gridCol w="880200">
                  <a:extLst>
                    <a:ext uri="{9D8B030D-6E8A-4147-A177-3AD203B41FA5}">
                      <a16:colId xmlns:a16="http://schemas.microsoft.com/office/drawing/2014/main" val="2052677327"/>
                    </a:ext>
                  </a:extLst>
                </a:gridCol>
                <a:gridCol w="880200">
                  <a:extLst>
                    <a:ext uri="{9D8B030D-6E8A-4147-A177-3AD203B41FA5}">
                      <a16:colId xmlns:a16="http://schemas.microsoft.com/office/drawing/2014/main" val="1311887603"/>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1.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1.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4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880205">
                  <a:extLst>
                    <a:ext uri="{9D8B030D-6E8A-4147-A177-3AD203B41FA5}">
                      <a16:colId xmlns:a16="http://schemas.microsoft.com/office/drawing/2014/main" val="2253286919"/>
                    </a:ext>
                  </a:extLst>
                </a:gridCol>
                <a:gridCol w="880205">
                  <a:extLst>
                    <a:ext uri="{9D8B030D-6E8A-4147-A177-3AD203B41FA5}">
                      <a16:colId xmlns:a16="http://schemas.microsoft.com/office/drawing/2014/main" val="154020430"/>
                    </a:ext>
                  </a:extLst>
                </a:gridCol>
                <a:gridCol w="880205">
                  <a:extLst>
                    <a:ext uri="{9D8B030D-6E8A-4147-A177-3AD203B41FA5}">
                      <a16:colId xmlns:a16="http://schemas.microsoft.com/office/drawing/2014/main" val="3928813835"/>
                    </a:ext>
                  </a:extLst>
                </a:gridCol>
                <a:gridCol w="880205">
                  <a:extLst>
                    <a:ext uri="{9D8B030D-6E8A-4147-A177-3AD203B41FA5}">
                      <a16:colId xmlns:a16="http://schemas.microsoft.com/office/drawing/2014/main" val="4099274801"/>
                    </a:ext>
                  </a:extLst>
                </a:gridCol>
                <a:gridCol w="880205">
                  <a:extLst>
                    <a:ext uri="{9D8B030D-6E8A-4147-A177-3AD203B41FA5}">
                      <a16:colId xmlns:a16="http://schemas.microsoft.com/office/drawing/2014/main" val="3203434082"/>
                    </a:ext>
                  </a:extLst>
                </a:gridCol>
                <a:gridCol w="880205">
                  <a:extLst>
                    <a:ext uri="{9D8B030D-6E8A-4147-A177-3AD203B41FA5}">
                      <a16:colId xmlns:a16="http://schemas.microsoft.com/office/drawing/2014/main" val="1306444463"/>
                    </a:ext>
                  </a:extLst>
                </a:gridCol>
                <a:gridCol w="880205">
                  <a:extLst>
                    <a:ext uri="{9D8B030D-6E8A-4147-A177-3AD203B41FA5}">
                      <a16:colId xmlns:a16="http://schemas.microsoft.com/office/drawing/2014/main" val="2052677327"/>
                    </a:ext>
                  </a:extLst>
                </a:gridCol>
                <a:gridCol w="880205">
                  <a:extLst>
                    <a:ext uri="{9D8B030D-6E8A-4147-A177-3AD203B41FA5}">
                      <a16:colId xmlns:a16="http://schemas.microsoft.com/office/drawing/2014/main" val="1311887603"/>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3.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579222517"/>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65918C-CF2D-B9BE-373E-8055AB4F589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BE947E9A-9EDC-50FE-5484-367359C894D7}"/>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DC475BB2-0528-29FB-C158-9EF2E6156FB0}"/>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C87CB3FA-1793-85BB-0720-68CB9A322CAF}"/>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300044B2-FAA5-2879-ADFC-6874BBAF83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DA8BB0C0-E087-2E71-1F6D-E725250BE3D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2</a:t>
            </a:fld>
            <a:endParaRPr lang="en-US" noProof="0"/>
          </a:p>
        </p:txBody>
      </p:sp>
      <p:sp>
        <p:nvSpPr>
          <p:cNvPr id="37" name="Text Placeholder 36">
            <a:extLst>
              <a:ext uri="{FF2B5EF4-FFF2-40B4-BE49-F238E27FC236}">
                <a16:creationId xmlns:a16="http://schemas.microsoft.com/office/drawing/2014/main" id="{4918FA18-B639-A629-2E9B-674B54B4AACA}"/>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37405B8B-A5F3-F9D8-A571-2F38544BBDBA}"/>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egment | NICOLAS AQU | P12M</a:t>
            </a:r>
          </a:p>
        </p:txBody>
      </p:sp>
      <p:sp>
        <p:nvSpPr>
          <p:cNvPr id="2" name="Title 1">
            <a:extLst>
              <a:ext uri="{FF2B5EF4-FFF2-40B4-BE49-F238E27FC236}">
                <a16:creationId xmlns:a16="http://schemas.microsoft.com/office/drawing/2014/main" id="{12784FBB-01F7-DE64-BC02-E8B59B51E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8694A9E2-2E6E-DE42-FC36-3888D1308CB4}"/>
              </a:ext>
            </a:extLst>
          </p:cNvPr>
          <p:cNvGraphicFramePr>
            <a:graphicFrameLocks noGrp="1"/>
          </p:cNvGraphicFramePr>
          <p:nvPr>
            <p:ph idx="4294967295"/>
            <p:extLst>
              <p:ext uri="{D42A27DB-BD31-4B8C-83A1-F6EECF244321}">
                <p14:modId xmlns:p14="http://schemas.microsoft.com/office/powerpoint/2010/main" val="2792337840"/>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F456CAE2-40D9-C89C-01D4-02D92ECC325F}"/>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9C31F180-BE4C-077E-6172-FE9EFF5651B0}"/>
              </a:ext>
            </a:extLst>
          </p:cNvPr>
          <p:cNvGraphicFramePr>
            <a:graphicFrameLocks/>
          </p:cNvGraphicFramePr>
          <p:nvPr>
            <p:extLst>
              <p:ext uri="{D42A27DB-BD31-4B8C-83A1-F6EECF244321}">
                <p14:modId xmlns:p14="http://schemas.microsoft.com/office/powerpoint/2010/main" val="2399339098"/>
              </p:ext>
            </p:extLst>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01B1A8DD-FED6-2C47-296D-0983D1E720B2}"/>
              </a:ext>
            </a:extLst>
          </p:cNvPr>
          <p:cNvGraphicFramePr>
            <a:graphicFrameLocks/>
          </p:cNvGraphicFramePr>
          <p:nvPr>
            <p:extLst>
              <p:ext uri="{D42A27DB-BD31-4B8C-83A1-F6EECF244321}">
                <p14:modId xmlns:p14="http://schemas.microsoft.com/office/powerpoint/2010/main" val="504453724"/>
              </p:ext>
            </p:extLst>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sp>
        <p:nvSpPr>
          <p:cNvPr id="16" name="TextBox 15">
            <a:extLst>
              <a:ext uri="{FF2B5EF4-FFF2-40B4-BE49-F238E27FC236}">
                <a16:creationId xmlns:a16="http://schemas.microsoft.com/office/drawing/2014/main" id="{2B180312-FE46-D4C9-3734-1E3750820943}"/>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4DB211A7-591C-E03E-65DC-47EB4C0D8D03}"/>
              </a:ext>
            </a:extLst>
          </p:cNvPr>
          <p:cNvGraphicFramePr>
            <a:graphicFrameLocks noGrp="1"/>
          </p:cNvGraphicFramePr>
          <p:nvPr>
            <p:extLst>
              <p:ext uri="{D42A27DB-BD31-4B8C-83A1-F6EECF244321}">
                <p14:modId xmlns:p14="http://schemas.microsoft.com/office/powerpoint/2010/main" val="2790109015"/>
              </p:ext>
            </p:extLst>
          </p:nvPr>
        </p:nvGraphicFramePr>
        <p:xfrm>
          <a:off x="720534" y="1121410"/>
          <a:ext cx="6085434"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tblGrid>
              <a:tr h="235994">
                <a:tc>
                  <a:txBody>
                    <a:bodyPr/>
                    <a:lstStyle/>
                    <a:p>
                      <a:pPr algn="ctr">
                        <a:defRPr sz="1100">
                          <a:latin typeface="Nexa Book"/>
                        </a:defRPr>
                      </a:pPr>
                      <a:r>
                        <a:rPr b="1">
                          <a:solidFill>
                            <a:srgbClr val="575555"/>
                          </a:solidFill>
                        </a:rPr>
                        <a:t>Mousseux Val De Loire</a:t>
                      </a:r>
                    </a:p>
                  </a:txBody>
                  <a:tcPr anchor="ctr">
                    <a:solidFill>
                      <a:schemeClr val="bg2"/>
                    </a:solidFill>
                  </a:tcPr>
                </a:tc>
                <a:tc>
                  <a:txBody>
                    <a:bodyPr/>
                    <a:lstStyle/>
                    <a:p>
                      <a:pPr algn="ctr">
                        <a:defRPr sz="1100">
                          <a:latin typeface="Nexa Book"/>
                        </a:defRPr>
                      </a:pPr>
                      <a:r>
                        <a:rPr b="1">
                          <a:solidFill>
                            <a:srgbClr val="575555"/>
                          </a:solidFill>
                        </a:rPr>
                        <a:t>Mousseux Alsace</a:t>
                      </a:r>
                    </a:p>
                  </a:txBody>
                  <a:tcPr anchor="ctr">
                    <a:solidFill>
                      <a:schemeClr val="bg2"/>
                    </a:solidFill>
                  </a:tcPr>
                </a:tc>
                <a:tc>
                  <a:txBody>
                    <a:bodyPr/>
                    <a:lstStyle/>
                    <a:p>
                      <a:pPr algn="ctr">
                        <a:defRPr sz="1100">
                          <a:latin typeface="Nexa Book"/>
                        </a:defRPr>
                      </a:pPr>
                      <a:r>
                        <a:rPr b="1">
                          <a:solidFill>
                            <a:srgbClr val="575555"/>
                          </a:solidFill>
                        </a:rPr>
                        <a:t>Mousseux Bordelais</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584613357"/>
      </p:ext>
    </p:extLst>
  </p:cSld>
  <p:clrMapOvr>
    <a:masterClrMapping/>
  </p:clrMapOvr>
</p:sld>
</file>

<file path=ppt/slides/slide7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2/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20</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June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Vol | Category vs. Nicolas | NICOLAS PAC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02358333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005942">
                  <a:extLst>
                    <a:ext uri="{9D8B030D-6E8A-4147-A177-3AD203B41FA5}">
                      <a16:colId xmlns:a16="http://schemas.microsoft.com/office/drawing/2014/main" val="2253286919"/>
                    </a:ext>
                  </a:extLst>
                </a:gridCol>
                <a:gridCol w="1005942">
                  <a:extLst>
                    <a:ext uri="{9D8B030D-6E8A-4147-A177-3AD203B41FA5}">
                      <a16:colId xmlns:a16="http://schemas.microsoft.com/office/drawing/2014/main" val="154020430"/>
                    </a:ext>
                  </a:extLst>
                </a:gridCol>
                <a:gridCol w="1005942">
                  <a:extLst>
                    <a:ext uri="{9D8B030D-6E8A-4147-A177-3AD203B41FA5}">
                      <a16:colId xmlns:a16="http://schemas.microsoft.com/office/drawing/2014/main" val="3928813835"/>
                    </a:ext>
                  </a:extLst>
                </a:gridCol>
                <a:gridCol w="1005942">
                  <a:extLst>
                    <a:ext uri="{9D8B030D-6E8A-4147-A177-3AD203B41FA5}">
                      <a16:colId xmlns:a16="http://schemas.microsoft.com/office/drawing/2014/main" val="4099274801"/>
                    </a:ext>
                  </a:extLst>
                </a:gridCol>
                <a:gridCol w="1005942">
                  <a:extLst>
                    <a:ext uri="{9D8B030D-6E8A-4147-A177-3AD203B41FA5}">
                      <a16:colId xmlns:a16="http://schemas.microsoft.com/office/drawing/2014/main" val="3203434082"/>
                    </a:ext>
                  </a:extLst>
                </a:gridCol>
                <a:gridCol w="1005942">
                  <a:extLst>
                    <a:ext uri="{9D8B030D-6E8A-4147-A177-3AD203B41FA5}">
                      <a16:colId xmlns:a16="http://schemas.microsoft.com/office/drawing/2014/main" val="1306444463"/>
                    </a:ext>
                  </a:extLst>
                </a:gridCol>
                <a:gridCol w="1005942">
                  <a:extLst>
                    <a:ext uri="{9D8B030D-6E8A-4147-A177-3AD203B41FA5}">
                      <a16:colId xmlns:a16="http://schemas.microsoft.com/office/drawing/2014/main" val="2052677327"/>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1.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1.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45"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005948">
                  <a:extLst>
                    <a:ext uri="{9D8B030D-6E8A-4147-A177-3AD203B41FA5}">
                      <a16:colId xmlns:a16="http://schemas.microsoft.com/office/drawing/2014/main" val="2253286919"/>
                    </a:ext>
                  </a:extLst>
                </a:gridCol>
                <a:gridCol w="1005948">
                  <a:extLst>
                    <a:ext uri="{9D8B030D-6E8A-4147-A177-3AD203B41FA5}">
                      <a16:colId xmlns:a16="http://schemas.microsoft.com/office/drawing/2014/main" val="154020430"/>
                    </a:ext>
                  </a:extLst>
                </a:gridCol>
                <a:gridCol w="1005948">
                  <a:extLst>
                    <a:ext uri="{9D8B030D-6E8A-4147-A177-3AD203B41FA5}">
                      <a16:colId xmlns:a16="http://schemas.microsoft.com/office/drawing/2014/main" val="3928813835"/>
                    </a:ext>
                  </a:extLst>
                </a:gridCol>
                <a:gridCol w="1005948">
                  <a:extLst>
                    <a:ext uri="{9D8B030D-6E8A-4147-A177-3AD203B41FA5}">
                      <a16:colId xmlns:a16="http://schemas.microsoft.com/office/drawing/2014/main" val="4099274801"/>
                    </a:ext>
                  </a:extLst>
                </a:gridCol>
                <a:gridCol w="1005948">
                  <a:extLst>
                    <a:ext uri="{9D8B030D-6E8A-4147-A177-3AD203B41FA5}">
                      <a16:colId xmlns:a16="http://schemas.microsoft.com/office/drawing/2014/main" val="3203434082"/>
                    </a:ext>
                  </a:extLst>
                </a:gridCol>
                <a:gridCol w="1005948">
                  <a:extLst>
                    <a:ext uri="{9D8B030D-6E8A-4147-A177-3AD203B41FA5}">
                      <a16:colId xmlns:a16="http://schemas.microsoft.com/office/drawing/2014/main" val="1306444463"/>
                    </a:ext>
                  </a:extLst>
                </a:gridCol>
                <a:gridCol w="1005948">
                  <a:extLst>
                    <a:ext uri="{9D8B030D-6E8A-4147-A177-3AD203B41FA5}">
                      <a16:colId xmlns:a16="http://schemas.microsoft.com/office/drawing/2014/main" val="2052677327"/>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3.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6.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106725281"/>
      </p:ext>
    </p:extLst>
  </p:cSld>
  <p:clrMapOvr>
    <a:masterClrMapping/>
  </p:clrMapOvr>
</p:sld>
</file>

<file path=ppt/slides/slide7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2/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21</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June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Vol | Category vs. Nicolas | NICOLAS RHO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02358333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005942">
                  <a:extLst>
                    <a:ext uri="{9D8B030D-6E8A-4147-A177-3AD203B41FA5}">
                      <a16:colId xmlns:a16="http://schemas.microsoft.com/office/drawing/2014/main" val="2253286919"/>
                    </a:ext>
                  </a:extLst>
                </a:gridCol>
                <a:gridCol w="1005942">
                  <a:extLst>
                    <a:ext uri="{9D8B030D-6E8A-4147-A177-3AD203B41FA5}">
                      <a16:colId xmlns:a16="http://schemas.microsoft.com/office/drawing/2014/main" val="154020430"/>
                    </a:ext>
                  </a:extLst>
                </a:gridCol>
                <a:gridCol w="1005942">
                  <a:extLst>
                    <a:ext uri="{9D8B030D-6E8A-4147-A177-3AD203B41FA5}">
                      <a16:colId xmlns:a16="http://schemas.microsoft.com/office/drawing/2014/main" val="3928813835"/>
                    </a:ext>
                  </a:extLst>
                </a:gridCol>
                <a:gridCol w="1005942">
                  <a:extLst>
                    <a:ext uri="{9D8B030D-6E8A-4147-A177-3AD203B41FA5}">
                      <a16:colId xmlns:a16="http://schemas.microsoft.com/office/drawing/2014/main" val="4099274801"/>
                    </a:ext>
                  </a:extLst>
                </a:gridCol>
                <a:gridCol w="1005942">
                  <a:extLst>
                    <a:ext uri="{9D8B030D-6E8A-4147-A177-3AD203B41FA5}">
                      <a16:colId xmlns:a16="http://schemas.microsoft.com/office/drawing/2014/main" val="3203434082"/>
                    </a:ext>
                  </a:extLst>
                </a:gridCol>
                <a:gridCol w="1005942">
                  <a:extLst>
                    <a:ext uri="{9D8B030D-6E8A-4147-A177-3AD203B41FA5}">
                      <a16:colId xmlns:a16="http://schemas.microsoft.com/office/drawing/2014/main" val="1306444463"/>
                    </a:ext>
                  </a:extLst>
                </a:gridCol>
                <a:gridCol w="1005942">
                  <a:extLst>
                    <a:ext uri="{9D8B030D-6E8A-4147-A177-3AD203B41FA5}">
                      <a16:colId xmlns:a16="http://schemas.microsoft.com/office/drawing/2014/main" val="2052677327"/>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8.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45"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005948">
                  <a:extLst>
                    <a:ext uri="{9D8B030D-6E8A-4147-A177-3AD203B41FA5}">
                      <a16:colId xmlns:a16="http://schemas.microsoft.com/office/drawing/2014/main" val="2253286919"/>
                    </a:ext>
                  </a:extLst>
                </a:gridCol>
                <a:gridCol w="1005948">
                  <a:extLst>
                    <a:ext uri="{9D8B030D-6E8A-4147-A177-3AD203B41FA5}">
                      <a16:colId xmlns:a16="http://schemas.microsoft.com/office/drawing/2014/main" val="154020430"/>
                    </a:ext>
                  </a:extLst>
                </a:gridCol>
                <a:gridCol w="1005948">
                  <a:extLst>
                    <a:ext uri="{9D8B030D-6E8A-4147-A177-3AD203B41FA5}">
                      <a16:colId xmlns:a16="http://schemas.microsoft.com/office/drawing/2014/main" val="3928813835"/>
                    </a:ext>
                  </a:extLst>
                </a:gridCol>
                <a:gridCol w="1005948">
                  <a:extLst>
                    <a:ext uri="{9D8B030D-6E8A-4147-A177-3AD203B41FA5}">
                      <a16:colId xmlns:a16="http://schemas.microsoft.com/office/drawing/2014/main" val="4099274801"/>
                    </a:ext>
                  </a:extLst>
                </a:gridCol>
                <a:gridCol w="1005948">
                  <a:extLst>
                    <a:ext uri="{9D8B030D-6E8A-4147-A177-3AD203B41FA5}">
                      <a16:colId xmlns:a16="http://schemas.microsoft.com/office/drawing/2014/main" val="3203434082"/>
                    </a:ext>
                  </a:extLst>
                </a:gridCol>
                <a:gridCol w="1005948">
                  <a:extLst>
                    <a:ext uri="{9D8B030D-6E8A-4147-A177-3AD203B41FA5}">
                      <a16:colId xmlns:a16="http://schemas.microsoft.com/office/drawing/2014/main" val="1306444463"/>
                    </a:ext>
                  </a:extLst>
                </a:gridCol>
                <a:gridCol w="1005948">
                  <a:extLst>
                    <a:ext uri="{9D8B030D-6E8A-4147-A177-3AD203B41FA5}">
                      <a16:colId xmlns:a16="http://schemas.microsoft.com/office/drawing/2014/main" val="2052677327"/>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4.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6.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523992360"/>
      </p:ext>
    </p:extLst>
  </p:cSld>
  <p:clrMapOvr>
    <a:masterClrMapping/>
  </p:clrMapOvr>
</p:sld>
</file>

<file path=ppt/slides/slide7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2/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22</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June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Vol | Category vs. Nicolas | NICOLAS AQU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02358333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880200">
                  <a:extLst>
                    <a:ext uri="{9D8B030D-6E8A-4147-A177-3AD203B41FA5}">
                      <a16:colId xmlns:a16="http://schemas.microsoft.com/office/drawing/2014/main" val="2253286919"/>
                    </a:ext>
                  </a:extLst>
                </a:gridCol>
                <a:gridCol w="880200">
                  <a:extLst>
                    <a:ext uri="{9D8B030D-6E8A-4147-A177-3AD203B41FA5}">
                      <a16:colId xmlns:a16="http://schemas.microsoft.com/office/drawing/2014/main" val="154020430"/>
                    </a:ext>
                  </a:extLst>
                </a:gridCol>
                <a:gridCol w="880200">
                  <a:extLst>
                    <a:ext uri="{9D8B030D-6E8A-4147-A177-3AD203B41FA5}">
                      <a16:colId xmlns:a16="http://schemas.microsoft.com/office/drawing/2014/main" val="3928813835"/>
                    </a:ext>
                  </a:extLst>
                </a:gridCol>
                <a:gridCol w="880200">
                  <a:extLst>
                    <a:ext uri="{9D8B030D-6E8A-4147-A177-3AD203B41FA5}">
                      <a16:colId xmlns:a16="http://schemas.microsoft.com/office/drawing/2014/main" val="4099274801"/>
                    </a:ext>
                  </a:extLst>
                </a:gridCol>
                <a:gridCol w="880200">
                  <a:extLst>
                    <a:ext uri="{9D8B030D-6E8A-4147-A177-3AD203B41FA5}">
                      <a16:colId xmlns:a16="http://schemas.microsoft.com/office/drawing/2014/main" val="3203434082"/>
                    </a:ext>
                  </a:extLst>
                </a:gridCol>
                <a:gridCol w="880200">
                  <a:extLst>
                    <a:ext uri="{9D8B030D-6E8A-4147-A177-3AD203B41FA5}">
                      <a16:colId xmlns:a16="http://schemas.microsoft.com/office/drawing/2014/main" val="1306444463"/>
                    </a:ext>
                  </a:extLst>
                </a:gridCol>
                <a:gridCol w="880200">
                  <a:extLst>
                    <a:ext uri="{9D8B030D-6E8A-4147-A177-3AD203B41FA5}">
                      <a16:colId xmlns:a16="http://schemas.microsoft.com/office/drawing/2014/main" val="2052677327"/>
                    </a:ext>
                  </a:extLst>
                </a:gridCol>
                <a:gridCol w="880200">
                  <a:extLst>
                    <a:ext uri="{9D8B030D-6E8A-4147-A177-3AD203B41FA5}">
                      <a16:colId xmlns:a16="http://schemas.microsoft.com/office/drawing/2014/main" val="1311887603"/>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5.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5.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4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880205">
                  <a:extLst>
                    <a:ext uri="{9D8B030D-6E8A-4147-A177-3AD203B41FA5}">
                      <a16:colId xmlns:a16="http://schemas.microsoft.com/office/drawing/2014/main" val="2253286919"/>
                    </a:ext>
                  </a:extLst>
                </a:gridCol>
                <a:gridCol w="880205">
                  <a:extLst>
                    <a:ext uri="{9D8B030D-6E8A-4147-A177-3AD203B41FA5}">
                      <a16:colId xmlns:a16="http://schemas.microsoft.com/office/drawing/2014/main" val="154020430"/>
                    </a:ext>
                  </a:extLst>
                </a:gridCol>
                <a:gridCol w="880205">
                  <a:extLst>
                    <a:ext uri="{9D8B030D-6E8A-4147-A177-3AD203B41FA5}">
                      <a16:colId xmlns:a16="http://schemas.microsoft.com/office/drawing/2014/main" val="3928813835"/>
                    </a:ext>
                  </a:extLst>
                </a:gridCol>
                <a:gridCol w="880205">
                  <a:extLst>
                    <a:ext uri="{9D8B030D-6E8A-4147-A177-3AD203B41FA5}">
                      <a16:colId xmlns:a16="http://schemas.microsoft.com/office/drawing/2014/main" val="4099274801"/>
                    </a:ext>
                  </a:extLst>
                </a:gridCol>
                <a:gridCol w="880205">
                  <a:extLst>
                    <a:ext uri="{9D8B030D-6E8A-4147-A177-3AD203B41FA5}">
                      <a16:colId xmlns:a16="http://schemas.microsoft.com/office/drawing/2014/main" val="3203434082"/>
                    </a:ext>
                  </a:extLst>
                </a:gridCol>
                <a:gridCol w="880205">
                  <a:extLst>
                    <a:ext uri="{9D8B030D-6E8A-4147-A177-3AD203B41FA5}">
                      <a16:colId xmlns:a16="http://schemas.microsoft.com/office/drawing/2014/main" val="1306444463"/>
                    </a:ext>
                  </a:extLst>
                </a:gridCol>
                <a:gridCol w="880205">
                  <a:extLst>
                    <a:ext uri="{9D8B030D-6E8A-4147-A177-3AD203B41FA5}">
                      <a16:colId xmlns:a16="http://schemas.microsoft.com/office/drawing/2014/main" val="2052677327"/>
                    </a:ext>
                  </a:extLst>
                </a:gridCol>
                <a:gridCol w="880205">
                  <a:extLst>
                    <a:ext uri="{9D8B030D-6E8A-4147-A177-3AD203B41FA5}">
                      <a16:colId xmlns:a16="http://schemas.microsoft.com/office/drawing/2014/main" val="1311887603"/>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3.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762061171"/>
      </p:ext>
    </p:extLst>
  </p:cSld>
  <p:clrMapOvr>
    <a:masterClrMapping/>
  </p:clrMapOvr>
</p:sld>
</file>

<file path=ppt/slides/slide7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2/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23</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June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Vol | Category vs. Nicolas | NICOLAS 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02358333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005942">
                  <a:extLst>
                    <a:ext uri="{9D8B030D-6E8A-4147-A177-3AD203B41FA5}">
                      <a16:colId xmlns:a16="http://schemas.microsoft.com/office/drawing/2014/main" val="2253286919"/>
                    </a:ext>
                  </a:extLst>
                </a:gridCol>
                <a:gridCol w="1005942">
                  <a:extLst>
                    <a:ext uri="{9D8B030D-6E8A-4147-A177-3AD203B41FA5}">
                      <a16:colId xmlns:a16="http://schemas.microsoft.com/office/drawing/2014/main" val="154020430"/>
                    </a:ext>
                  </a:extLst>
                </a:gridCol>
                <a:gridCol w="1005942">
                  <a:extLst>
                    <a:ext uri="{9D8B030D-6E8A-4147-A177-3AD203B41FA5}">
                      <a16:colId xmlns:a16="http://schemas.microsoft.com/office/drawing/2014/main" val="3928813835"/>
                    </a:ext>
                  </a:extLst>
                </a:gridCol>
                <a:gridCol w="1005942">
                  <a:extLst>
                    <a:ext uri="{9D8B030D-6E8A-4147-A177-3AD203B41FA5}">
                      <a16:colId xmlns:a16="http://schemas.microsoft.com/office/drawing/2014/main" val="4099274801"/>
                    </a:ext>
                  </a:extLst>
                </a:gridCol>
                <a:gridCol w="1005942">
                  <a:extLst>
                    <a:ext uri="{9D8B030D-6E8A-4147-A177-3AD203B41FA5}">
                      <a16:colId xmlns:a16="http://schemas.microsoft.com/office/drawing/2014/main" val="3203434082"/>
                    </a:ext>
                  </a:extLst>
                </a:gridCol>
                <a:gridCol w="1005942">
                  <a:extLst>
                    <a:ext uri="{9D8B030D-6E8A-4147-A177-3AD203B41FA5}">
                      <a16:colId xmlns:a16="http://schemas.microsoft.com/office/drawing/2014/main" val="1306444463"/>
                    </a:ext>
                  </a:extLst>
                </a:gridCol>
                <a:gridCol w="1005942">
                  <a:extLst>
                    <a:ext uri="{9D8B030D-6E8A-4147-A177-3AD203B41FA5}">
                      <a16:colId xmlns:a16="http://schemas.microsoft.com/office/drawing/2014/main" val="2052677327"/>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6.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6.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45"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005948">
                  <a:extLst>
                    <a:ext uri="{9D8B030D-6E8A-4147-A177-3AD203B41FA5}">
                      <a16:colId xmlns:a16="http://schemas.microsoft.com/office/drawing/2014/main" val="2253286919"/>
                    </a:ext>
                  </a:extLst>
                </a:gridCol>
                <a:gridCol w="1005948">
                  <a:extLst>
                    <a:ext uri="{9D8B030D-6E8A-4147-A177-3AD203B41FA5}">
                      <a16:colId xmlns:a16="http://schemas.microsoft.com/office/drawing/2014/main" val="154020430"/>
                    </a:ext>
                  </a:extLst>
                </a:gridCol>
                <a:gridCol w="1005948">
                  <a:extLst>
                    <a:ext uri="{9D8B030D-6E8A-4147-A177-3AD203B41FA5}">
                      <a16:colId xmlns:a16="http://schemas.microsoft.com/office/drawing/2014/main" val="3928813835"/>
                    </a:ext>
                  </a:extLst>
                </a:gridCol>
                <a:gridCol w="1005948">
                  <a:extLst>
                    <a:ext uri="{9D8B030D-6E8A-4147-A177-3AD203B41FA5}">
                      <a16:colId xmlns:a16="http://schemas.microsoft.com/office/drawing/2014/main" val="4099274801"/>
                    </a:ext>
                  </a:extLst>
                </a:gridCol>
                <a:gridCol w="1005948">
                  <a:extLst>
                    <a:ext uri="{9D8B030D-6E8A-4147-A177-3AD203B41FA5}">
                      <a16:colId xmlns:a16="http://schemas.microsoft.com/office/drawing/2014/main" val="3203434082"/>
                    </a:ext>
                  </a:extLst>
                </a:gridCol>
                <a:gridCol w="1005948">
                  <a:extLst>
                    <a:ext uri="{9D8B030D-6E8A-4147-A177-3AD203B41FA5}">
                      <a16:colId xmlns:a16="http://schemas.microsoft.com/office/drawing/2014/main" val="1306444463"/>
                    </a:ext>
                  </a:extLst>
                </a:gridCol>
                <a:gridCol w="1005948">
                  <a:extLst>
                    <a:ext uri="{9D8B030D-6E8A-4147-A177-3AD203B41FA5}">
                      <a16:colId xmlns:a16="http://schemas.microsoft.com/office/drawing/2014/main" val="2052677327"/>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2.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4097674136"/>
      </p:ext>
    </p:extLst>
  </p:cSld>
  <p:clrMapOvr>
    <a:masterClrMapping/>
  </p:clrMapOvr>
</p:sld>
</file>

<file path=ppt/slides/slide7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2/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24</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June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Vol | Category vs. Nicolas | CA A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02358333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880200">
                  <a:extLst>
                    <a:ext uri="{9D8B030D-6E8A-4147-A177-3AD203B41FA5}">
                      <a16:colId xmlns:a16="http://schemas.microsoft.com/office/drawing/2014/main" val="2253286919"/>
                    </a:ext>
                  </a:extLst>
                </a:gridCol>
                <a:gridCol w="880200">
                  <a:extLst>
                    <a:ext uri="{9D8B030D-6E8A-4147-A177-3AD203B41FA5}">
                      <a16:colId xmlns:a16="http://schemas.microsoft.com/office/drawing/2014/main" val="154020430"/>
                    </a:ext>
                  </a:extLst>
                </a:gridCol>
                <a:gridCol w="880200">
                  <a:extLst>
                    <a:ext uri="{9D8B030D-6E8A-4147-A177-3AD203B41FA5}">
                      <a16:colId xmlns:a16="http://schemas.microsoft.com/office/drawing/2014/main" val="3928813835"/>
                    </a:ext>
                  </a:extLst>
                </a:gridCol>
                <a:gridCol w="880200">
                  <a:extLst>
                    <a:ext uri="{9D8B030D-6E8A-4147-A177-3AD203B41FA5}">
                      <a16:colId xmlns:a16="http://schemas.microsoft.com/office/drawing/2014/main" val="4099274801"/>
                    </a:ext>
                  </a:extLst>
                </a:gridCol>
                <a:gridCol w="880200">
                  <a:extLst>
                    <a:ext uri="{9D8B030D-6E8A-4147-A177-3AD203B41FA5}">
                      <a16:colId xmlns:a16="http://schemas.microsoft.com/office/drawing/2014/main" val="3203434082"/>
                    </a:ext>
                  </a:extLst>
                </a:gridCol>
                <a:gridCol w="880200">
                  <a:extLst>
                    <a:ext uri="{9D8B030D-6E8A-4147-A177-3AD203B41FA5}">
                      <a16:colId xmlns:a16="http://schemas.microsoft.com/office/drawing/2014/main" val="1306444463"/>
                    </a:ext>
                  </a:extLst>
                </a:gridCol>
                <a:gridCol w="880200">
                  <a:extLst>
                    <a:ext uri="{9D8B030D-6E8A-4147-A177-3AD203B41FA5}">
                      <a16:colId xmlns:a16="http://schemas.microsoft.com/office/drawing/2014/main" val="2052677327"/>
                    </a:ext>
                  </a:extLst>
                </a:gridCol>
                <a:gridCol w="880200">
                  <a:extLst>
                    <a:ext uri="{9D8B030D-6E8A-4147-A177-3AD203B41FA5}">
                      <a16:colId xmlns:a16="http://schemas.microsoft.com/office/drawing/2014/main" val="1311887603"/>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9.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4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880205">
                  <a:extLst>
                    <a:ext uri="{9D8B030D-6E8A-4147-A177-3AD203B41FA5}">
                      <a16:colId xmlns:a16="http://schemas.microsoft.com/office/drawing/2014/main" val="2253286919"/>
                    </a:ext>
                  </a:extLst>
                </a:gridCol>
                <a:gridCol w="880205">
                  <a:extLst>
                    <a:ext uri="{9D8B030D-6E8A-4147-A177-3AD203B41FA5}">
                      <a16:colId xmlns:a16="http://schemas.microsoft.com/office/drawing/2014/main" val="154020430"/>
                    </a:ext>
                  </a:extLst>
                </a:gridCol>
                <a:gridCol w="880205">
                  <a:extLst>
                    <a:ext uri="{9D8B030D-6E8A-4147-A177-3AD203B41FA5}">
                      <a16:colId xmlns:a16="http://schemas.microsoft.com/office/drawing/2014/main" val="3928813835"/>
                    </a:ext>
                  </a:extLst>
                </a:gridCol>
                <a:gridCol w="880205">
                  <a:extLst>
                    <a:ext uri="{9D8B030D-6E8A-4147-A177-3AD203B41FA5}">
                      <a16:colId xmlns:a16="http://schemas.microsoft.com/office/drawing/2014/main" val="4099274801"/>
                    </a:ext>
                  </a:extLst>
                </a:gridCol>
                <a:gridCol w="880205">
                  <a:extLst>
                    <a:ext uri="{9D8B030D-6E8A-4147-A177-3AD203B41FA5}">
                      <a16:colId xmlns:a16="http://schemas.microsoft.com/office/drawing/2014/main" val="3203434082"/>
                    </a:ext>
                  </a:extLst>
                </a:gridCol>
                <a:gridCol w="880205">
                  <a:extLst>
                    <a:ext uri="{9D8B030D-6E8A-4147-A177-3AD203B41FA5}">
                      <a16:colId xmlns:a16="http://schemas.microsoft.com/office/drawing/2014/main" val="1306444463"/>
                    </a:ext>
                  </a:extLst>
                </a:gridCol>
                <a:gridCol w="880205">
                  <a:extLst>
                    <a:ext uri="{9D8B030D-6E8A-4147-A177-3AD203B41FA5}">
                      <a16:colId xmlns:a16="http://schemas.microsoft.com/office/drawing/2014/main" val="2052677327"/>
                    </a:ext>
                  </a:extLst>
                </a:gridCol>
                <a:gridCol w="880205">
                  <a:extLst>
                    <a:ext uri="{9D8B030D-6E8A-4147-A177-3AD203B41FA5}">
                      <a16:colId xmlns:a16="http://schemas.microsoft.com/office/drawing/2014/main" val="1311887603"/>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3.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47444246"/>
      </p:ext>
    </p:extLst>
  </p:cSld>
  <p:clrMapOvr>
    <a:masterClrMapping/>
  </p:clrMapOvr>
</p:sld>
</file>

<file path=ppt/slides/slide7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2/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25</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June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Vol | Category vs. Nicolas | CA B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02358333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782400">
                  <a:extLst>
                    <a:ext uri="{9D8B030D-6E8A-4147-A177-3AD203B41FA5}">
                      <a16:colId xmlns:a16="http://schemas.microsoft.com/office/drawing/2014/main" val="2253286919"/>
                    </a:ext>
                  </a:extLst>
                </a:gridCol>
                <a:gridCol w="782400">
                  <a:extLst>
                    <a:ext uri="{9D8B030D-6E8A-4147-A177-3AD203B41FA5}">
                      <a16:colId xmlns:a16="http://schemas.microsoft.com/office/drawing/2014/main" val="154020430"/>
                    </a:ext>
                  </a:extLst>
                </a:gridCol>
                <a:gridCol w="782400">
                  <a:extLst>
                    <a:ext uri="{9D8B030D-6E8A-4147-A177-3AD203B41FA5}">
                      <a16:colId xmlns:a16="http://schemas.microsoft.com/office/drawing/2014/main" val="3928813835"/>
                    </a:ext>
                  </a:extLst>
                </a:gridCol>
                <a:gridCol w="782400">
                  <a:extLst>
                    <a:ext uri="{9D8B030D-6E8A-4147-A177-3AD203B41FA5}">
                      <a16:colId xmlns:a16="http://schemas.microsoft.com/office/drawing/2014/main" val="4099274801"/>
                    </a:ext>
                  </a:extLst>
                </a:gridCol>
                <a:gridCol w="782400">
                  <a:extLst>
                    <a:ext uri="{9D8B030D-6E8A-4147-A177-3AD203B41FA5}">
                      <a16:colId xmlns:a16="http://schemas.microsoft.com/office/drawing/2014/main" val="3203434082"/>
                    </a:ext>
                  </a:extLst>
                </a:gridCol>
                <a:gridCol w="782400">
                  <a:extLst>
                    <a:ext uri="{9D8B030D-6E8A-4147-A177-3AD203B41FA5}">
                      <a16:colId xmlns:a16="http://schemas.microsoft.com/office/drawing/2014/main" val="1306444463"/>
                    </a:ext>
                  </a:extLst>
                </a:gridCol>
                <a:gridCol w="782400">
                  <a:extLst>
                    <a:ext uri="{9D8B030D-6E8A-4147-A177-3AD203B41FA5}">
                      <a16:colId xmlns:a16="http://schemas.microsoft.com/office/drawing/2014/main" val="2052677327"/>
                    </a:ext>
                  </a:extLst>
                </a:gridCol>
                <a:gridCol w="782400">
                  <a:extLst>
                    <a:ext uri="{9D8B030D-6E8A-4147-A177-3AD203B41FA5}">
                      <a16:colId xmlns:a16="http://schemas.microsoft.com/office/drawing/2014/main" val="1311887603"/>
                    </a:ext>
                  </a:extLst>
                </a:gridCol>
                <a:gridCol w="782400">
                  <a:extLst>
                    <a:ext uri="{9D8B030D-6E8A-4147-A177-3AD203B41FA5}">
                      <a16:colId xmlns:a16="http://schemas.microsoft.com/office/drawing/2014/main" val="2227414998"/>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3.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2.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5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782405">
                  <a:extLst>
                    <a:ext uri="{9D8B030D-6E8A-4147-A177-3AD203B41FA5}">
                      <a16:colId xmlns:a16="http://schemas.microsoft.com/office/drawing/2014/main" val="2253286919"/>
                    </a:ext>
                  </a:extLst>
                </a:gridCol>
                <a:gridCol w="782405">
                  <a:extLst>
                    <a:ext uri="{9D8B030D-6E8A-4147-A177-3AD203B41FA5}">
                      <a16:colId xmlns:a16="http://schemas.microsoft.com/office/drawing/2014/main" val="154020430"/>
                    </a:ext>
                  </a:extLst>
                </a:gridCol>
                <a:gridCol w="782405">
                  <a:extLst>
                    <a:ext uri="{9D8B030D-6E8A-4147-A177-3AD203B41FA5}">
                      <a16:colId xmlns:a16="http://schemas.microsoft.com/office/drawing/2014/main" val="3928813835"/>
                    </a:ext>
                  </a:extLst>
                </a:gridCol>
                <a:gridCol w="782405">
                  <a:extLst>
                    <a:ext uri="{9D8B030D-6E8A-4147-A177-3AD203B41FA5}">
                      <a16:colId xmlns:a16="http://schemas.microsoft.com/office/drawing/2014/main" val="4099274801"/>
                    </a:ext>
                  </a:extLst>
                </a:gridCol>
                <a:gridCol w="782405">
                  <a:extLst>
                    <a:ext uri="{9D8B030D-6E8A-4147-A177-3AD203B41FA5}">
                      <a16:colId xmlns:a16="http://schemas.microsoft.com/office/drawing/2014/main" val="3203434082"/>
                    </a:ext>
                  </a:extLst>
                </a:gridCol>
                <a:gridCol w="782405">
                  <a:extLst>
                    <a:ext uri="{9D8B030D-6E8A-4147-A177-3AD203B41FA5}">
                      <a16:colId xmlns:a16="http://schemas.microsoft.com/office/drawing/2014/main" val="1306444463"/>
                    </a:ext>
                  </a:extLst>
                </a:gridCol>
                <a:gridCol w="782405">
                  <a:extLst>
                    <a:ext uri="{9D8B030D-6E8A-4147-A177-3AD203B41FA5}">
                      <a16:colId xmlns:a16="http://schemas.microsoft.com/office/drawing/2014/main" val="2052677327"/>
                    </a:ext>
                  </a:extLst>
                </a:gridCol>
                <a:gridCol w="782405">
                  <a:extLst>
                    <a:ext uri="{9D8B030D-6E8A-4147-A177-3AD203B41FA5}">
                      <a16:colId xmlns:a16="http://schemas.microsoft.com/office/drawing/2014/main" val="1311887603"/>
                    </a:ext>
                  </a:extLst>
                </a:gridCol>
                <a:gridCol w="782405">
                  <a:extLst>
                    <a:ext uri="{9D8B030D-6E8A-4147-A177-3AD203B41FA5}">
                      <a16:colId xmlns:a16="http://schemas.microsoft.com/office/drawing/2014/main" val="2227414998"/>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3.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979575410"/>
      </p:ext>
    </p:extLst>
  </p:cSld>
  <p:clrMapOvr>
    <a:masterClrMapping/>
  </p:clrMapOvr>
</p:sld>
</file>

<file path=ppt/slides/slide7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2/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26</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June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Vol | Category vs. Nicolas | CA C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02358333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880200">
                  <a:extLst>
                    <a:ext uri="{9D8B030D-6E8A-4147-A177-3AD203B41FA5}">
                      <a16:colId xmlns:a16="http://schemas.microsoft.com/office/drawing/2014/main" val="2253286919"/>
                    </a:ext>
                  </a:extLst>
                </a:gridCol>
                <a:gridCol w="880200">
                  <a:extLst>
                    <a:ext uri="{9D8B030D-6E8A-4147-A177-3AD203B41FA5}">
                      <a16:colId xmlns:a16="http://schemas.microsoft.com/office/drawing/2014/main" val="154020430"/>
                    </a:ext>
                  </a:extLst>
                </a:gridCol>
                <a:gridCol w="880200">
                  <a:extLst>
                    <a:ext uri="{9D8B030D-6E8A-4147-A177-3AD203B41FA5}">
                      <a16:colId xmlns:a16="http://schemas.microsoft.com/office/drawing/2014/main" val="3928813835"/>
                    </a:ext>
                  </a:extLst>
                </a:gridCol>
                <a:gridCol w="880200">
                  <a:extLst>
                    <a:ext uri="{9D8B030D-6E8A-4147-A177-3AD203B41FA5}">
                      <a16:colId xmlns:a16="http://schemas.microsoft.com/office/drawing/2014/main" val="4099274801"/>
                    </a:ext>
                  </a:extLst>
                </a:gridCol>
                <a:gridCol w="880200">
                  <a:extLst>
                    <a:ext uri="{9D8B030D-6E8A-4147-A177-3AD203B41FA5}">
                      <a16:colId xmlns:a16="http://schemas.microsoft.com/office/drawing/2014/main" val="3203434082"/>
                    </a:ext>
                  </a:extLst>
                </a:gridCol>
                <a:gridCol w="880200">
                  <a:extLst>
                    <a:ext uri="{9D8B030D-6E8A-4147-A177-3AD203B41FA5}">
                      <a16:colId xmlns:a16="http://schemas.microsoft.com/office/drawing/2014/main" val="1306444463"/>
                    </a:ext>
                  </a:extLst>
                </a:gridCol>
                <a:gridCol w="880200">
                  <a:extLst>
                    <a:ext uri="{9D8B030D-6E8A-4147-A177-3AD203B41FA5}">
                      <a16:colId xmlns:a16="http://schemas.microsoft.com/office/drawing/2014/main" val="2052677327"/>
                    </a:ext>
                  </a:extLst>
                </a:gridCol>
                <a:gridCol w="880200">
                  <a:extLst>
                    <a:ext uri="{9D8B030D-6E8A-4147-A177-3AD203B41FA5}">
                      <a16:colId xmlns:a16="http://schemas.microsoft.com/office/drawing/2014/main" val="1311887603"/>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2.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2.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4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880205">
                  <a:extLst>
                    <a:ext uri="{9D8B030D-6E8A-4147-A177-3AD203B41FA5}">
                      <a16:colId xmlns:a16="http://schemas.microsoft.com/office/drawing/2014/main" val="2253286919"/>
                    </a:ext>
                  </a:extLst>
                </a:gridCol>
                <a:gridCol w="880205">
                  <a:extLst>
                    <a:ext uri="{9D8B030D-6E8A-4147-A177-3AD203B41FA5}">
                      <a16:colId xmlns:a16="http://schemas.microsoft.com/office/drawing/2014/main" val="154020430"/>
                    </a:ext>
                  </a:extLst>
                </a:gridCol>
                <a:gridCol w="880205">
                  <a:extLst>
                    <a:ext uri="{9D8B030D-6E8A-4147-A177-3AD203B41FA5}">
                      <a16:colId xmlns:a16="http://schemas.microsoft.com/office/drawing/2014/main" val="3928813835"/>
                    </a:ext>
                  </a:extLst>
                </a:gridCol>
                <a:gridCol w="880205">
                  <a:extLst>
                    <a:ext uri="{9D8B030D-6E8A-4147-A177-3AD203B41FA5}">
                      <a16:colId xmlns:a16="http://schemas.microsoft.com/office/drawing/2014/main" val="4099274801"/>
                    </a:ext>
                  </a:extLst>
                </a:gridCol>
                <a:gridCol w="880205">
                  <a:extLst>
                    <a:ext uri="{9D8B030D-6E8A-4147-A177-3AD203B41FA5}">
                      <a16:colId xmlns:a16="http://schemas.microsoft.com/office/drawing/2014/main" val="3203434082"/>
                    </a:ext>
                  </a:extLst>
                </a:gridCol>
                <a:gridCol w="880205">
                  <a:extLst>
                    <a:ext uri="{9D8B030D-6E8A-4147-A177-3AD203B41FA5}">
                      <a16:colId xmlns:a16="http://schemas.microsoft.com/office/drawing/2014/main" val="1306444463"/>
                    </a:ext>
                  </a:extLst>
                </a:gridCol>
                <a:gridCol w="880205">
                  <a:extLst>
                    <a:ext uri="{9D8B030D-6E8A-4147-A177-3AD203B41FA5}">
                      <a16:colId xmlns:a16="http://schemas.microsoft.com/office/drawing/2014/main" val="2052677327"/>
                    </a:ext>
                  </a:extLst>
                </a:gridCol>
                <a:gridCol w="880205">
                  <a:extLst>
                    <a:ext uri="{9D8B030D-6E8A-4147-A177-3AD203B41FA5}">
                      <a16:colId xmlns:a16="http://schemas.microsoft.com/office/drawing/2014/main" val="1311887603"/>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3.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811183279"/>
      </p:ext>
    </p:extLst>
  </p:cSld>
  <p:clrMapOvr>
    <a:masterClrMapping/>
  </p:clrMapOvr>
</p:sld>
</file>

<file path=ppt/slides/slide7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2/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27</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June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Vol | Category vs. Nicolas | CA D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02358333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782400">
                  <a:extLst>
                    <a:ext uri="{9D8B030D-6E8A-4147-A177-3AD203B41FA5}">
                      <a16:colId xmlns:a16="http://schemas.microsoft.com/office/drawing/2014/main" val="2253286919"/>
                    </a:ext>
                  </a:extLst>
                </a:gridCol>
                <a:gridCol w="782400">
                  <a:extLst>
                    <a:ext uri="{9D8B030D-6E8A-4147-A177-3AD203B41FA5}">
                      <a16:colId xmlns:a16="http://schemas.microsoft.com/office/drawing/2014/main" val="154020430"/>
                    </a:ext>
                  </a:extLst>
                </a:gridCol>
                <a:gridCol w="782400">
                  <a:extLst>
                    <a:ext uri="{9D8B030D-6E8A-4147-A177-3AD203B41FA5}">
                      <a16:colId xmlns:a16="http://schemas.microsoft.com/office/drawing/2014/main" val="3928813835"/>
                    </a:ext>
                  </a:extLst>
                </a:gridCol>
                <a:gridCol w="782400">
                  <a:extLst>
                    <a:ext uri="{9D8B030D-6E8A-4147-A177-3AD203B41FA5}">
                      <a16:colId xmlns:a16="http://schemas.microsoft.com/office/drawing/2014/main" val="4099274801"/>
                    </a:ext>
                  </a:extLst>
                </a:gridCol>
                <a:gridCol w="782400">
                  <a:extLst>
                    <a:ext uri="{9D8B030D-6E8A-4147-A177-3AD203B41FA5}">
                      <a16:colId xmlns:a16="http://schemas.microsoft.com/office/drawing/2014/main" val="3203434082"/>
                    </a:ext>
                  </a:extLst>
                </a:gridCol>
                <a:gridCol w="782400">
                  <a:extLst>
                    <a:ext uri="{9D8B030D-6E8A-4147-A177-3AD203B41FA5}">
                      <a16:colId xmlns:a16="http://schemas.microsoft.com/office/drawing/2014/main" val="1306444463"/>
                    </a:ext>
                  </a:extLst>
                </a:gridCol>
                <a:gridCol w="782400">
                  <a:extLst>
                    <a:ext uri="{9D8B030D-6E8A-4147-A177-3AD203B41FA5}">
                      <a16:colId xmlns:a16="http://schemas.microsoft.com/office/drawing/2014/main" val="2052677327"/>
                    </a:ext>
                  </a:extLst>
                </a:gridCol>
                <a:gridCol w="782400">
                  <a:extLst>
                    <a:ext uri="{9D8B030D-6E8A-4147-A177-3AD203B41FA5}">
                      <a16:colId xmlns:a16="http://schemas.microsoft.com/office/drawing/2014/main" val="1311887603"/>
                    </a:ext>
                  </a:extLst>
                </a:gridCol>
                <a:gridCol w="782400">
                  <a:extLst>
                    <a:ext uri="{9D8B030D-6E8A-4147-A177-3AD203B41FA5}">
                      <a16:colId xmlns:a16="http://schemas.microsoft.com/office/drawing/2014/main" val="2227414998"/>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5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782405">
                  <a:extLst>
                    <a:ext uri="{9D8B030D-6E8A-4147-A177-3AD203B41FA5}">
                      <a16:colId xmlns:a16="http://schemas.microsoft.com/office/drawing/2014/main" val="2253286919"/>
                    </a:ext>
                  </a:extLst>
                </a:gridCol>
                <a:gridCol w="782405">
                  <a:extLst>
                    <a:ext uri="{9D8B030D-6E8A-4147-A177-3AD203B41FA5}">
                      <a16:colId xmlns:a16="http://schemas.microsoft.com/office/drawing/2014/main" val="154020430"/>
                    </a:ext>
                  </a:extLst>
                </a:gridCol>
                <a:gridCol w="782405">
                  <a:extLst>
                    <a:ext uri="{9D8B030D-6E8A-4147-A177-3AD203B41FA5}">
                      <a16:colId xmlns:a16="http://schemas.microsoft.com/office/drawing/2014/main" val="3928813835"/>
                    </a:ext>
                  </a:extLst>
                </a:gridCol>
                <a:gridCol w="782405">
                  <a:extLst>
                    <a:ext uri="{9D8B030D-6E8A-4147-A177-3AD203B41FA5}">
                      <a16:colId xmlns:a16="http://schemas.microsoft.com/office/drawing/2014/main" val="4099274801"/>
                    </a:ext>
                  </a:extLst>
                </a:gridCol>
                <a:gridCol w="782405">
                  <a:extLst>
                    <a:ext uri="{9D8B030D-6E8A-4147-A177-3AD203B41FA5}">
                      <a16:colId xmlns:a16="http://schemas.microsoft.com/office/drawing/2014/main" val="3203434082"/>
                    </a:ext>
                  </a:extLst>
                </a:gridCol>
                <a:gridCol w="782405">
                  <a:extLst>
                    <a:ext uri="{9D8B030D-6E8A-4147-A177-3AD203B41FA5}">
                      <a16:colId xmlns:a16="http://schemas.microsoft.com/office/drawing/2014/main" val="1306444463"/>
                    </a:ext>
                  </a:extLst>
                </a:gridCol>
                <a:gridCol w="782405">
                  <a:extLst>
                    <a:ext uri="{9D8B030D-6E8A-4147-A177-3AD203B41FA5}">
                      <a16:colId xmlns:a16="http://schemas.microsoft.com/office/drawing/2014/main" val="2052677327"/>
                    </a:ext>
                  </a:extLst>
                </a:gridCol>
                <a:gridCol w="782405">
                  <a:extLst>
                    <a:ext uri="{9D8B030D-6E8A-4147-A177-3AD203B41FA5}">
                      <a16:colId xmlns:a16="http://schemas.microsoft.com/office/drawing/2014/main" val="1311887603"/>
                    </a:ext>
                  </a:extLst>
                </a:gridCol>
                <a:gridCol w="782405">
                  <a:extLst>
                    <a:ext uri="{9D8B030D-6E8A-4147-A177-3AD203B41FA5}">
                      <a16:colId xmlns:a16="http://schemas.microsoft.com/office/drawing/2014/main" val="2227414998"/>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3.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831771623"/>
      </p:ext>
    </p:extLst>
  </p:cSld>
  <p:clrMapOvr>
    <a:masterClrMapping/>
  </p:clrMapOvr>
</p:sld>
</file>

<file path=ppt/slides/slide7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2/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28</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June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Vol | Category vs. Nicolas | CA E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02358333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782400">
                  <a:extLst>
                    <a:ext uri="{9D8B030D-6E8A-4147-A177-3AD203B41FA5}">
                      <a16:colId xmlns:a16="http://schemas.microsoft.com/office/drawing/2014/main" val="2253286919"/>
                    </a:ext>
                  </a:extLst>
                </a:gridCol>
                <a:gridCol w="782400">
                  <a:extLst>
                    <a:ext uri="{9D8B030D-6E8A-4147-A177-3AD203B41FA5}">
                      <a16:colId xmlns:a16="http://schemas.microsoft.com/office/drawing/2014/main" val="154020430"/>
                    </a:ext>
                  </a:extLst>
                </a:gridCol>
                <a:gridCol w="782400">
                  <a:extLst>
                    <a:ext uri="{9D8B030D-6E8A-4147-A177-3AD203B41FA5}">
                      <a16:colId xmlns:a16="http://schemas.microsoft.com/office/drawing/2014/main" val="3928813835"/>
                    </a:ext>
                  </a:extLst>
                </a:gridCol>
                <a:gridCol w="782400">
                  <a:extLst>
                    <a:ext uri="{9D8B030D-6E8A-4147-A177-3AD203B41FA5}">
                      <a16:colId xmlns:a16="http://schemas.microsoft.com/office/drawing/2014/main" val="4099274801"/>
                    </a:ext>
                  </a:extLst>
                </a:gridCol>
                <a:gridCol w="782400">
                  <a:extLst>
                    <a:ext uri="{9D8B030D-6E8A-4147-A177-3AD203B41FA5}">
                      <a16:colId xmlns:a16="http://schemas.microsoft.com/office/drawing/2014/main" val="3203434082"/>
                    </a:ext>
                  </a:extLst>
                </a:gridCol>
                <a:gridCol w="782400">
                  <a:extLst>
                    <a:ext uri="{9D8B030D-6E8A-4147-A177-3AD203B41FA5}">
                      <a16:colId xmlns:a16="http://schemas.microsoft.com/office/drawing/2014/main" val="1306444463"/>
                    </a:ext>
                  </a:extLst>
                </a:gridCol>
                <a:gridCol w="782400">
                  <a:extLst>
                    <a:ext uri="{9D8B030D-6E8A-4147-A177-3AD203B41FA5}">
                      <a16:colId xmlns:a16="http://schemas.microsoft.com/office/drawing/2014/main" val="2052677327"/>
                    </a:ext>
                  </a:extLst>
                </a:gridCol>
                <a:gridCol w="782400">
                  <a:extLst>
                    <a:ext uri="{9D8B030D-6E8A-4147-A177-3AD203B41FA5}">
                      <a16:colId xmlns:a16="http://schemas.microsoft.com/office/drawing/2014/main" val="1311887603"/>
                    </a:ext>
                  </a:extLst>
                </a:gridCol>
                <a:gridCol w="782400">
                  <a:extLst>
                    <a:ext uri="{9D8B030D-6E8A-4147-A177-3AD203B41FA5}">
                      <a16:colId xmlns:a16="http://schemas.microsoft.com/office/drawing/2014/main" val="2227414998"/>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2.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0.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5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782405">
                  <a:extLst>
                    <a:ext uri="{9D8B030D-6E8A-4147-A177-3AD203B41FA5}">
                      <a16:colId xmlns:a16="http://schemas.microsoft.com/office/drawing/2014/main" val="2253286919"/>
                    </a:ext>
                  </a:extLst>
                </a:gridCol>
                <a:gridCol w="782405">
                  <a:extLst>
                    <a:ext uri="{9D8B030D-6E8A-4147-A177-3AD203B41FA5}">
                      <a16:colId xmlns:a16="http://schemas.microsoft.com/office/drawing/2014/main" val="154020430"/>
                    </a:ext>
                  </a:extLst>
                </a:gridCol>
                <a:gridCol w="782405">
                  <a:extLst>
                    <a:ext uri="{9D8B030D-6E8A-4147-A177-3AD203B41FA5}">
                      <a16:colId xmlns:a16="http://schemas.microsoft.com/office/drawing/2014/main" val="3928813835"/>
                    </a:ext>
                  </a:extLst>
                </a:gridCol>
                <a:gridCol w="782405">
                  <a:extLst>
                    <a:ext uri="{9D8B030D-6E8A-4147-A177-3AD203B41FA5}">
                      <a16:colId xmlns:a16="http://schemas.microsoft.com/office/drawing/2014/main" val="4099274801"/>
                    </a:ext>
                  </a:extLst>
                </a:gridCol>
                <a:gridCol w="782405">
                  <a:extLst>
                    <a:ext uri="{9D8B030D-6E8A-4147-A177-3AD203B41FA5}">
                      <a16:colId xmlns:a16="http://schemas.microsoft.com/office/drawing/2014/main" val="3203434082"/>
                    </a:ext>
                  </a:extLst>
                </a:gridCol>
                <a:gridCol w="782405">
                  <a:extLst>
                    <a:ext uri="{9D8B030D-6E8A-4147-A177-3AD203B41FA5}">
                      <a16:colId xmlns:a16="http://schemas.microsoft.com/office/drawing/2014/main" val="1306444463"/>
                    </a:ext>
                  </a:extLst>
                </a:gridCol>
                <a:gridCol w="782405">
                  <a:extLst>
                    <a:ext uri="{9D8B030D-6E8A-4147-A177-3AD203B41FA5}">
                      <a16:colId xmlns:a16="http://schemas.microsoft.com/office/drawing/2014/main" val="2052677327"/>
                    </a:ext>
                  </a:extLst>
                </a:gridCol>
                <a:gridCol w="782405">
                  <a:extLst>
                    <a:ext uri="{9D8B030D-6E8A-4147-A177-3AD203B41FA5}">
                      <a16:colId xmlns:a16="http://schemas.microsoft.com/office/drawing/2014/main" val="1311887603"/>
                    </a:ext>
                  </a:extLst>
                </a:gridCol>
                <a:gridCol w="782405">
                  <a:extLst>
                    <a:ext uri="{9D8B030D-6E8A-4147-A177-3AD203B41FA5}">
                      <a16:colId xmlns:a16="http://schemas.microsoft.com/office/drawing/2014/main" val="2227414998"/>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3.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408659050"/>
      </p:ext>
    </p:extLst>
  </p:cSld>
  <p:clrMapOvr>
    <a:masterClrMapping/>
  </p:clrMapOvr>
</p:sld>
</file>

<file path=ppt/slides/slide7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2/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29</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June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Vol | Category vs. Nicolas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9.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8.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838806448"/>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08FC55-424A-ACCC-676F-44C3CCC9796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415BD49-9CDB-C892-E279-946572C3A129}"/>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BE947E9A-9EDC-50FE-5484-367359C894D7}"/>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6A5025B9-0C85-A050-B069-0AC43B6B8204}"/>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1004F20C-B07D-4614-4481-965EA185837B}"/>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A91D8E7D-FEEC-5BA1-EB74-93E5E7482F85}"/>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3</a:t>
            </a:fld>
            <a:endParaRPr lang="en-US" noProof="0"/>
          </a:p>
        </p:txBody>
      </p:sp>
      <p:sp>
        <p:nvSpPr>
          <p:cNvPr id="37" name="Text Placeholder 36">
            <a:extLst>
              <a:ext uri="{FF2B5EF4-FFF2-40B4-BE49-F238E27FC236}">
                <a16:creationId xmlns:a16="http://schemas.microsoft.com/office/drawing/2014/main" id="{FA0F6888-D5CC-383A-47AD-80C683524A7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2E389274-4FCB-6DE6-41BB-F4D26E075546}"/>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egment | NICOLAS EST | P12M</a:t>
            </a:r>
          </a:p>
        </p:txBody>
      </p:sp>
      <p:sp>
        <p:nvSpPr>
          <p:cNvPr id="2" name="Title 1">
            <a:extLst>
              <a:ext uri="{FF2B5EF4-FFF2-40B4-BE49-F238E27FC236}">
                <a16:creationId xmlns:a16="http://schemas.microsoft.com/office/drawing/2014/main" id="{0B37106B-65BB-38CE-2DE5-FACF202E6E13}"/>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3AD1043F-CB15-E170-B712-2A89D1DA680D}"/>
              </a:ext>
            </a:extLst>
          </p:cNvPr>
          <p:cNvGraphicFramePr>
            <a:graphicFrameLocks noGrp="1"/>
          </p:cNvGraphicFramePr>
          <p:nvPr>
            <p:ph idx="4294967295"/>
            <p:extLst>
              <p:ext uri="{D42A27DB-BD31-4B8C-83A1-F6EECF244321}">
                <p14:modId xmlns:p14="http://schemas.microsoft.com/office/powerpoint/2010/main" val="3249833727"/>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C7CB25F2-15EE-61CD-96F8-9E24F3CFB425}"/>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C8ACCE2D-6642-ED27-3E63-215D317EDF54}"/>
              </a:ext>
            </a:extLst>
          </p:cNvPr>
          <p:cNvGraphicFramePr>
            <a:graphicFrameLocks/>
          </p:cNvGraphicFramePr>
          <p:nvPr>
            <p:extLst>
              <p:ext uri="{D42A27DB-BD31-4B8C-83A1-F6EECF244321}">
                <p14:modId xmlns:p14="http://schemas.microsoft.com/office/powerpoint/2010/main" val="603185278"/>
              </p:ext>
            </p:extLst>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8D2AC029-204E-C851-0DBB-376972B8F647}"/>
              </a:ext>
            </a:extLst>
          </p:cNvPr>
          <p:cNvGraphicFramePr>
            <a:graphicFrameLocks/>
          </p:cNvGraphicFramePr>
          <p:nvPr>
            <p:extLst>
              <p:ext uri="{D42A27DB-BD31-4B8C-83A1-F6EECF244321}">
                <p14:modId xmlns:p14="http://schemas.microsoft.com/office/powerpoint/2010/main" val="878290371"/>
              </p:ext>
            </p:extLst>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C1">
            <a:extLst>
              <a:ext uri="{FF2B5EF4-FFF2-40B4-BE49-F238E27FC236}">
                <a16:creationId xmlns:a16="http://schemas.microsoft.com/office/drawing/2014/main" id="{F3DC8CB2-3F2B-2774-573E-DFF620E84D4C}"/>
              </a:ext>
            </a:extLst>
          </p:cNvPr>
          <p:cNvGraphicFramePr>
            <a:graphicFrameLocks/>
          </p:cNvGraphicFramePr>
          <p:nvPr>
            <p:extLst>
              <p:ext uri="{D42A27DB-BD31-4B8C-83A1-F6EECF244321}">
                <p14:modId xmlns:p14="http://schemas.microsoft.com/office/powerpoint/2010/main" val="1622414080"/>
              </p:ext>
            </p:extLst>
          </p:nvPr>
        </p:nvGraphicFramePr>
        <p:xfrm>
          <a:off x="6566444" y="1354754"/>
          <a:ext cx="2268000" cy="3374309"/>
        </p:xfrm>
        <a:graphic>
          <a:graphicData uri="http://schemas.openxmlformats.org/drawingml/2006/chart">
            <c:chart xmlns:c="http://schemas.openxmlformats.org/drawingml/2006/chart" xmlns:r="http://schemas.openxmlformats.org/officeDocument/2006/relationships" r:id="rId8"/>
          </a:graphicData>
        </a:graphic>
      </p:graphicFrame>
      <p:sp>
        <p:nvSpPr>
          <p:cNvPr id="16" name="TextBox 15">
            <a:extLst>
              <a:ext uri="{FF2B5EF4-FFF2-40B4-BE49-F238E27FC236}">
                <a16:creationId xmlns:a16="http://schemas.microsoft.com/office/drawing/2014/main" id="{8C8CB6BD-A844-74EC-CFEC-C58CFCC7C5EC}"/>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B18FE6A9-85ED-634C-B0DB-D9A4E7A1AD69}"/>
              </a:ext>
            </a:extLst>
          </p:cNvPr>
          <p:cNvGraphicFramePr>
            <a:graphicFrameLocks noGrp="1"/>
          </p:cNvGraphicFramePr>
          <p:nvPr/>
        </p:nvGraphicFramePr>
        <p:xfrm>
          <a:off x="720534" y="1121410"/>
          <a:ext cx="8113912"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gridCol w="2028478">
                  <a:extLst>
                    <a:ext uri="{9D8B030D-6E8A-4147-A177-3AD203B41FA5}">
                      <a16:colId xmlns:a16="http://schemas.microsoft.com/office/drawing/2014/main" val="3571608413"/>
                    </a:ext>
                  </a:extLst>
                </a:gridCol>
              </a:tblGrid>
              <a:tr h="235994">
                <a:tc>
                  <a:txBody>
                    <a:bodyPr/>
                    <a:lstStyle/>
                    <a:p>
                      <a:pPr algn="ctr">
                        <a:defRPr sz="1100">
                          <a:latin typeface="Nexa Book"/>
                        </a:defRPr>
                      </a:pPr>
                      <a:r>
                        <a:rPr b="1">
                          <a:solidFill>
                            <a:srgbClr val="575555"/>
                          </a:solidFill>
                        </a:rPr>
                        <a:t>Blanc De Blancs</a:t>
                      </a:r>
                    </a:p>
                  </a:txBody>
                  <a:tcPr anchor="ctr">
                    <a:solidFill>
                      <a:schemeClr val="bg2"/>
                    </a:solidFill>
                  </a:tcPr>
                </a:tc>
                <a:tc>
                  <a:txBody>
                    <a:bodyPr/>
                    <a:lstStyle/>
                    <a:p>
                      <a:pPr algn="ctr">
                        <a:defRPr sz="1100">
                          <a:latin typeface="Nexa Book"/>
                        </a:defRPr>
                      </a:pPr>
                      <a:r>
                        <a:rPr b="1">
                          <a:solidFill>
                            <a:srgbClr val="575555"/>
                          </a:solidFill>
                        </a:rPr>
                        <a:t>Bruts</a:t>
                      </a:r>
                    </a:p>
                  </a:txBody>
                  <a:tcPr anchor="ctr">
                    <a:solidFill>
                      <a:schemeClr val="bg2"/>
                    </a:solidFill>
                  </a:tcPr>
                </a:tc>
                <a:tc>
                  <a:txBody>
                    <a:bodyPr/>
                    <a:lstStyle/>
                    <a:p>
                      <a:pPr algn="ctr">
                        <a:defRPr sz="1100">
                          <a:latin typeface="Nexa Book"/>
                        </a:defRPr>
                      </a:pPr>
                      <a:r>
                        <a:rPr b="1">
                          <a:solidFill>
                            <a:srgbClr val="575555"/>
                          </a:solidFill>
                        </a:rPr>
                        <a:t>Crus</a:t>
                      </a:r>
                    </a:p>
                  </a:txBody>
                  <a:tcPr anchor="ctr">
                    <a:solidFill>
                      <a:schemeClr val="bg2"/>
                    </a:solidFill>
                  </a:tcPr>
                </a:tc>
                <a:tc>
                  <a:txBody>
                    <a:bodyPr/>
                    <a:lstStyle/>
                    <a:p>
                      <a:pPr algn="ctr">
                        <a:defRPr sz="1100">
                          <a:latin typeface="Nexa Book"/>
                        </a:defRPr>
                      </a:pPr>
                      <a:r>
                        <a:rPr b="1">
                          <a:solidFill>
                            <a:srgbClr val="575555"/>
                          </a:solidFill>
                        </a:rPr>
                        <a:t>Extra Brut</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2053069735"/>
      </p:ext>
    </p:extLst>
  </p:cSld>
  <p:clrMapOvr>
    <a:masterClrMapping/>
  </p:clrMapOvr>
</p:sld>
</file>

<file path=ppt/slides/slide7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2/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30</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June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Vol | Category vs. Nicolas | NICOLAS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2.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6.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156818850"/>
      </p:ext>
    </p:extLst>
  </p:cSld>
  <p:clrMapOvr>
    <a:masterClrMapping/>
  </p:clrMapOvr>
</p:sld>
</file>

<file path=ppt/slides/slide7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2/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31</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June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Vol | Category vs. Nicolas | NICOLAS QCN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1.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6.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121639961"/>
      </p:ext>
    </p:extLst>
  </p:cSld>
  <p:clrMapOvr>
    <a:masterClrMapping/>
  </p:clrMapOvr>
</p:sld>
</file>

<file path=ppt/slides/slide7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2/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32</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June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Vol | Category vs. Nicolas | NICOLAS VCN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2.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6.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662411097"/>
      </p:ext>
    </p:extLst>
  </p:cSld>
  <p:clrMapOvr>
    <a:masterClrMapping/>
  </p:clrMapOvr>
</p:sld>
</file>

<file path=ppt/slides/slide7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2/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33</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June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Vol | Category vs. Nicolas | NICOLAS QC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3.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6.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582715877"/>
      </p:ext>
    </p:extLst>
  </p:cSld>
  <p:clrMapOvr>
    <a:masterClrMapping/>
  </p:clrMapOvr>
</p:sld>
</file>

<file path=ppt/slides/slide7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2/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34</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June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Vol | Category vs. Nicolas | NICOLAS QCA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5.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6.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485841495"/>
      </p:ext>
    </p:extLst>
  </p:cSld>
  <p:clrMapOvr>
    <a:masterClrMapping/>
  </p:clrMapOvr>
</p:sld>
</file>

<file path=ppt/slides/slide7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2/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35</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June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Vol | Category vs. Nicolas | NICOLAS CC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2.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6.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817145790"/>
      </p:ext>
    </p:extLst>
  </p:cSld>
  <p:clrMapOvr>
    <a:masterClrMapping/>
  </p:clrMapOvr>
</p:sld>
</file>

<file path=ppt/slides/slide7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2/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36</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June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Vol | Category vs. Nicolas | NICOLAS IDF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3.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6.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3939055"/>
      </p:ext>
    </p:extLst>
  </p:cSld>
  <p:clrMapOvr>
    <a:masterClrMapping/>
  </p:clrMapOvr>
</p:sld>
</file>

<file path=ppt/slides/slide7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2/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37</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June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Vol | Category vs. Nicolas | NICOLAS PAC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4.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6.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991395022"/>
      </p:ext>
    </p:extLst>
  </p:cSld>
  <p:clrMapOvr>
    <a:masterClrMapping/>
  </p:clrMapOvr>
</p:sld>
</file>

<file path=ppt/slides/slide7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2/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38</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June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Vol | Category vs. Nicolas | NICOLAS RHO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7.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368178055"/>
      </p:ext>
    </p:extLst>
  </p:cSld>
  <p:clrMapOvr>
    <a:masterClrMapping/>
  </p:clrMapOvr>
</p:sld>
</file>

<file path=ppt/slides/slide7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2/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39</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June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Vol | Category vs. Nicolas | NICOLAS AQU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2.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5.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4220737832"/>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08FC55-424A-ACCC-676F-44C3CCC9796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415BD49-9CDB-C892-E279-946572C3A129}"/>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BE947E9A-9EDC-50FE-5484-367359C894D7}"/>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6A5025B9-0C85-A050-B069-0AC43B6B8204}"/>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1004F20C-B07D-4614-4481-965EA185837B}"/>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A91D8E7D-FEEC-5BA1-EB74-93E5E7482F85}"/>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4</a:t>
            </a:fld>
            <a:endParaRPr lang="en-US" noProof="0"/>
          </a:p>
        </p:txBody>
      </p:sp>
      <p:sp>
        <p:nvSpPr>
          <p:cNvPr id="37" name="Text Placeholder 36">
            <a:extLst>
              <a:ext uri="{FF2B5EF4-FFF2-40B4-BE49-F238E27FC236}">
                <a16:creationId xmlns:a16="http://schemas.microsoft.com/office/drawing/2014/main" id="{FA0F6888-D5CC-383A-47AD-80C683524A7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2E389274-4FCB-6DE6-41BB-F4D26E075546}"/>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egment | NICOLAS EST | P12M</a:t>
            </a:r>
          </a:p>
        </p:txBody>
      </p:sp>
      <p:sp>
        <p:nvSpPr>
          <p:cNvPr id="2" name="Title 1">
            <a:extLst>
              <a:ext uri="{FF2B5EF4-FFF2-40B4-BE49-F238E27FC236}">
                <a16:creationId xmlns:a16="http://schemas.microsoft.com/office/drawing/2014/main" id="{0B37106B-65BB-38CE-2DE5-FACF202E6E13}"/>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3AD1043F-CB15-E170-B712-2A89D1DA680D}"/>
              </a:ext>
            </a:extLst>
          </p:cNvPr>
          <p:cNvGraphicFramePr>
            <a:graphicFrameLocks noGrp="1"/>
          </p:cNvGraphicFramePr>
          <p:nvPr>
            <p:ph idx="4294967295"/>
            <p:extLst>
              <p:ext uri="{D42A27DB-BD31-4B8C-83A1-F6EECF244321}">
                <p14:modId xmlns:p14="http://schemas.microsoft.com/office/powerpoint/2010/main" val="1584270782"/>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C7CB25F2-15EE-61CD-96F8-9E24F3CFB425}"/>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C8ACCE2D-6642-ED27-3E63-215D317EDF54}"/>
              </a:ext>
            </a:extLst>
          </p:cNvPr>
          <p:cNvGraphicFramePr>
            <a:graphicFrameLocks/>
          </p:cNvGraphicFramePr>
          <p:nvPr>
            <p:extLst>
              <p:ext uri="{D42A27DB-BD31-4B8C-83A1-F6EECF244321}">
                <p14:modId xmlns:p14="http://schemas.microsoft.com/office/powerpoint/2010/main" val="3667841476"/>
              </p:ext>
            </p:extLst>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8D2AC029-204E-C851-0DBB-376972B8F647}"/>
              </a:ext>
            </a:extLst>
          </p:cNvPr>
          <p:cNvGraphicFramePr>
            <a:graphicFrameLocks/>
          </p:cNvGraphicFramePr>
          <p:nvPr>
            <p:extLst>
              <p:ext uri="{D42A27DB-BD31-4B8C-83A1-F6EECF244321}">
                <p14:modId xmlns:p14="http://schemas.microsoft.com/office/powerpoint/2010/main" val="614629324"/>
              </p:ext>
            </p:extLst>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C1">
            <a:extLst>
              <a:ext uri="{FF2B5EF4-FFF2-40B4-BE49-F238E27FC236}">
                <a16:creationId xmlns:a16="http://schemas.microsoft.com/office/drawing/2014/main" id="{F3DC8CB2-3F2B-2774-573E-DFF620E84D4C}"/>
              </a:ext>
            </a:extLst>
          </p:cNvPr>
          <p:cNvGraphicFramePr>
            <a:graphicFrameLocks/>
          </p:cNvGraphicFramePr>
          <p:nvPr>
            <p:extLst>
              <p:ext uri="{D42A27DB-BD31-4B8C-83A1-F6EECF244321}">
                <p14:modId xmlns:p14="http://schemas.microsoft.com/office/powerpoint/2010/main" val="774733385"/>
              </p:ext>
            </p:extLst>
          </p:nvPr>
        </p:nvGraphicFramePr>
        <p:xfrm>
          <a:off x="6566444" y="1354754"/>
          <a:ext cx="2268000" cy="3374309"/>
        </p:xfrm>
        <a:graphic>
          <a:graphicData uri="http://schemas.openxmlformats.org/drawingml/2006/chart">
            <c:chart xmlns:c="http://schemas.openxmlformats.org/drawingml/2006/chart" xmlns:r="http://schemas.openxmlformats.org/officeDocument/2006/relationships" r:id="rId8"/>
          </a:graphicData>
        </a:graphic>
      </p:graphicFrame>
      <p:sp>
        <p:nvSpPr>
          <p:cNvPr id="16" name="TextBox 15">
            <a:extLst>
              <a:ext uri="{FF2B5EF4-FFF2-40B4-BE49-F238E27FC236}">
                <a16:creationId xmlns:a16="http://schemas.microsoft.com/office/drawing/2014/main" id="{8C8CB6BD-A844-74EC-CFEC-C58CFCC7C5EC}"/>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B18FE6A9-85ED-634C-B0DB-D9A4E7A1AD69}"/>
              </a:ext>
            </a:extLst>
          </p:cNvPr>
          <p:cNvGraphicFramePr>
            <a:graphicFrameLocks noGrp="1"/>
          </p:cNvGraphicFramePr>
          <p:nvPr/>
        </p:nvGraphicFramePr>
        <p:xfrm>
          <a:off x="720534" y="1121410"/>
          <a:ext cx="8113912"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gridCol w="2028478">
                  <a:extLst>
                    <a:ext uri="{9D8B030D-6E8A-4147-A177-3AD203B41FA5}">
                      <a16:colId xmlns:a16="http://schemas.microsoft.com/office/drawing/2014/main" val="3571608413"/>
                    </a:ext>
                  </a:extLst>
                </a:gridCol>
              </a:tblGrid>
              <a:tr h="235994">
                <a:tc>
                  <a:txBody>
                    <a:bodyPr/>
                    <a:lstStyle/>
                    <a:p>
                      <a:pPr algn="ctr">
                        <a:defRPr sz="1100">
                          <a:latin typeface="Nexa Book"/>
                        </a:defRPr>
                      </a:pPr>
                      <a:r>
                        <a:rPr b="1">
                          <a:solidFill>
                            <a:srgbClr val="575555"/>
                          </a:solidFill>
                        </a:rPr>
                        <a:t>Millesimes</a:t>
                      </a:r>
                    </a:p>
                  </a:txBody>
                  <a:tcPr anchor="ctr">
                    <a:solidFill>
                      <a:schemeClr val="bg2"/>
                    </a:solidFill>
                  </a:tcPr>
                </a:tc>
                <a:tc>
                  <a:txBody>
                    <a:bodyPr/>
                    <a:lstStyle/>
                    <a:p>
                      <a:pPr algn="ctr">
                        <a:defRPr sz="1100">
                          <a:latin typeface="Nexa Book"/>
                        </a:defRPr>
                      </a:pPr>
                      <a:r>
                        <a:rPr b="1">
                          <a:solidFill>
                            <a:srgbClr val="575555"/>
                          </a:solidFill>
                        </a:rPr>
                        <a:t>Rosés</a:t>
                      </a:r>
                    </a:p>
                  </a:txBody>
                  <a:tcPr anchor="ctr">
                    <a:solidFill>
                      <a:schemeClr val="bg2"/>
                    </a:solidFill>
                  </a:tcPr>
                </a:tc>
                <a:tc>
                  <a:txBody>
                    <a:bodyPr/>
                    <a:lstStyle/>
                    <a:p>
                      <a:pPr algn="ctr">
                        <a:defRPr sz="1100">
                          <a:latin typeface="Nexa Book"/>
                        </a:defRPr>
                      </a:pPr>
                      <a:r>
                        <a:rPr b="1">
                          <a:solidFill>
                            <a:srgbClr val="575555"/>
                          </a:solidFill>
                        </a:rPr>
                        <a:t>Mousseux Bourgogne</a:t>
                      </a:r>
                    </a:p>
                  </a:txBody>
                  <a:tcPr anchor="ctr">
                    <a:solidFill>
                      <a:schemeClr val="bg2"/>
                    </a:solidFill>
                  </a:tcPr>
                </a:tc>
                <a:tc>
                  <a:txBody>
                    <a:bodyPr/>
                    <a:lstStyle/>
                    <a:p>
                      <a:pPr algn="ctr">
                        <a:defRPr sz="1100">
                          <a:latin typeface="Nexa Book"/>
                        </a:defRPr>
                      </a:pPr>
                      <a:r>
                        <a:rPr b="1">
                          <a:solidFill>
                            <a:srgbClr val="575555"/>
                          </a:solidFill>
                        </a:rPr>
                        <a:t>Mousseux Italiens</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3111343270"/>
      </p:ext>
    </p:extLst>
  </p:cSld>
  <p:clrMapOvr>
    <a:masterClrMapping/>
  </p:clrMapOvr>
</p:sld>
</file>

<file path=ppt/slides/slide7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2/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40</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June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Vol | Category vs. Nicolas | NICOLAS 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7.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6.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11283488"/>
      </p:ext>
    </p:extLst>
  </p:cSld>
  <p:clrMapOvr>
    <a:masterClrMapping/>
  </p:clrMapOvr>
</p:sld>
</file>

<file path=ppt/slides/slide7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2/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41</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June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Vol | Category vs. Nicolas | CA A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3.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6.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604169648"/>
      </p:ext>
    </p:extLst>
  </p:cSld>
  <p:clrMapOvr>
    <a:masterClrMapping/>
  </p:clrMapOvr>
</p:sld>
</file>

<file path=ppt/slides/slide7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2/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42</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June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Vol | Category vs. Nicolas | CA B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6.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275094181"/>
      </p:ext>
    </p:extLst>
  </p:cSld>
  <p:clrMapOvr>
    <a:masterClrMapping/>
  </p:clrMapOvr>
</p:sld>
</file>

<file path=ppt/slides/slide7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2/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43</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June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Vol | Category vs. Nicolas | CA C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6.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732684474"/>
      </p:ext>
    </p:extLst>
  </p:cSld>
  <p:clrMapOvr>
    <a:masterClrMapping/>
  </p:clrMapOvr>
</p:sld>
</file>

<file path=ppt/slides/slide7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2/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44</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June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Vol | Category vs. Nicolas | CA D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2.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6.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786957682"/>
      </p:ext>
    </p:extLst>
  </p:cSld>
  <p:clrMapOvr>
    <a:masterClrMapping/>
  </p:clrMapOvr>
</p:sld>
</file>

<file path=ppt/slides/slide7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2/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45</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June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Vol | Category vs. Nicolas | CA E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1.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6.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4036733030"/>
      </p:ext>
    </p:extLst>
  </p:cSld>
  <p:clrMapOvr>
    <a:masterClrMapping/>
  </p:clrMapOvr>
</p:sld>
</file>

<file path=ppt/slides/slide7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2/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46</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June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Vol | Category vs. Nicolas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0.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1.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286504130"/>
      </p:ext>
    </p:extLst>
  </p:cSld>
  <p:clrMapOvr>
    <a:masterClrMapping/>
  </p:clrMapOvr>
</p:sld>
</file>

<file path=ppt/slides/slide7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2/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47</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June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Vol | Category vs. Nicolas | NICOLAS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1.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1.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3.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255962475"/>
      </p:ext>
    </p:extLst>
  </p:cSld>
  <p:clrMapOvr>
    <a:masterClrMapping/>
  </p:clrMapOvr>
</p:sld>
</file>

<file path=ppt/slides/slide7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2/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48</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June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Vol | Category vs. Nicolas | NICOLAS QCN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3.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1.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3.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397330391"/>
      </p:ext>
    </p:extLst>
  </p:cSld>
  <p:clrMapOvr>
    <a:masterClrMapping/>
  </p:clrMapOvr>
</p:sld>
</file>

<file path=ppt/slides/slide7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2/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49</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June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Vol | Category vs. Nicolas | NICOLAS VCN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0.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3.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575101185"/>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65918C-CF2D-B9BE-373E-8055AB4F589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BE947E9A-9EDC-50FE-5484-367359C894D7}"/>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DC475BB2-0528-29FB-C158-9EF2E6156FB0}"/>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C87CB3FA-1793-85BB-0720-68CB9A322CAF}"/>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300044B2-FAA5-2879-ADFC-6874BBAF83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DA8BB0C0-E087-2E71-1F6D-E725250BE3D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5</a:t>
            </a:fld>
            <a:endParaRPr lang="en-US" noProof="0"/>
          </a:p>
        </p:txBody>
      </p:sp>
      <p:sp>
        <p:nvSpPr>
          <p:cNvPr id="37" name="Text Placeholder 36">
            <a:extLst>
              <a:ext uri="{FF2B5EF4-FFF2-40B4-BE49-F238E27FC236}">
                <a16:creationId xmlns:a16="http://schemas.microsoft.com/office/drawing/2014/main" id="{4918FA18-B639-A629-2E9B-674B54B4AACA}"/>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37405B8B-A5F3-F9D8-A571-2F38544BBDBA}"/>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egment | NICOLAS EST | P12M</a:t>
            </a:r>
          </a:p>
        </p:txBody>
      </p:sp>
      <p:sp>
        <p:nvSpPr>
          <p:cNvPr id="2" name="Title 1">
            <a:extLst>
              <a:ext uri="{FF2B5EF4-FFF2-40B4-BE49-F238E27FC236}">
                <a16:creationId xmlns:a16="http://schemas.microsoft.com/office/drawing/2014/main" id="{12784FBB-01F7-DE64-BC02-E8B59B51E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8694A9E2-2E6E-DE42-FC36-3888D1308CB4}"/>
              </a:ext>
            </a:extLst>
          </p:cNvPr>
          <p:cNvGraphicFramePr>
            <a:graphicFrameLocks noGrp="1"/>
          </p:cNvGraphicFramePr>
          <p:nvPr>
            <p:ph idx="4294967295"/>
            <p:extLst>
              <p:ext uri="{D42A27DB-BD31-4B8C-83A1-F6EECF244321}">
                <p14:modId xmlns:p14="http://schemas.microsoft.com/office/powerpoint/2010/main" val="956759633"/>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F456CAE2-40D9-C89C-01D4-02D92ECC325F}"/>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9C31F180-BE4C-077E-6172-FE9EFF5651B0}"/>
              </a:ext>
            </a:extLst>
          </p:cNvPr>
          <p:cNvGraphicFramePr>
            <a:graphicFrameLocks/>
          </p:cNvGraphicFramePr>
          <p:nvPr>
            <p:extLst>
              <p:ext uri="{D42A27DB-BD31-4B8C-83A1-F6EECF244321}">
                <p14:modId xmlns:p14="http://schemas.microsoft.com/office/powerpoint/2010/main" val="4065687074"/>
              </p:ext>
            </p:extLst>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01B1A8DD-FED6-2C47-296D-0983D1E720B2}"/>
              </a:ext>
            </a:extLst>
          </p:cNvPr>
          <p:cNvGraphicFramePr>
            <a:graphicFrameLocks/>
          </p:cNvGraphicFramePr>
          <p:nvPr>
            <p:extLst>
              <p:ext uri="{D42A27DB-BD31-4B8C-83A1-F6EECF244321}">
                <p14:modId xmlns:p14="http://schemas.microsoft.com/office/powerpoint/2010/main" val="3438624412"/>
              </p:ext>
            </p:extLst>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sp>
        <p:nvSpPr>
          <p:cNvPr id="16" name="TextBox 15">
            <a:extLst>
              <a:ext uri="{FF2B5EF4-FFF2-40B4-BE49-F238E27FC236}">
                <a16:creationId xmlns:a16="http://schemas.microsoft.com/office/drawing/2014/main" id="{2B180312-FE46-D4C9-3734-1E3750820943}"/>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4DB211A7-591C-E03E-65DC-47EB4C0D8D03}"/>
              </a:ext>
            </a:extLst>
          </p:cNvPr>
          <p:cNvGraphicFramePr>
            <a:graphicFrameLocks noGrp="1"/>
          </p:cNvGraphicFramePr>
          <p:nvPr>
            <p:extLst>
              <p:ext uri="{D42A27DB-BD31-4B8C-83A1-F6EECF244321}">
                <p14:modId xmlns:p14="http://schemas.microsoft.com/office/powerpoint/2010/main" val="2790109015"/>
              </p:ext>
            </p:extLst>
          </p:nvPr>
        </p:nvGraphicFramePr>
        <p:xfrm>
          <a:off x="720534" y="1121410"/>
          <a:ext cx="6085434"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tblGrid>
              <a:tr h="235994">
                <a:tc>
                  <a:txBody>
                    <a:bodyPr/>
                    <a:lstStyle/>
                    <a:p>
                      <a:pPr algn="ctr">
                        <a:defRPr sz="1100">
                          <a:latin typeface="Nexa Book"/>
                        </a:defRPr>
                      </a:pPr>
                      <a:r>
                        <a:rPr b="1">
                          <a:solidFill>
                            <a:srgbClr val="575555"/>
                          </a:solidFill>
                        </a:rPr>
                        <a:t>Mousseux Val De Loire</a:t>
                      </a:r>
                    </a:p>
                  </a:txBody>
                  <a:tcPr anchor="ctr">
                    <a:solidFill>
                      <a:schemeClr val="bg2"/>
                    </a:solidFill>
                  </a:tcPr>
                </a:tc>
                <a:tc>
                  <a:txBody>
                    <a:bodyPr/>
                    <a:lstStyle/>
                    <a:p>
                      <a:pPr algn="ctr">
                        <a:defRPr sz="1100">
                          <a:latin typeface="Nexa Book"/>
                        </a:defRPr>
                      </a:pPr>
                      <a:r>
                        <a:rPr b="1">
                          <a:solidFill>
                            <a:srgbClr val="575555"/>
                          </a:solidFill>
                        </a:rPr>
                        <a:t>Mousseux Alsace</a:t>
                      </a:r>
                    </a:p>
                  </a:txBody>
                  <a:tcPr anchor="ctr">
                    <a:solidFill>
                      <a:schemeClr val="bg2"/>
                    </a:solidFill>
                  </a:tcPr>
                </a:tc>
                <a:tc>
                  <a:txBody>
                    <a:bodyPr/>
                    <a:lstStyle/>
                    <a:p>
                      <a:pPr algn="ctr">
                        <a:defRPr sz="1100">
                          <a:latin typeface="Nexa Book"/>
                        </a:defRPr>
                      </a:pPr>
                      <a:r>
                        <a:rPr b="1">
                          <a:solidFill>
                            <a:srgbClr val="575555"/>
                          </a:solidFill>
                        </a:rPr>
                        <a:t>Mousseux Bordelais</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3595428213"/>
      </p:ext>
    </p:extLst>
  </p:cSld>
  <p:clrMapOvr>
    <a:masterClrMapping/>
  </p:clrMapOvr>
</p:sld>
</file>

<file path=ppt/slides/slide7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2/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50</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June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Vol | Category vs. Nicolas | NICOLAS QC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1.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3.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3.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6.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4.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44959010"/>
      </p:ext>
    </p:extLst>
  </p:cSld>
  <p:clrMapOvr>
    <a:masterClrMapping/>
  </p:clrMapOvr>
</p:sld>
</file>

<file path=ppt/slides/slide7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2/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51</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June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Vol | Category vs. Nicolas | NICOLAS QCA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7.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0.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3.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076949019"/>
      </p:ext>
    </p:extLst>
  </p:cSld>
  <p:clrMapOvr>
    <a:masterClrMapping/>
  </p:clrMapOvr>
</p:sld>
</file>

<file path=ppt/slides/slide7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2/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52</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June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Vol | Category vs. Nicolas | NICOLAS CC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6.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9.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3.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89918730"/>
      </p:ext>
    </p:extLst>
  </p:cSld>
  <p:clrMapOvr>
    <a:masterClrMapping/>
  </p:clrMapOvr>
</p:sld>
</file>

<file path=ppt/slides/slide7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2/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53</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June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Vol | Category vs. Nicolas | NICOLAS IDF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1.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1.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3.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469092347"/>
      </p:ext>
    </p:extLst>
  </p:cSld>
  <p:clrMapOvr>
    <a:masterClrMapping/>
  </p:clrMapOvr>
</p:sld>
</file>

<file path=ppt/slides/slide7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2/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54</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June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Vol | Category vs. Nicolas | NICOLAS PAC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1.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1.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3.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6.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743676346"/>
      </p:ext>
    </p:extLst>
  </p:cSld>
  <p:clrMapOvr>
    <a:masterClrMapping/>
  </p:clrMapOvr>
</p:sld>
</file>

<file path=ppt/slides/slide7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2/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55</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June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Vol | Category vs. Nicolas | NICOLAS RHO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8.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4.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6.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739073539"/>
      </p:ext>
    </p:extLst>
  </p:cSld>
  <p:clrMapOvr>
    <a:masterClrMapping/>
  </p:clrMapOvr>
</p:sld>
</file>

<file path=ppt/slides/slide7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2/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56</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June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Vol | Category vs. Nicolas | NICOLAS AQU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5.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5.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3.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733690935"/>
      </p:ext>
    </p:extLst>
  </p:cSld>
  <p:clrMapOvr>
    <a:masterClrMapping/>
  </p:clrMapOvr>
</p:sld>
</file>

<file path=ppt/slides/slide7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2/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57</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June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Vol | Category vs. Nicolas | NICOLAS 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6.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6.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2.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705960493"/>
      </p:ext>
    </p:extLst>
  </p:cSld>
  <p:clrMapOvr>
    <a:masterClrMapping/>
  </p:clrMapOvr>
</p:sld>
</file>

<file path=ppt/slides/slide7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2/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58</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June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Vol | Category vs. Nicolas | CA A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9.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3.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699187328"/>
      </p:ext>
    </p:extLst>
  </p:cSld>
  <p:clrMapOvr>
    <a:masterClrMapping/>
  </p:clrMapOvr>
</p:sld>
</file>

<file path=ppt/slides/slide7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2/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59</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June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Vol | Category vs. Nicolas | CA B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3.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2.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3.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335591395"/>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08FC55-424A-ACCC-676F-44C3CCC9796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415BD49-9CDB-C892-E279-946572C3A129}"/>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BE947E9A-9EDC-50FE-5484-367359C894D7}"/>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6A5025B9-0C85-A050-B069-0AC43B6B8204}"/>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1004F20C-B07D-4614-4481-965EA185837B}"/>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A91D8E7D-FEEC-5BA1-EB74-93E5E7482F85}"/>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6</a:t>
            </a:fld>
            <a:endParaRPr lang="en-US" noProof="0"/>
          </a:p>
        </p:txBody>
      </p:sp>
      <p:sp>
        <p:nvSpPr>
          <p:cNvPr id="37" name="Text Placeholder 36">
            <a:extLst>
              <a:ext uri="{FF2B5EF4-FFF2-40B4-BE49-F238E27FC236}">
                <a16:creationId xmlns:a16="http://schemas.microsoft.com/office/drawing/2014/main" id="{FA0F6888-D5CC-383A-47AD-80C683524A7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2E389274-4FCB-6DE6-41BB-F4D26E075546}"/>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egment | CA A | P12M</a:t>
            </a:r>
          </a:p>
        </p:txBody>
      </p:sp>
      <p:sp>
        <p:nvSpPr>
          <p:cNvPr id="2" name="Title 1">
            <a:extLst>
              <a:ext uri="{FF2B5EF4-FFF2-40B4-BE49-F238E27FC236}">
                <a16:creationId xmlns:a16="http://schemas.microsoft.com/office/drawing/2014/main" id="{0B37106B-65BB-38CE-2DE5-FACF202E6E13}"/>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3AD1043F-CB15-E170-B712-2A89D1DA680D}"/>
              </a:ext>
            </a:extLst>
          </p:cNvPr>
          <p:cNvGraphicFramePr>
            <a:graphicFrameLocks noGrp="1"/>
          </p:cNvGraphicFramePr>
          <p:nvPr>
            <p:ph idx="4294967295"/>
            <p:extLst>
              <p:ext uri="{D42A27DB-BD31-4B8C-83A1-F6EECF244321}">
                <p14:modId xmlns:p14="http://schemas.microsoft.com/office/powerpoint/2010/main" val="3013002759"/>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C7CB25F2-15EE-61CD-96F8-9E24F3CFB425}"/>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C8ACCE2D-6642-ED27-3E63-215D317EDF54}"/>
              </a:ext>
            </a:extLst>
          </p:cNvPr>
          <p:cNvGraphicFramePr>
            <a:graphicFrameLocks/>
          </p:cNvGraphicFramePr>
          <p:nvPr>
            <p:extLst>
              <p:ext uri="{D42A27DB-BD31-4B8C-83A1-F6EECF244321}">
                <p14:modId xmlns:p14="http://schemas.microsoft.com/office/powerpoint/2010/main" val="2900296022"/>
              </p:ext>
            </p:extLst>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8D2AC029-204E-C851-0DBB-376972B8F647}"/>
              </a:ext>
            </a:extLst>
          </p:cNvPr>
          <p:cNvGraphicFramePr>
            <a:graphicFrameLocks/>
          </p:cNvGraphicFramePr>
          <p:nvPr>
            <p:extLst>
              <p:ext uri="{D42A27DB-BD31-4B8C-83A1-F6EECF244321}">
                <p14:modId xmlns:p14="http://schemas.microsoft.com/office/powerpoint/2010/main" val="1806983096"/>
              </p:ext>
            </p:extLst>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C1">
            <a:extLst>
              <a:ext uri="{FF2B5EF4-FFF2-40B4-BE49-F238E27FC236}">
                <a16:creationId xmlns:a16="http://schemas.microsoft.com/office/drawing/2014/main" id="{F3DC8CB2-3F2B-2774-573E-DFF620E84D4C}"/>
              </a:ext>
            </a:extLst>
          </p:cNvPr>
          <p:cNvGraphicFramePr>
            <a:graphicFrameLocks/>
          </p:cNvGraphicFramePr>
          <p:nvPr>
            <p:extLst>
              <p:ext uri="{D42A27DB-BD31-4B8C-83A1-F6EECF244321}">
                <p14:modId xmlns:p14="http://schemas.microsoft.com/office/powerpoint/2010/main" val="2639015258"/>
              </p:ext>
            </p:extLst>
          </p:nvPr>
        </p:nvGraphicFramePr>
        <p:xfrm>
          <a:off x="6566444" y="1354754"/>
          <a:ext cx="2268000" cy="3374309"/>
        </p:xfrm>
        <a:graphic>
          <a:graphicData uri="http://schemas.openxmlformats.org/drawingml/2006/chart">
            <c:chart xmlns:c="http://schemas.openxmlformats.org/drawingml/2006/chart" xmlns:r="http://schemas.openxmlformats.org/officeDocument/2006/relationships" r:id="rId8"/>
          </a:graphicData>
        </a:graphic>
      </p:graphicFrame>
      <p:sp>
        <p:nvSpPr>
          <p:cNvPr id="16" name="TextBox 15">
            <a:extLst>
              <a:ext uri="{FF2B5EF4-FFF2-40B4-BE49-F238E27FC236}">
                <a16:creationId xmlns:a16="http://schemas.microsoft.com/office/drawing/2014/main" id="{8C8CB6BD-A844-74EC-CFEC-C58CFCC7C5EC}"/>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B18FE6A9-85ED-634C-B0DB-D9A4E7A1AD69}"/>
              </a:ext>
            </a:extLst>
          </p:cNvPr>
          <p:cNvGraphicFramePr>
            <a:graphicFrameLocks noGrp="1"/>
          </p:cNvGraphicFramePr>
          <p:nvPr/>
        </p:nvGraphicFramePr>
        <p:xfrm>
          <a:off x="720534" y="1121410"/>
          <a:ext cx="8113912"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gridCol w="2028478">
                  <a:extLst>
                    <a:ext uri="{9D8B030D-6E8A-4147-A177-3AD203B41FA5}">
                      <a16:colId xmlns:a16="http://schemas.microsoft.com/office/drawing/2014/main" val="3571608413"/>
                    </a:ext>
                  </a:extLst>
                </a:gridCol>
              </a:tblGrid>
              <a:tr h="235994">
                <a:tc>
                  <a:txBody>
                    <a:bodyPr/>
                    <a:lstStyle/>
                    <a:p>
                      <a:pPr algn="ctr">
                        <a:defRPr sz="1100">
                          <a:latin typeface="Nexa Book"/>
                        </a:defRPr>
                      </a:pPr>
                      <a:r>
                        <a:rPr b="1">
                          <a:solidFill>
                            <a:srgbClr val="575555"/>
                          </a:solidFill>
                        </a:rPr>
                        <a:t>Blanc De Blancs</a:t>
                      </a:r>
                    </a:p>
                  </a:txBody>
                  <a:tcPr anchor="ctr">
                    <a:solidFill>
                      <a:schemeClr val="bg2"/>
                    </a:solidFill>
                  </a:tcPr>
                </a:tc>
                <a:tc>
                  <a:txBody>
                    <a:bodyPr/>
                    <a:lstStyle/>
                    <a:p>
                      <a:pPr algn="ctr">
                        <a:defRPr sz="1100">
                          <a:latin typeface="Nexa Book"/>
                        </a:defRPr>
                      </a:pPr>
                      <a:r>
                        <a:rPr b="1">
                          <a:solidFill>
                            <a:srgbClr val="575555"/>
                          </a:solidFill>
                        </a:rPr>
                        <a:t>Bruts</a:t>
                      </a:r>
                    </a:p>
                  </a:txBody>
                  <a:tcPr anchor="ctr">
                    <a:solidFill>
                      <a:schemeClr val="bg2"/>
                    </a:solidFill>
                  </a:tcPr>
                </a:tc>
                <a:tc>
                  <a:txBody>
                    <a:bodyPr/>
                    <a:lstStyle/>
                    <a:p>
                      <a:pPr algn="ctr">
                        <a:defRPr sz="1100">
                          <a:latin typeface="Nexa Book"/>
                        </a:defRPr>
                      </a:pPr>
                      <a:r>
                        <a:rPr b="1">
                          <a:solidFill>
                            <a:srgbClr val="575555"/>
                          </a:solidFill>
                        </a:rPr>
                        <a:t>Crus</a:t>
                      </a:r>
                    </a:p>
                  </a:txBody>
                  <a:tcPr anchor="ctr">
                    <a:solidFill>
                      <a:schemeClr val="bg2"/>
                    </a:solidFill>
                  </a:tcPr>
                </a:tc>
                <a:tc>
                  <a:txBody>
                    <a:bodyPr/>
                    <a:lstStyle/>
                    <a:p>
                      <a:pPr algn="ctr">
                        <a:defRPr sz="1100">
                          <a:latin typeface="Nexa Book"/>
                        </a:defRPr>
                      </a:pPr>
                      <a:r>
                        <a:rPr b="1">
                          <a:solidFill>
                            <a:srgbClr val="575555"/>
                          </a:solidFill>
                        </a:rPr>
                        <a:t>Extra Brut</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3068560844"/>
      </p:ext>
    </p:extLst>
  </p:cSld>
  <p:clrMapOvr>
    <a:masterClrMapping/>
  </p:clrMapOvr>
</p:sld>
</file>

<file path=ppt/slides/slide7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2/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60</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June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Vol | Category vs. Nicolas | CA C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2.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2.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3.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702084952"/>
      </p:ext>
    </p:extLst>
  </p:cSld>
  <p:clrMapOvr>
    <a:masterClrMapping/>
  </p:clrMapOvr>
</p:sld>
</file>

<file path=ppt/slides/slide7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2/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61</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June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Vol | Category vs. Nicolas | CA D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3.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309002036"/>
      </p:ext>
    </p:extLst>
  </p:cSld>
  <p:clrMapOvr>
    <a:masterClrMapping/>
  </p:clrMapOvr>
</p:sld>
</file>

<file path=ppt/slides/slide7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2/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62</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June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Vol | Category vs. Nicolas | CA E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2.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0.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3.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792857952"/>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08FC55-424A-ACCC-676F-44C3CCC9796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415BD49-9CDB-C892-E279-946572C3A129}"/>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BE947E9A-9EDC-50FE-5484-367359C894D7}"/>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6A5025B9-0C85-A050-B069-0AC43B6B8204}"/>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1004F20C-B07D-4614-4481-965EA185837B}"/>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A91D8E7D-FEEC-5BA1-EB74-93E5E7482F85}"/>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7</a:t>
            </a:fld>
            <a:endParaRPr lang="en-US" noProof="0"/>
          </a:p>
        </p:txBody>
      </p:sp>
      <p:sp>
        <p:nvSpPr>
          <p:cNvPr id="37" name="Text Placeholder 36">
            <a:extLst>
              <a:ext uri="{FF2B5EF4-FFF2-40B4-BE49-F238E27FC236}">
                <a16:creationId xmlns:a16="http://schemas.microsoft.com/office/drawing/2014/main" id="{FA0F6888-D5CC-383A-47AD-80C683524A7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2E389274-4FCB-6DE6-41BB-F4D26E075546}"/>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egment | CA A | P12M</a:t>
            </a:r>
          </a:p>
        </p:txBody>
      </p:sp>
      <p:sp>
        <p:nvSpPr>
          <p:cNvPr id="2" name="Title 1">
            <a:extLst>
              <a:ext uri="{FF2B5EF4-FFF2-40B4-BE49-F238E27FC236}">
                <a16:creationId xmlns:a16="http://schemas.microsoft.com/office/drawing/2014/main" id="{0B37106B-65BB-38CE-2DE5-FACF202E6E13}"/>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3AD1043F-CB15-E170-B712-2A89D1DA680D}"/>
              </a:ext>
            </a:extLst>
          </p:cNvPr>
          <p:cNvGraphicFramePr>
            <a:graphicFrameLocks noGrp="1"/>
          </p:cNvGraphicFramePr>
          <p:nvPr>
            <p:ph idx="4294967295"/>
            <p:extLst>
              <p:ext uri="{D42A27DB-BD31-4B8C-83A1-F6EECF244321}">
                <p14:modId xmlns:p14="http://schemas.microsoft.com/office/powerpoint/2010/main" val="244266821"/>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C7CB25F2-15EE-61CD-96F8-9E24F3CFB425}"/>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C8ACCE2D-6642-ED27-3E63-215D317EDF54}"/>
              </a:ext>
            </a:extLst>
          </p:cNvPr>
          <p:cNvGraphicFramePr>
            <a:graphicFrameLocks/>
          </p:cNvGraphicFramePr>
          <p:nvPr>
            <p:extLst>
              <p:ext uri="{D42A27DB-BD31-4B8C-83A1-F6EECF244321}">
                <p14:modId xmlns:p14="http://schemas.microsoft.com/office/powerpoint/2010/main" val="3980732427"/>
              </p:ext>
            </p:extLst>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8D2AC029-204E-C851-0DBB-376972B8F647}"/>
              </a:ext>
            </a:extLst>
          </p:cNvPr>
          <p:cNvGraphicFramePr>
            <a:graphicFrameLocks/>
          </p:cNvGraphicFramePr>
          <p:nvPr>
            <p:extLst>
              <p:ext uri="{D42A27DB-BD31-4B8C-83A1-F6EECF244321}">
                <p14:modId xmlns:p14="http://schemas.microsoft.com/office/powerpoint/2010/main" val="695577249"/>
              </p:ext>
            </p:extLst>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C1">
            <a:extLst>
              <a:ext uri="{FF2B5EF4-FFF2-40B4-BE49-F238E27FC236}">
                <a16:creationId xmlns:a16="http://schemas.microsoft.com/office/drawing/2014/main" id="{F3DC8CB2-3F2B-2774-573E-DFF620E84D4C}"/>
              </a:ext>
            </a:extLst>
          </p:cNvPr>
          <p:cNvGraphicFramePr>
            <a:graphicFrameLocks/>
          </p:cNvGraphicFramePr>
          <p:nvPr>
            <p:extLst>
              <p:ext uri="{D42A27DB-BD31-4B8C-83A1-F6EECF244321}">
                <p14:modId xmlns:p14="http://schemas.microsoft.com/office/powerpoint/2010/main" val="2091423904"/>
              </p:ext>
            </p:extLst>
          </p:nvPr>
        </p:nvGraphicFramePr>
        <p:xfrm>
          <a:off x="6566444" y="1354754"/>
          <a:ext cx="2268000" cy="3374309"/>
        </p:xfrm>
        <a:graphic>
          <a:graphicData uri="http://schemas.openxmlformats.org/drawingml/2006/chart">
            <c:chart xmlns:c="http://schemas.openxmlformats.org/drawingml/2006/chart" xmlns:r="http://schemas.openxmlformats.org/officeDocument/2006/relationships" r:id="rId8"/>
          </a:graphicData>
        </a:graphic>
      </p:graphicFrame>
      <p:sp>
        <p:nvSpPr>
          <p:cNvPr id="16" name="TextBox 15">
            <a:extLst>
              <a:ext uri="{FF2B5EF4-FFF2-40B4-BE49-F238E27FC236}">
                <a16:creationId xmlns:a16="http://schemas.microsoft.com/office/drawing/2014/main" id="{8C8CB6BD-A844-74EC-CFEC-C58CFCC7C5EC}"/>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B18FE6A9-85ED-634C-B0DB-D9A4E7A1AD69}"/>
              </a:ext>
            </a:extLst>
          </p:cNvPr>
          <p:cNvGraphicFramePr>
            <a:graphicFrameLocks noGrp="1"/>
          </p:cNvGraphicFramePr>
          <p:nvPr/>
        </p:nvGraphicFramePr>
        <p:xfrm>
          <a:off x="720534" y="1121410"/>
          <a:ext cx="8113912"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gridCol w="2028478">
                  <a:extLst>
                    <a:ext uri="{9D8B030D-6E8A-4147-A177-3AD203B41FA5}">
                      <a16:colId xmlns:a16="http://schemas.microsoft.com/office/drawing/2014/main" val="3571608413"/>
                    </a:ext>
                  </a:extLst>
                </a:gridCol>
              </a:tblGrid>
              <a:tr h="235994">
                <a:tc>
                  <a:txBody>
                    <a:bodyPr/>
                    <a:lstStyle/>
                    <a:p>
                      <a:pPr algn="ctr">
                        <a:defRPr sz="1100">
                          <a:latin typeface="Nexa Book"/>
                        </a:defRPr>
                      </a:pPr>
                      <a:r>
                        <a:rPr b="1">
                          <a:solidFill>
                            <a:srgbClr val="575555"/>
                          </a:solidFill>
                        </a:rPr>
                        <a:t>Millesimes</a:t>
                      </a:r>
                    </a:p>
                  </a:txBody>
                  <a:tcPr anchor="ctr">
                    <a:solidFill>
                      <a:schemeClr val="bg2"/>
                    </a:solidFill>
                  </a:tcPr>
                </a:tc>
                <a:tc>
                  <a:txBody>
                    <a:bodyPr/>
                    <a:lstStyle/>
                    <a:p>
                      <a:pPr algn="ctr">
                        <a:defRPr sz="1100">
                          <a:latin typeface="Nexa Book"/>
                        </a:defRPr>
                      </a:pPr>
                      <a:r>
                        <a:rPr b="1">
                          <a:solidFill>
                            <a:srgbClr val="575555"/>
                          </a:solidFill>
                        </a:rPr>
                        <a:t>Rosés</a:t>
                      </a:r>
                    </a:p>
                  </a:txBody>
                  <a:tcPr anchor="ctr">
                    <a:solidFill>
                      <a:schemeClr val="bg2"/>
                    </a:solidFill>
                  </a:tcPr>
                </a:tc>
                <a:tc>
                  <a:txBody>
                    <a:bodyPr/>
                    <a:lstStyle/>
                    <a:p>
                      <a:pPr algn="ctr">
                        <a:defRPr sz="1100">
                          <a:latin typeface="Nexa Book"/>
                        </a:defRPr>
                      </a:pPr>
                      <a:r>
                        <a:rPr b="1">
                          <a:solidFill>
                            <a:srgbClr val="575555"/>
                          </a:solidFill>
                        </a:rPr>
                        <a:t>Mousseux Bourgogne</a:t>
                      </a:r>
                    </a:p>
                  </a:txBody>
                  <a:tcPr anchor="ctr">
                    <a:solidFill>
                      <a:schemeClr val="bg2"/>
                    </a:solidFill>
                  </a:tcPr>
                </a:tc>
                <a:tc>
                  <a:txBody>
                    <a:bodyPr/>
                    <a:lstStyle/>
                    <a:p>
                      <a:pPr algn="ctr">
                        <a:defRPr sz="1100">
                          <a:latin typeface="Nexa Book"/>
                        </a:defRPr>
                      </a:pPr>
                      <a:r>
                        <a:rPr b="1">
                          <a:solidFill>
                            <a:srgbClr val="575555"/>
                          </a:solidFill>
                        </a:rPr>
                        <a:t>Mousseux Italiens</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2249266790"/>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65918C-CF2D-B9BE-373E-8055AB4F589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BE947E9A-9EDC-50FE-5484-367359C894D7}"/>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DC475BB2-0528-29FB-C158-9EF2E6156FB0}"/>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C87CB3FA-1793-85BB-0720-68CB9A322CAF}"/>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300044B2-FAA5-2879-ADFC-6874BBAF83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DA8BB0C0-E087-2E71-1F6D-E725250BE3D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8</a:t>
            </a:fld>
            <a:endParaRPr lang="en-US" noProof="0"/>
          </a:p>
        </p:txBody>
      </p:sp>
      <p:sp>
        <p:nvSpPr>
          <p:cNvPr id="37" name="Text Placeholder 36">
            <a:extLst>
              <a:ext uri="{FF2B5EF4-FFF2-40B4-BE49-F238E27FC236}">
                <a16:creationId xmlns:a16="http://schemas.microsoft.com/office/drawing/2014/main" id="{4918FA18-B639-A629-2E9B-674B54B4AACA}"/>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37405B8B-A5F3-F9D8-A571-2F38544BBDBA}"/>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egment | CA A | P12M</a:t>
            </a:r>
          </a:p>
        </p:txBody>
      </p:sp>
      <p:sp>
        <p:nvSpPr>
          <p:cNvPr id="2" name="Title 1">
            <a:extLst>
              <a:ext uri="{FF2B5EF4-FFF2-40B4-BE49-F238E27FC236}">
                <a16:creationId xmlns:a16="http://schemas.microsoft.com/office/drawing/2014/main" id="{12784FBB-01F7-DE64-BC02-E8B59B51E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8694A9E2-2E6E-DE42-FC36-3888D1308CB4}"/>
              </a:ext>
            </a:extLst>
          </p:cNvPr>
          <p:cNvGraphicFramePr>
            <a:graphicFrameLocks noGrp="1"/>
          </p:cNvGraphicFramePr>
          <p:nvPr>
            <p:ph idx="4294967295"/>
            <p:extLst>
              <p:ext uri="{D42A27DB-BD31-4B8C-83A1-F6EECF244321}">
                <p14:modId xmlns:p14="http://schemas.microsoft.com/office/powerpoint/2010/main" val="785774465"/>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F456CAE2-40D9-C89C-01D4-02D92ECC325F}"/>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9C31F180-BE4C-077E-6172-FE9EFF5651B0}"/>
              </a:ext>
            </a:extLst>
          </p:cNvPr>
          <p:cNvGraphicFramePr>
            <a:graphicFrameLocks/>
          </p:cNvGraphicFramePr>
          <p:nvPr>
            <p:extLst>
              <p:ext uri="{D42A27DB-BD31-4B8C-83A1-F6EECF244321}">
                <p14:modId xmlns:p14="http://schemas.microsoft.com/office/powerpoint/2010/main" val="661005918"/>
              </p:ext>
            </p:extLst>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01B1A8DD-FED6-2C47-296D-0983D1E720B2}"/>
              </a:ext>
            </a:extLst>
          </p:cNvPr>
          <p:cNvGraphicFramePr>
            <a:graphicFrameLocks/>
          </p:cNvGraphicFramePr>
          <p:nvPr>
            <p:extLst>
              <p:ext uri="{D42A27DB-BD31-4B8C-83A1-F6EECF244321}">
                <p14:modId xmlns:p14="http://schemas.microsoft.com/office/powerpoint/2010/main" val="759191307"/>
              </p:ext>
            </p:extLst>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sp>
        <p:nvSpPr>
          <p:cNvPr id="16" name="TextBox 15">
            <a:extLst>
              <a:ext uri="{FF2B5EF4-FFF2-40B4-BE49-F238E27FC236}">
                <a16:creationId xmlns:a16="http://schemas.microsoft.com/office/drawing/2014/main" id="{2B180312-FE46-D4C9-3734-1E3750820943}"/>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4DB211A7-591C-E03E-65DC-47EB4C0D8D03}"/>
              </a:ext>
            </a:extLst>
          </p:cNvPr>
          <p:cNvGraphicFramePr>
            <a:graphicFrameLocks noGrp="1"/>
          </p:cNvGraphicFramePr>
          <p:nvPr>
            <p:extLst>
              <p:ext uri="{D42A27DB-BD31-4B8C-83A1-F6EECF244321}">
                <p14:modId xmlns:p14="http://schemas.microsoft.com/office/powerpoint/2010/main" val="2790109015"/>
              </p:ext>
            </p:extLst>
          </p:nvPr>
        </p:nvGraphicFramePr>
        <p:xfrm>
          <a:off x="720534" y="1121410"/>
          <a:ext cx="6085434"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tblGrid>
              <a:tr h="235994">
                <a:tc>
                  <a:txBody>
                    <a:bodyPr/>
                    <a:lstStyle/>
                    <a:p>
                      <a:pPr algn="ctr">
                        <a:defRPr sz="1100">
                          <a:latin typeface="Nexa Book"/>
                        </a:defRPr>
                      </a:pPr>
                      <a:r>
                        <a:rPr b="1">
                          <a:solidFill>
                            <a:srgbClr val="575555"/>
                          </a:solidFill>
                        </a:rPr>
                        <a:t>Mousseux Val De Loire</a:t>
                      </a:r>
                    </a:p>
                  </a:txBody>
                  <a:tcPr anchor="ctr">
                    <a:solidFill>
                      <a:schemeClr val="bg2"/>
                    </a:solidFill>
                  </a:tcPr>
                </a:tc>
                <a:tc>
                  <a:txBody>
                    <a:bodyPr/>
                    <a:lstStyle/>
                    <a:p>
                      <a:pPr algn="ctr">
                        <a:defRPr sz="1100">
                          <a:latin typeface="Nexa Book"/>
                        </a:defRPr>
                      </a:pPr>
                      <a:r>
                        <a:rPr b="1">
                          <a:solidFill>
                            <a:srgbClr val="575555"/>
                          </a:solidFill>
                        </a:rPr>
                        <a:t>Mousseux Alsace</a:t>
                      </a:r>
                    </a:p>
                  </a:txBody>
                  <a:tcPr anchor="ctr">
                    <a:solidFill>
                      <a:schemeClr val="bg2"/>
                    </a:solidFill>
                  </a:tcPr>
                </a:tc>
                <a:tc>
                  <a:txBody>
                    <a:bodyPr/>
                    <a:lstStyle/>
                    <a:p>
                      <a:pPr algn="ctr">
                        <a:defRPr sz="1100">
                          <a:latin typeface="Nexa Book"/>
                        </a:defRPr>
                      </a:pPr>
                      <a:r>
                        <a:rPr b="1">
                          <a:solidFill>
                            <a:srgbClr val="575555"/>
                          </a:solidFill>
                        </a:rPr>
                        <a:t>Mousseux Bordelais</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844720790"/>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08FC55-424A-ACCC-676F-44C3CCC9796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415BD49-9CDB-C892-E279-946572C3A129}"/>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BE947E9A-9EDC-50FE-5484-367359C894D7}"/>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6A5025B9-0C85-A050-B069-0AC43B6B8204}"/>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1004F20C-B07D-4614-4481-965EA185837B}"/>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A91D8E7D-FEEC-5BA1-EB74-93E5E7482F85}"/>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9</a:t>
            </a:fld>
            <a:endParaRPr lang="en-US" noProof="0"/>
          </a:p>
        </p:txBody>
      </p:sp>
      <p:sp>
        <p:nvSpPr>
          <p:cNvPr id="37" name="Text Placeholder 36">
            <a:extLst>
              <a:ext uri="{FF2B5EF4-FFF2-40B4-BE49-F238E27FC236}">
                <a16:creationId xmlns:a16="http://schemas.microsoft.com/office/drawing/2014/main" id="{FA0F6888-D5CC-383A-47AD-80C683524A7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2E389274-4FCB-6DE6-41BB-F4D26E075546}"/>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egment | CA B | P12M</a:t>
            </a:r>
          </a:p>
        </p:txBody>
      </p:sp>
      <p:sp>
        <p:nvSpPr>
          <p:cNvPr id="2" name="Title 1">
            <a:extLst>
              <a:ext uri="{FF2B5EF4-FFF2-40B4-BE49-F238E27FC236}">
                <a16:creationId xmlns:a16="http://schemas.microsoft.com/office/drawing/2014/main" id="{0B37106B-65BB-38CE-2DE5-FACF202E6E13}"/>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3AD1043F-CB15-E170-B712-2A89D1DA680D}"/>
              </a:ext>
            </a:extLst>
          </p:cNvPr>
          <p:cNvGraphicFramePr>
            <a:graphicFrameLocks noGrp="1"/>
          </p:cNvGraphicFramePr>
          <p:nvPr>
            <p:ph idx="4294967295"/>
            <p:extLst>
              <p:ext uri="{D42A27DB-BD31-4B8C-83A1-F6EECF244321}">
                <p14:modId xmlns:p14="http://schemas.microsoft.com/office/powerpoint/2010/main" val="3110117689"/>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C7CB25F2-15EE-61CD-96F8-9E24F3CFB425}"/>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C8ACCE2D-6642-ED27-3E63-215D317EDF54}"/>
              </a:ext>
            </a:extLst>
          </p:cNvPr>
          <p:cNvGraphicFramePr>
            <a:graphicFrameLocks/>
          </p:cNvGraphicFramePr>
          <p:nvPr>
            <p:extLst>
              <p:ext uri="{D42A27DB-BD31-4B8C-83A1-F6EECF244321}">
                <p14:modId xmlns:p14="http://schemas.microsoft.com/office/powerpoint/2010/main" val="1680735226"/>
              </p:ext>
            </p:extLst>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8D2AC029-204E-C851-0DBB-376972B8F647}"/>
              </a:ext>
            </a:extLst>
          </p:cNvPr>
          <p:cNvGraphicFramePr>
            <a:graphicFrameLocks/>
          </p:cNvGraphicFramePr>
          <p:nvPr>
            <p:extLst>
              <p:ext uri="{D42A27DB-BD31-4B8C-83A1-F6EECF244321}">
                <p14:modId xmlns:p14="http://schemas.microsoft.com/office/powerpoint/2010/main" val="3964796543"/>
              </p:ext>
            </p:extLst>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C1">
            <a:extLst>
              <a:ext uri="{FF2B5EF4-FFF2-40B4-BE49-F238E27FC236}">
                <a16:creationId xmlns:a16="http://schemas.microsoft.com/office/drawing/2014/main" id="{F3DC8CB2-3F2B-2774-573E-DFF620E84D4C}"/>
              </a:ext>
            </a:extLst>
          </p:cNvPr>
          <p:cNvGraphicFramePr>
            <a:graphicFrameLocks/>
          </p:cNvGraphicFramePr>
          <p:nvPr>
            <p:extLst>
              <p:ext uri="{D42A27DB-BD31-4B8C-83A1-F6EECF244321}">
                <p14:modId xmlns:p14="http://schemas.microsoft.com/office/powerpoint/2010/main" val="2175300896"/>
              </p:ext>
            </p:extLst>
          </p:nvPr>
        </p:nvGraphicFramePr>
        <p:xfrm>
          <a:off x="6566444" y="1354754"/>
          <a:ext cx="2268000" cy="3374309"/>
        </p:xfrm>
        <a:graphic>
          <a:graphicData uri="http://schemas.openxmlformats.org/drawingml/2006/chart">
            <c:chart xmlns:c="http://schemas.openxmlformats.org/drawingml/2006/chart" xmlns:r="http://schemas.openxmlformats.org/officeDocument/2006/relationships" r:id="rId8"/>
          </a:graphicData>
        </a:graphic>
      </p:graphicFrame>
      <p:sp>
        <p:nvSpPr>
          <p:cNvPr id="16" name="TextBox 15">
            <a:extLst>
              <a:ext uri="{FF2B5EF4-FFF2-40B4-BE49-F238E27FC236}">
                <a16:creationId xmlns:a16="http://schemas.microsoft.com/office/drawing/2014/main" id="{8C8CB6BD-A844-74EC-CFEC-C58CFCC7C5EC}"/>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B18FE6A9-85ED-634C-B0DB-D9A4E7A1AD69}"/>
              </a:ext>
            </a:extLst>
          </p:cNvPr>
          <p:cNvGraphicFramePr>
            <a:graphicFrameLocks noGrp="1"/>
          </p:cNvGraphicFramePr>
          <p:nvPr/>
        </p:nvGraphicFramePr>
        <p:xfrm>
          <a:off x="720534" y="1121410"/>
          <a:ext cx="8113912"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gridCol w="2028478">
                  <a:extLst>
                    <a:ext uri="{9D8B030D-6E8A-4147-A177-3AD203B41FA5}">
                      <a16:colId xmlns:a16="http://schemas.microsoft.com/office/drawing/2014/main" val="3571608413"/>
                    </a:ext>
                  </a:extLst>
                </a:gridCol>
              </a:tblGrid>
              <a:tr h="235994">
                <a:tc>
                  <a:txBody>
                    <a:bodyPr/>
                    <a:lstStyle/>
                    <a:p>
                      <a:pPr algn="ctr">
                        <a:defRPr sz="1100">
                          <a:latin typeface="Nexa Book"/>
                        </a:defRPr>
                      </a:pPr>
                      <a:r>
                        <a:rPr b="1">
                          <a:solidFill>
                            <a:srgbClr val="575555"/>
                          </a:solidFill>
                        </a:rPr>
                        <a:t>Blanc De Blancs</a:t>
                      </a:r>
                    </a:p>
                  </a:txBody>
                  <a:tcPr anchor="ctr">
                    <a:solidFill>
                      <a:schemeClr val="bg2"/>
                    </a:solidFill>
                  </a:tcPr>
                </a:tc>
                <a:tc>
                  <a:txBody>
                    <a:bodyPr/>
                    <a:lstStyle/>
                    <a:p>
                      <a:pPr algn="ctr">
                        <a:defRPr sz="1100">
                          <a:latin typeface="Nexa Book"/>
                        </a:defRPr>
                      </a:pPr>
                      <a:r>
                        <a:rPr b="1">
                          <a:solidFill>
                            <a:srgbClr val="575555"/>
                          </a:solidFill>
                        </a:rPr>
                        <a:t>Bruts</a:t>
                      </a:r>
                    </a:p>
                  </a:txBody>
                  <a:tcPr anchor="ctr">
                    <a:solidFill>
                      <a:schemeClr val="bg2"/>
                    </a:solidFill>
                  </a:tcPr>
                </a:tc>
                <a:tc>
                  <a:txBody>
                    <a:bodyPr/>
                    <a:lstStyle/>
                    <a:p>
                      <a:pPr algn="ctr">
                        <a:defRPr sz="1100">
                          <a:latin typeface="Nexa Book"/>
                        </a:defRPr>
                      </a:pPr>
                      <a:r>
                        <a:rPr b="1">
                          <a:solidFill>
                            <a:srgbClr val="575555"/>
                          </a:solidFill>
                        </a:rPr>
                        <a:t>Crus</a:t>
                      </a:r>
                    </a:p>
                  </a:txBody>
                  <a:tcPr anchor="ctr">
                    <a:solidFill>
                      <a:schemeClr val="bg2"/>
                    </a:solidFill>
                  </a:tcPr>
                </a:tc>
                <a:tc>
                  <a:txBody>
                    <a:bodyPr/>
                    <a:lstStyle/>
                    <a:p>
                      <a:pPr algn="ctr">
                        <a:defRPr sz="1100">
                          <a:latin typeface="Nexa Book"/>
                        </a:defRPr>
                      </a:pPr>
                      <a:r>
                        <a:rPr b="1">
                          <a:solidFill>
                            <a:srgbClr val="575555"/>
                          </a:solidFill>
                        </a:rPr>
                        <a:t>Extra Brut</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205885851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17F39D-9FE7-D5EF-D981-D08E2C3E7E72}"/>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6C569F5-3F88-086F-5B00-1E8A66D0F786}"/>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1E5943C8-93A2-CE99-9DC9-6106E372503B}"/>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58EF6AC-09CE-D3E4-3CE4-FEF3C28940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7F0F218-5714-F2E2-17DE-F734014EA97B}"/>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a:t>
            </a:fld>
            <a:endParaRPr lang="en-US" noProof="0"/>
          </a:p>
        </p:txBody>
      </p:sp>
      <p:sp>
        <p:nvSpPr>
          <p:cNvPr id="37" name="Text Placeholder 36">
            <a:extLst>
              <a:ext uri="{FF2B5EF4-FFF2-40B4-BE49-F238E27FC236}">
                <a16:creationId xmlns:a16="http://schemas.microsoft.com/office/drawing/2014/main" id="{5136C012-8234-3446-6BA4-D2A4ED46798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09B51F99-F9B2-A31A-6316-FFD484BF748A}"/>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Category | NICOLAS CCP | P12M</a:t>
            </a:r>
          </a:p>
        </p:txBody>
      </p:sp>
      <p:sp>
        <p:nvSpPr>
          <p:cNvPr id="2" name="Title 1">
            <a:extLst>
              <a:ext uri="{FF2B5EF4-FFF2-40B4-BE49-F238E27FC236}">
                <a16:creationId xmlns:a16="http://schemas.microsoft.com/office/drawing/2014/main" id="{119F61F6-E75A-45A7-FB48-021A4AD44DFE}"/>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452FBD9-A58C-004E-EBFE-BF25D0D39B4C}"/>
              </a:ext>
            </a:extLst>
          </p:cNvPr>
          <p:cNvGraphicFramePr>
            <a:graphicFrameLocks noGrp="1"/>
          </p:cNvGraphicFramePr>
          <p:nvPr>
            <p:ph idx="4294967295"/>
            <p:extLst>
              <p:ext uri="{D42A27DB-BD31-4B8C-83A1-F6EECF244321}">
                <p14:modId xmlns:p14="http://schemas.microsoft.com/office/powerpoint/2010/main" val="1586938630"/>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B0F72B-C6D2-6D8D-0FC6-9AC4097CBCC1}"/>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sp>
        <p:nvSpPr>
          <p:cNvPr id="16" name="TextBox 15">
            <a:extLst>
              <a:ext uri="{FF2B5EF4-FFF2-40B4-BE49-F238E27FC236}">
                <a16:creationId xmlns:a16="http://schemas.microsoft.com/office/drawing/2014/main" id="{46D148F4-12D7-0EF3-ABFE-35612660B26D}"/>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F3F720E0-CF35-ADEF-C27B-40DD4DEC2868}"/>
              </a:ext>
            </a:extLst>
          </p:cNvPr>
          <p:cNvGraphicFramePr>
            <a:graphicFrameLocks noGrp="1"/>
          </p:cNvGraphicFramePr>
          <p:nvPr>
            <p:extLst>
              <p:ext uri="{D42A27DB-BD31-4B8C-83A1-F6EECF244321}">
                <p14:modId xmlns:p14="http://schemas.microsoft.com/office/powerpoint/2010/main" val="635621620"/>
              </p:ext>
            </p:extLst>
          </p:nvPr>
        </p:nvGraphicFramePr>
        <p:xfrm>
          <a:off x="720534" y="1121410"/>
          <a:ext cx="2028478"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tblGrid>
              <a:tr h="235994">
                <a:tc>
                  <a:txBody>
                    <a:bodyPr/>
                    <a:lstStyle/>
                    <a:p>
                      <a:pPr algn="ctr">
                        <a:defRPr sz="1100">
                          <a:latin typeface="Nexa Book"/>
                        </a:defRPr>
                      </a:pPr>
                      <a:r>
                        <a:rPr b="1">
                          <a:solidFill>
                            <a:srgbClr val="575555"/>
                          </a:solidFill>
                        </a:rPr>
                        <a:t>Effervescents</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1776013680"/>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08FC55-424A-ACCC-676F-44C3CCC9796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415BD49-9CDB-C892-E279-946572C3A129}"/>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BE947E9A-9EDC-50FE-5484-367359C894D7}"/>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6A5025B9-0C85-A050-B069-0AC43B6B8204}"/>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1004F20C-B07D-4614-4481-965EA185837B}"/>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A91D8E7D-FEEC-5BA1-EB74-93E5E7482F85}"/>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0</a:t>
            </a:fld>
            <a:endParaRPr lang="en-US" noProof="0"/>
          </a:p>
        </p:txBody>
      </p:sp>
      <p:sp>
        <p:nvSpPr>
          <p:cNvPr id="37" name="Text Placeholder 36">
            <a:extLst>
              <a:ext uri="{FF2B5EF4-FFF2-40B4-BE49-F238E27FC236}">
                <a16:creationId xmlns:a16="http://schemas.microsoft.com/office/drawing/2014/main" id="{FA0F6888-D5CC-383A-47AD-80C683524A7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2E389274-4FCB-6DE6-41BB-F4D26E075546}"/>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egment | CA B | P12M</a:t>
            </a:r>
          </a:p>
        </p:txBody>
      </p:sp>
      <p:sp>
        <p:nvSpPr>
          <p:cNvPr id="2" name="Title 1">
            <a:extLst>
              <a:ext uri="{FF2B5EF4-FFF2-40B4-BE49-F238E27FC236}">
                <a16:creationId xmlns:a16="http://schemas.microsoft.com/office/drawing/2014/main" id="{0B37106B-65BB-38CE-2DE5-FACF202E6E13}"/>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3AD1043F-CB15-E170-B712-2A89D1DA680D}"/>
              </a:ext>
            </a:extLst>
          </p:cNvPr>
          <p:cNvGraphicFramePr>
            <a:graphicFrameLocks noGrp="1"/>
          </p:cNvGraphicFramePr>
          <p:nvPr>
            <p:ph idx="4294967295"/>
            <p:extLst>
              <p:ext uri="{D42A27DB-BD31-4B8C-83A1-F6EECF244321}">
                <p14:modId xmlns:p14="http://schemas.microsoft.com/office/powerpoint/2010/main" val="23023653"/>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C7CB25F2-15EE-61CD-96F8-9E24F3CFB425}"/>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C8ACCE2D-6642-ED27-3E63-215D317EDF54}"/>
              </a:ext>
            </a:extLst>
          </p:cNvPr>
          <p:cNvGraphicFramePr>
            <a:graphicFrameLocks/>
          </p:cNvGraphicFramePr>
          <p:nvPr>
            <p:extLst>
              <p:ext uri="{D42A27DB-BD31-4B8C-83A1-F6EECF244321}">
                <p14:modId xmlns:p14="http://schemas.microsoft.com/office/powerpoint/2010/main" val="3282178987"/>
              </p:ext>
            </p:extLst>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8D2AC029-204E-C851-0DBB-376972B8F647}"/>
              </a:ext>
            </a:extLst>
          </p:cNvPr>
          <p:cNvGraphicFramePr>
            <a:graphicFrameLocks/>
          </p:cNvGraphicFramePr>
          <p:nvPr>
            <p:extLst>
              <p:ext uri="{D42A27DB-BD31-4B8C-83A1-F6EECF244321}">
                <p14:modId xmlns:p14="http://schemas.microsoft.com/office/powerpoint/2010/main" val="3161313296"/>
              </p:ext>
            </p:extLst>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C1">
            <a:extLst>
              <a:ext uri="{FF2B5EF4-FFF2-40B4-BE49-F238E27FC236}">
                <a16:creationId xmlns:a16="http://schemas.microsoft.com/office/drawing/2014/main" id="{F3DC8CB2-3F2B-2774-573E-DFF620E84D4C}"/>
              </a:ext>
            </a:extLst>
          </p:cNvPr>
          <p:cNvGraphicFramePr>
            <a:graphicFrameLocks/>
          </p:cNvGraphicFramePr>
          <p:nvPr>
            <p:extLst>
              <p:ext uri="{D42A27DB-BD31-4B8C-83A1-F6EECF244321}">
                <p14:modId xmlns:p14="http://schemas.microsoft.com/office/powerpoint/2010/main" val="3581586293"/>
              </p:ext>
            </p:extLst>
          </p:nvPr>
        </p:nvGraphicFramePr>
        <p:xfrm>
          <a:off x="6566444" y="1354754"/>
          <a:ext cx="2268000" cy="3374309"/>
        </p:xfrm>
        <a:graphic>
          <a:graphicData uri="http://schemas.openxmlformats.org/drawingml/2006/chart">
            <c:chart xmlns:c="http://schemas.openxmlformats.org/drawingml/2006/chart" xmlns:r="http://schemas.openxmlformats.org/officeDocument/2006/relationships" r:id="rId8"/>
          </a:graphicData>
        </a:graphic>
      </p:graphicFrame>
      <p:sp>
        <p:nvSpPr>
          <p:cNvPr id="16" name="TextBox 15">
            <a:extLst>
              <a:ext uri="{FF2B5EF4-FFF2-40B4-BE49-F238E27FC236}">
                <a16:creationId xmlns:a16="http://schemas.microsoft.com/office/drawing/2014/main" id="{8C8CB6BD-A844-74EC-CFEC-C58CFCC7C5EC}"/>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B18FE6A9-85ED-634C-B0DB-D9A4E7A1AD69}"/>
              </a:ext>
            </a:extLst>
          </p:cNvPr>
          <p:cNvGraphicFramePr>
            <a:graphicFrameLocks noGrp="1"/>
          </p:cNvGraphicFramePr>
          <p:nvPr/>
        </p:nvGraphicFramePr>
        <p:xfrm>
          <a:off x="720534" y="1121410"/>
          <a:ext cx="8113912"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gridCol w="2028478">
                  <a:extLst>
                    <a:ext uri="{9D8B030D-6E8A-4147-A177-3AD203B41FA5}">
                      <a16:colId xmlns:a16="http://schemas.microsoft.com/office/drawing/2014/main" val="3571608413"/>
                    </a:ext>
                  </a:extLst>
                </a:gridCol>
              </a:tblGrid>
              <a:tr h="235994">
                <a:tc>
                  <a:txBody>
                    <a:bodyPr/>
                    <a:lstStyle/>
                    <a:p>
                      <a:pPr algn="ctr">
                        <a:defRPr sz="1100">
                          <a:latin typeface="Nexa Book"/>
                        </a:defRPr>
                      </a:pPr>
                      <a:r>
                        <a:rPr b="1">
                          <a:solidFill>
                            <a:srgbClr val="575555"/>
                          </a:solidFill>
                        </a:rPr>
                        <a:t>Millesimes</a:t>
                      </a:r>
                    </a:p>
                  </a:txBody>
                  <a:tcPr anchor="ctr">
                    <a:solidFill>
                      <a:schemeClr val="bg2"/>
                    </a:solidFill>
                  </a:tcPr>
                </a:tc>
                <a:tc>
                  <a:txBody>
                    <a:bodyPr/>
                    <a:lstStyle/>
                    <a:p>
                      <a:pPr algn="ctr">
                        <a:defRPr sz="1100">
                          <a:latin typeface="Nexa Book"/>
                        </a:defRPr>
                      </a:pPr>
                      <a:r>
                        <a:rPr b="1">
                          <a:solidFill>
                            <a:srgbClr val="575555"/>
                          </a:solidFill>
                        </a:rPr>
                        <a:t>Rosés</a:t>
                      </a:r>
                    </a:p>
                  </a:txBody>
                  <a:tcPr anchor="ctr">
                    <a:solidFill>
                      <a:schemeClr val="bg2"/>
                    </a:solidFill>
                  </a:tcPr>
                </a:tc>
                <a:tc>
                  <a:txBody>
                    <a:bodyPr/>
                    <a:lstStyle/>
                    <a:p>
                      <a:pPr algn="ctr">
                        <a:defRPr sz="1100">
                          <a:latin typeface="Nexa Book"/>
                        </a:defRPr>
                      </a:pPr>
                      <a:r>
                        <a:rPr b="1">
                          <a:solidFill>
                            <a:srgbClr val="575555"/>
                          </a:solidFill>
                        </a:rPr>
                        <a:t>Mousseux Bourgogne</a:t>
                      </a:r>
                    </a:p>
                  </a:txBody>
                  <a:tcPr anchor="ctr">
                    <a:solidFill>
                      <a:schemeClr val="bg2"/>
                    </a:solidFill>
                  </a:tcPr>
                </a:tc>
                <a:tc>
                  <a:txBody>
                    <a:bodyPr/>
                    <a:lstStyle/>
                    <a:p>
                      <a:pPr algn="ctr">
                        <a:defRPr sz="1100">
                          <a:latin typeface="Nexa Book"/>
                        </a:defRPr>
                      </a:pPr>
                      <a:r>
                        <a:rPr b="1">
                          <a:solidFill>
                            <a:srgbClr val="575555"/>
                          </a:solidFill>
                        </a:rPr>
                        <a:t>Mousseux Italiens</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239489235"/>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65918C-CF2D-B9BE-373E-8055AB4F589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BE947E9A-9EDC-50FE-5484-367359C894D7}"/>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DC475BB2-0528-29FB-C158-9EF2E6156FB0}"/>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C87CB3FA-1793-85BB-0720-68CB9A322CAF}"/>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300044B2-FAA5-2879-ADFC-6874BBAF83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DA8BB0C0-E087-2E71-1F6D-E725250BE3D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1</a:t>
            </a:fld>
            <a:endParaRPr lang="en-US" noProof="0"/>
          </a:p>
        </p:txBody>
      </p:sp>
      <p:sp>
        <p:nvSpPr>
          <p:cNvPr id="37" name="Text Placeholder 36">
            <a:extLst>
              <a:ext uri="{FF2B5EF4-FFF2-40B4-BE49-F238E27FC236}">
                <a16:creationId xmlns:a16="http://schemas.microsoft.com/office/drawing/2014/main" id="{4918FA18-B639-A629-2E9B-674B54B4AACA}"/>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37405B8B-A5F3-F9D8-A571-2F38544BBDBA}"/>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egment | CA B | P12M</a:t>
            </a:r>
          </a:p>
        </p:txBody>
      </p:sp>
      <p:sp>
        <p:nvSpPr>
          <p:cNvPr id="2" name="Title 1">
            <a:extLst>
              <a:ext uri="{FF2B5EF4-FFF2-40B4-BE49-F238E27FC236}">
                <a16:creationId xmlns:a16="http://schemas.microsoft.com/office/drawing/2014/main" id="{12784FBB-01F7-DE64-BC02-E8B59B51E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8694A9E2-2E6E-DE42-FC36-3888D1308CB4}"/>
              </a:ext>
            </a:extLst>
          </p:cNvPr>
          <p:cNvGraphicFramePr>
            <a:graphicFrameLocks noGrp="1"/>
          </p:cNvGraphicFramePr>
          <p:nvPr>
            <p:ph idx="4294967295"/>
            <p:extLst>
              <p:ext uri="{D42A27DB-BD31-4B8C-83A1-F6EECF244321}">
                <p14:modId xmlns:p14="http://schemas.microsoft.com/office/powerpoint/2010/main" val="1448339409"/>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F456CAE2-40D9-C89C-01D4-02D92ECC325F}"/>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9C31F180-BE4C-077E-6172-FE9EFF5651B0}"/>
              </a:ext>
            </a:extLst>
          </p:cNvPr>
          <p:cNvGraphicFramePr>
            <a:graphicFrameLocks/>
          </p:cNvGraphicFramePr>
          <p:nvPr>
            <p:extLst>
              <p:ext uri="{D42A27DB-BD31-4B8C-83A1-F6EECF244321}">
                <p14:modId xmlns:p14="http://schemas.microsoft.com/office/powerpoint/2010/main" val="771517071"/>
              </p:ext>
            </p:extLst>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01B1A8DD-FED6-2C47-296D-0983D1E720B2}"/>
              </a:ext>
            </a:extLst>
          </p:cNvPr>
          <p:cNvGraphicFramePr>
            <a:graphicFrameLocks/>
          </p:cNvGraphicFramePr>
          <p:nvPr>
            <p:extLst>
              <p:ext uri="{D42A27DB-BD31-4B8C-83A1-F6EECF244321}">
                <p14:modId xmlns:p14="http://schemas.microsoft.com/office/powerpoint/2010/main" val="463650067"/>
              </p:ext>
            </p:extLst>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sp>
        <p:nvSpPr>
          <p:cNvPr id="16" name="TextBox 15">
            <a:extLst>
              <a:ext uri="{FF2B5EF4-FFF2-40B4-BE49-F238E27FC236}">
                <a16:creationId xmlns:a16="http://schemas.microsoft.com/office/drawing/2014/main" id="{2B180312-FE46-D4C9-3734-1E3750820943}"/>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4DB211A7-591C-E03E-65DC-47EB4C0D8D03}"/>
              </a:ext>
            </a:extLst>
          </p:cNvPr>
          <p:cNvGraphicFramePr>
            <a:graphicFrameLocks noGrp="1"/>
          </p:cNvGraphicFramePr>
          <p:nvPr>
            <p:extLst>
              <p:ext uri="{D42A27DB-BD31-4B8C-83A1-F6EECF244321}">
                <p14:modId xmlns:p14="http://schemas.microsoft.com/office/powerpoint/2010/main" val="2790109015"/>
              </p:ext>
            </p:extLst>
          </p:nvPr>
        </p:nvGraphicFramePr>
        <p:xfrm>
          <a:off x="720534" y="1121410"/>
          <a:ext cx="6085434"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tblGrid>
              <a:tr h="235994">
                <a:tc>
                  <a:txBody>
                    <a:bodyPr/>
                    <a:lstStyle/>
                    <a:p>
                      <a:pPr algn="ctr">
                        <a:defRPr sz="1100">
                          <a:latin typeface="Nexa Book"/>
                        </a:defRPr>
                      </a:pPr>
                      <a:r>
                        <a:rPr b="1">
                          <a:solidFill>
                            <a:srgbClr val="575555"/>
                          </a:solidFill>
                        </a:rPr>
                        <a:t>Mousseux Val De Loire</a:t>
                      </a:r>
                    </a:p>
                  </a:txBody>
                  <a:tcPr anchor="ctr">
                    <a:solidFill>
                      <a:schemeClr val="bg2"/>
                    </a:solidFill>
                  </a:tcPr>
                </a:tc>
                <a:tc>
                  <a:txBody>
                    <a:bodyPr/>
                    <a:lstStyle/>
                    <a:p>
                      <a:pPr algn="ctr">
                        <a:defRPr sz="1100">
                          <a:latin typeface="Nexa Book"/>
                        </a:defRPr>
                      </a:pPr>
                      <a:r>
                        <a:rPr b="1">
                          <a:solidFill>
                            <a:srgbClr val="575555"/>
                          </a:solidFill>
                        </a:rPr>
                        <a:t>Mousseux Alsace</a:t>
                      </a:r>
                    </a:p>
                  </a:txBody>
                  <a:tcPr anchor="ctr">
                    <a:solidFill>
                      <a:schemeClr val="bg2"/>
                    </a:solidFill>
                  </a:tcPr>
                </a:tc>
                <a:tc>
                  <a:txBody>
                    <a:bodyPr/>
                    <a:lstStyle/>
                    <a:p>
                      <a:pPr algn="ctr">
                        <a:defRPr sz="1100">
                          <a:latin typeface="Nexa Book"/>
                        </a:defRPr>
                      </a:pPr>
                      <a:r>
                        <a:rPr b="1">
                          <a:solidFill>
                            <a:srgbClr val="575555"/>
                          </a:solidFill>
                        </a:rPr>
                        <a:t>Mousseux Bordelais</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464557885"/>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08FC55-424A-ACCC-676F-44C3CCC9796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415BD49-9CDB-C892-E279-946572C3A129}"/>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BE947E9A-9EDC-50FE-5484-367359C894D7}"/>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6A5025B9-0C85-A050-B069-0AC43B6B8204}"/>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1004F20C-B07D-4614-4481-965EA185837B}"/>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A91D8E7D-FEEC-5BA1-EB74-93E5E7482F85}"/>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2</a:t>
            </a:fld>
            <a:endParaRPr lang="en-US" noProof="0"/>
          </a:p>
        </p:txBody>
      </p:sp>
      <p:sp>
        <p:nvSpPr>
          <p:cNvPr id="37" name="Text Placeholder 36">
            <a:extLst>
              <a:ext uri="{FF2B5EF4-FFF2-40B4-BE49-F238E27FC236}">
                <a16:creationId xmlns:a16="http://schemas.microsoft.com/office/drawing/2014/main" id="{FA0F6888-D5CC-383A-47AD-80C683524A7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2E389274-4FCB-6DE6-41BB-F4D26E075546}"/>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egment | CA C | P12M</a:t>
            </a:r>
          </a:p>
        </p:txBody>
      </p:sp>
      <p:sp>
        <p:nvSpPr>
          <p:cNvPr id="2" name="Title 1">
            <a:extLst>
              <a:ext uri="{FF2B5EF4-FFF2-40B4-BE49-F238E27FC236}">
                <a16:creationId xmlns:a16="http://schemas.microsoft.com/office/drawing/2014/main" id="{0B37106B-65BB-38CE-2DE5-FACF202E6E13}"/>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3AD1043F-CB15-E170-B712-2A89D1DA680D}"/>
              </a:ext>
            </a:extLst>
          </p:cNvPr>
          <p:cNvGraphicFramePr>
            <a:graphicFrameLocks noGrp="1"/>
          </p:cNvGraphicFramePr>
          <p:nvPr>
            <p:ph idx="4294967295"/>
            <p:extLst>
              <p:ext uri="{D42A27DB-BD31-4B8C-83A1-F6EECF244321}">
                <p14:modId xmlns:p14="http://schemas.microsoft.com/office/powerpoint/2010/main" val="3540481683"/>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C7CB25F2-15EE-61CD-96F8-9E24F3CFB425}"/>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C8ACCE2D-6642-ED27-3E63-215D317EDF54}"/>
              </a:ext>
            </a:extLst>
          </p:cNvPr>
          <p:cNvGraphicFramePr>
            <a:graphicFrameLocks/>
          </p:cNvGraphicFramePr>
          <p:nvPr>
            <p:extLst>
              <p:ext uri="{D42A27DB-BD31-4B8C-83A1-F6EECF244321}">
                <p14:modId xmlns:p14="http://schemas.microsoft.com/office/powerpoint/2010/main" val="4014254999"/>
              </p:ext>
            </p:extLst>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8D2AC029-204E-C851-0DBB-376972B8F647}"/>
              </a:ext>
            </a:extLst>
          </p:cNvPr>
          <p:cNvGraphicFramePr>
            <a:graphicFrameLocks/>
          </p:cNvGraphicFramePr>
          <p:nvPr>
            <p:extLst>
              <p:ext uri="{D42A27DB-BD31-4B8C-83A1-F6EECF244321}">
                <p14:modId xmlns:p14="http://schemas.microsoft.com/office/powerpoint/2010/main" val="4050378493"/>
              </p:ext>
            </p:extLst>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C1">
            <a:extLst>
              <a:ext uri="{FF2B5EF4-FFF2-40B4-BE49-F238E27FC236}">
                <a16:creationId xmlns:a16="http://schemas.microsoft.com/office/drawing/2014/main" id="{F3DC8CB2-3F2B-2774-573E-DFF620E84D4C}"/>
              </a:ext>
            </a:extLst>
          </p:cNvPr>
          <p:cNvGraphicFramePr>
            <a:graphicFrameLocks/>
          </p:cNvGraphicFramePr>
          <p:nvPr>
            <p:extLst>
              <p:ext uri="{D42A27DB-BD31-4B8C-83A1-F6EECF244321}">
                <p14:modId xmlns:p14="http://schemas.microsoft.com/office/powerpoint/2010/main" val="3486364393"/>
              </p:ext>
            </p:extLst>
          </p:nvPr>
        </p:nvGraphicFramePr>
        <p:xfrm>
          <a:off x="6566444" y="1354754"/>
          <a:ext cx="2268000" cy="3374309"/>
        </p:xfrm>
        <a:graphic>
          <a:graphicData uri="http://schemas.openxmlformats.org/drawingml/2006/chart">
            <c:chart xmlns:c="http://schemas.openxmlformats.org/drawingml/2006/chart" xmlns:r="http://schemas.openxmlformats.org/officeDocument/2006/relationships" r:id="rId8"/>
          </a:graphicData>
        </a:graphic>
      </p:graphicFrame>
      <p:sp>
        <p:nvSpPr>
          <p:cNvPr id="16" name="TextBox 15">
            <a:extLst>
              <a:ext uri="{FF2B5EF4-FFF2-40B4-BE49-F238E27FC236}">
                <a16:creationId xmlns:a16="http://schemas.microsoft.com/office/drawing/2014/main" id="{8C8CB6BD-A844-74EC-CFEC-C58CFCC7C5EC}"/>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B18FE6A9-85ED-634C-B0DB-D9A4E7A1AD69}"/>
              </a:ext>
            </a:extLst>
          </p:cNvPr>
          <p:cNvGraphicFramePr>
            <a:graphicFrameLocks noGrp="1"/>
          </p:cNvGraphicFramePr>
          <p:nvPr/>
        </p:nvGraphicFramePr>
        <p:xfrm>
          <a:off x="720534" y="1121410"/>
          <a:ext cx="8113912"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gridCol w="2028478">
                  <a:extLst>
                    <a:ext uri="{9D8B030D-6E8A-4147-A177-3AD203B41FA5}">
                      <a16:colId xmlns:a16="http://schemas.microsoft.com/office/drawing/2014/main" val="3571608413"/>
                    </a:ext>
                  </a:extLst>
                </a:gridCol>
              </a:tblGrid>
              <a:tr h="235994">
                <a:tc>
                  <a:txBody>
                    <a:bodyPr/>
                    <a:lstStyle/>
                    <a:p>
                      <a:pPr algn="ctr">
                        <a:defRPr sz="1100">
                          <a:latin typeface="Nexa Book"/>
                        </a:defRPr>
                      </a:pPr>
                      <a:r>
                        <a:rPr b="1">
                          <a:solidFill>
                            <a:srgbClr val="575555"/>
                          </a:solidFill>
                        </a:rPr>
                        <a:t>Blanc De Blancs</a:t>
                      </a:r>
                    </a:p>
                  </a:txBody>
                  <a:tcPr anchor="ctr">
                    <a:solidFill>
                      <a:schemeClr val="bg2"/>
                    </a:solidFill>
                  </a:tcPr>
                </a:tc>
                <a:tc>
                  <a:txBody>
                    <a:bodyPr/>
                    <a:lstStyle/>
                    <a:p>
                      <a:pPr algn="ctr">
                        <a:defRPr sz="1100">
                          <a:latin typeface="Nexa Book"/>
                        </a:defRPr>
                      </a:pPr>
                      <a:r>
                        <a:rPr b="1">
                          <a:solidFill>
                            <a:srgbClr val="575555"/>
                          </a:solidFill>
                        </a:rPr>
                        <a:t>Bruts</a:t>
                      </a:r>
                    </a:p>
                  </a:txBody>
                  <a:tcPr anchor="ctr">
                    <a:solidFill>
                      <a:schemeClr val="bg2"/>
                    </a:solidFill>
                  </a:tcPr>
                </a:tc>
                <a:tc>
                  <a:txBody>
                    <a:bodyPr/>
                    <a:lstStyle/>
                    <a:p>
                      <a:pPr algn="ctr">
                        <a:defRPr sz="1100">
                          <a:latin typeface="Nexa Book"/>
                        </a:defRPr>
                      </a:pPr>
                      <a:r>
                        <a:rPr b="1">
                          <a:solidFill>
                            <a:srgbClr val="575555"/>
                          </a:solidFill>
                        </a:rPr>
                        <a:t>Crus</a:t>
                      </a:r>
                    </a:p>
                  </a:txBody>
                  <a:tcPr anchor="ctr">
                    <a:solidFill>
                      <a:schemeClr val="bg2"/>
                    </a:solidFill>
                  </a:tcPr>
                </a:tc>
                <a:tc>
                  <a:txBody>
                    <a:bodyPr/>
                    <a:lstStyle/>
                    <a:p>
                      <a:pPr algn="ctr">
                        <a:defRPr sz="1100">
                          <a:latin typeface="Nexa Book"/>
                        </a:defRPr>
                      </a:pPr>
                      <a:r>
                        <a:rPr b="1">
                          <a:solidFill>
                            <a:srgbClr val="575555"/>
                          </a:solidFill>
                        </a:rPr>
                        <a:t>Extra Brut</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974891537"/>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08FC55-424A-ACCC-676F-44C3CCC9796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415BD49-9CDB-C892-E279-946572C3A129}"/>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BE947E9A-9EDC-50FE-5484-367359C894D7}"/>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6A5025B9-0C85-A050-B069-0AC43B6B8204}"/>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1004F20C-B07D-4614-4481-965EA185837B}"/>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A91D8E7D-FEEC-5BA1-EB74-93E5E7482F85}"/>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3</a:t>
            </a:fld>
            <a:endParaRPr lang="en-US" noProof="0"/>
          </a:p>
        </p:txBody>
      </p:sp>
      <p:sp>
        <p:nvSpPr>
          <p:cNvPr id="37" name="Text Placeholder 36">
            <a:extLst>
              <a:ext uri="{FF2B5EF4-FFF2-40B4-BE49-F238E27FC236}">
                <a16:creationId xmlns:a16="http://schemas.microsoft.com/office/drawing/2014/main" id="{FA0F6888-D5CC-383A-47AD-80C683524A7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2E389274-4FCB-6DE6-41BB-F4D26E075546}"/>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egment | CA C | P12M</a:t>
            </a:r>
          </a:p>
        </p:txBody>
      </p:sp>
      <p:sp>
        <p:nvSpPr>
          <p:cNvPr id="2" name="Title 1">
            <a:extLst>
              <a:ext uri="{FF2B5EF4-FFF2-40B4-BE49-F238E27FC236}">
                <a16:creationId xmlns:a16="http://schemas.microsoft.com/office/drawing/2014/main" id="{0B37106B-65BB-38CE-2DE5-FACF202E6E13}"/>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3AD1043F-CB15-E170-B712-2A89D1DA680D}"/>
              </a:ext>
            </a:extLst>
          </p:cNvPr>
          <p:cNvGraphicFramePr>
            <a:graphicFrameLocks noGrp="1"/>
          </p:cNvGraphicFramePr>
          <p:nvPr>
            <p:ph idx="4294967295"/>
            <p:extLst>
              <p:ext uri="{D42A27DB-BD31-4B8C-83A1-F6EECF244321}">
                <p14:modId xmlns:p14="http://schemas.microsoft.com/office/powerpoint/2010/main" val="1186008080"/>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C7CB25F2-15EE-61CD-96F8-9E24F3CFB425}"/>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C8ACCE2D-6642-ED27-3E63-215D317EDF54}"/>
              </a:ext>
            </a:extLst>
          </p:cNvPr>
          <p:cNvGraphicFramePr>
            <a:graphicFrameLocks/>
          </p:cNvGraphicFramePr>
          <p:nvPr>
            <p:extLst>
              <p:ext uri="{D42A27DB-BD31-4B8C-83A1-F6EECF244321}">
                <p14:modId xmlns:p14="http://schemas.microsoft.com/office/powerpoint/2010/main" val="1871580598"/>
              </p:ext>
            </p:extLst>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8D2AC029-204E-C851-0DBB-376972B8F647}"/>
              </a:ext>
            </a:extLst>
          </p:cNvPr>
          <p:cNvGraphicFramePr>
            <a:graphicFrameLocks/>
          </p:cNvGraphicFramePr>
          <p:nvPr>
            <p:extLst>
              <p:ext uri="{D42A27DB-BD31-4B8C-83A1-F6EECF244321}">
                <p14:modId xmlns:p14="http://schemas.microsoft.com/office/powerpoint/2010/main" val="3198107281"/>
              </p:ext>
            </p:extLst>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C1">
            <a:extLst>
              <a:ext uri="{FF2B5EF4-FFF2-40B4-BE49-F238E27FC236}">
                <a16:creationId xmlns:a16="http://schemas.microsoft.com/office/drawing/2014/main" id="{F3DC8CB2-3F2B-2774-573E-DFF620E84D4C}"/>
              </a:ext>
            </a:extLst>
          </p:cNvPr>
          <p:cNvGraphicFramePr>
            <a:graphicFrameLocks/>
          </p:cNvGraphicFramePr>
          <p:nvPr>
            <p:extLst>
              <p:ext uri="{D42A27DB-BD31-4B8C-83A1-F6EECF244321}">
                <p14:modId xmlns:p14="http://schemas.microsoft.com/office/powerpoint/2010/main" val="2493088272"/>
              </p:ext>
            </p:extLst>
          </p:nvPr>
        </p:nvGraphicFramePr>
        <p:xfrm>
          <a:off x="6566444" y="1354754"/>
          <a:ext cx="2268000" cy="3374309"/>
        </p:xfrm>
        <a:graphic>
          <a:graphicData uri="http://schemas.openxmlformats.org/drawingml/2006/chart">
            <c:chart xmlns:c="http://schemas.openxmlformats.org/drawingml/2006/chart" xmlns:r="http://schemas.openxmlformats.org/officeDocument/2006/relationships" r:id="rId8"/>
          </a:graphicData>
        </a:graphic>
      </p:graphicFrame>
      <p:sp>
        <p:nvSpPr>
          <p:cNvPr id="16" name="TextBox 15">
            <a:extLst>
              <a:ext uri="{FF2B5EF4-FFF2-40B4-BE49-F238E27FC236}">
                <a16:creationId xmlns:a16="http://schemas.microsoft.com/office/drawing/2014/main" id="{8C8CB6BD-A844-74EC-CFEC-C58CFCC7C5EC}"/>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B18FE6A9-85ED-634C-B0DB-D9A4E7A1AD69}"/>
              </a:ext>
            </a:extLst>
          </p:cNvPr>
          <p:cNvGraphicFramePr>
            <a:graphicFrameLocks noGrp="1"/>
          </p:cNvGraphicFramePr>
          <p:nvPr/>
        </p:nvGraphicFramePr>
        <p:xfrm>
          <a:off x="720534" y="1121410"/>
          <a:ext cx="8113912"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gridCol w="2028478">
                  <a:extLst>
                    <a:ext uri="{9D8B030D-6E8A-4147-A177-3AD203B41FA5}">
                      <a16:colId xmlns:a16="http://schemas.microsoft.com/office/drawing/2014/main" val="3571608413"/>
                    </a:ext>
                  </a:extLst>
                </a:gridCol>
              </a:tblGrid>
              <a:tr h="235994">
                <a:tc>
                  <a:txBody>
                    <a:bodyPr/>
                    <a:lstStyle/>
                    <a:p>
                      <a:pPr algn="ctr">
                        <a:defRPr sz="1100">
                          <a:latin typeface="Nexa Book"/>
                        </a:defRPr>
                      </a:pPr>
                      <a:r>
                        <a:rPr b="1">
                          <a:solidFill>
                            <a:srgbClr val="575555"/>
                          </a:solidFill>
                        </a:rPr>
                        <a:t>Millesimes</a:t>
                      </a:r>
                    </a:p>
                  </a:txBody>
                  <a:tcPr anchor="ctr">
                    <a:solidFill>
                      <a:schemeClr val="bg2"/>
                    </a:solidFill>
                  </a:tcPr>
                </a:tc>
                <a:tc>
                  <a:txBody>
                    <a:bodyPr/>
                    <a:lstStyle/>
                    <a:p>
                      <a:pPr algn="ctr">
                        <a:defRPr sz="1100">
                          <a:latin typeface="Nexa Book"/>
                        </a:defRPr>
                      </a:pPr>
                      <a:r>
                        <a:rPr b="1">
                          <a:solidFill>
                            <a:srgbClr val="575555"/>
                          </a:solidFill>
                        </a:rPr>
                        <a:t>Rosés</a:t>
                      </a:r>
                    </a:p>
                  </a:txBody>
                  <a:tcPr anchor="ctr">
                    <a:solidFill>
                      <a:schemeClr val="bg2"/>
                    </a:solidFill>
                  </a:tcPr>
                </a:tc>
                <a:tc>
                  <a:txBody>
                    <a:bodyPr/>
                    <a:lstStyle/>
                    <a:p>
                      <a:pPr algn="ctr">
                        <a:defRPr sz="1100">
                          <a:latin typeface="Nexa Book"/>
                        </a:defRPr>
                      </a:pPr>
                      <a:r>
                        <a:rPr b="1">
                          <a:solidFill>
                            <a:srgbClr val="575555"/>
                          </a:solidFill>
                        </a:rPr>
                        <a:t>Mousseux Bourgogne</a:t>
                      </a:r>
                    </a:p>
                  </a:txBody>
                  <a:tcPr anchor="ctr">
                    <a:solidFill>
                      <a:schemeClr val="bg2"/>
                    </a:solidFill>
                  </a:tcPr>
                </a:tc>
                <a:tc>
                  <a:txBody>
                    <a:bodyPr/>
                    <a:lstStyle/>
                    <a:p>
                      <a:pPr algn="ctr">
                        <a:defRPr sz="1100">
                          <a:latin typeface="Nexa Book"/>
                        </a:defRPr>
                      </a:pPr>
                      <a:r>
                        <a:rPr b="1">
                          <a:solidFill>
                            <a:srgbClr val="575555"/>
                          </a:solidFill>
                        </a:rPr>
                        <a:t>Mousseux Italiens</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3818903288"/>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65918C-CF2D-B9BE-373E-8055AB4F589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BE947E9A-9EDC-50FE-5484-367359C894D7}"/>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DC475BB2-0528-29FB-C158-9EF2E6156FB0}"/>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C87CB3FA-1793-85BB-0720-68CB9A322CAF}"/>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300044B2-FAA5-2879-ADFC-6874BBAF83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DA8BB0C0-E087-2E71-1F6D-E725250BE3D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4</a:t>
            </a:fld>
            <a:endParaRPr lang="en-US" noProof="0"/>
          </a:p>
        </p:txBody>
      </p:sp>
      <p:sp>
        <p:nvSpPr>
          <p:cNvPr id="37" name="Text Placeholder 36">
            <a:extLst>
              <a:ext uri="{FF2B5EF4-FFF2-40B4-BE49-F238E27FC236}">
                <a16:creationId xmlns:a16="http://schemas.microsoft.com/office/drawing/2014/main" id="{4918FA18-B639-A629-2E9B-674B54B4AACA}"/>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37405B8B-A5F3-F9D8-A571-2F38544BBDBA}"/>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egment | CA C | P12M</a:t>
            </a:r>
          </a:p>
        </p:txBody>
      </p:sp>
      <p:sp>
        <p:nvSpPr>
          <p:cNvPr id="2" name="Title 1">
            <a:extLst>
              <a:ext uri="{FF2B5EF4-FFF2-40B4-BE49-F238E27FC236}">
                <a16:creationId xmlns:a16="http://schemas.microsoft.com/office/drawing/2014/main" id="{12784FBB-01F7-DE64-BC02-E8B59B51E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8694A9E2-2E6E-DE42-FC36-3888D1308CB4}"/>
              </a:ext>
            </a:extLst>
          </p:cNvPr>
          <p:cNvGraphicFramePr>
            <a:graphicFrameLocks noGrp="1"/>
          </p:cNvGraphicFramePr>
          <p:nvPr>
            <p:ph idx="4294967295"/>
            <p:extLst>
              <p:ext uri="{D42A27DB-BD31-4B8C-83A1-F6EECF244321}">
                <p14:modId xmlns:p14="http://schemas.microsoft.com/office/powerpoint/2010/main" val="3697930344"/>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F456CAE2-40D9-C89C-01D4-02D92ECC325F}"/>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9C31F180-BE4C-077E-6172-FE9EFF5651B0}"/>
              </a:ext>
            </a:extLst>
          </p:cNvPr>
          <p:cNvGraphicFramePr>
            <a:graphicFrameLocks/>
          </p:cNvGraphicFramePr>
          <p:nvPr>
            <p:extLst>
              <p:ext uri="{D42A27DB-BD31-4B8C-83A1-F6EECF244321}">
                <p14:modId xmlns:p14="http://schemas.microsoft.com/office/powerpoint/2010/main" val="635430197"/>
              </p:ext>
            </p:extLst>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01B1A8DD-FED6-2C47-296D-0983D1E720B2}"/>
              </a:ext>
            </a:extLst>
          </p:cNvPr>
          <p:cNvGraphicFramePr>
            <a:graphicFrameLocks/>
          </p:cNvGraphicFramePr>
          <p:nvPr>
            <p:extLst>
              <p:ext uri="{D42A27DB-BD31-4B8C-83A1-F6EECF244321}">
                <p14:modId xmlns:p14="http://schemas.microsoft.com/office/powerpoint/2010/main" val="2030332716"/>
              </p:ext>
            </p:extLst>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sp>
        <p:nvSpPr>
          <p:cNvPr id="16" name="TextBox 15">
            <a:extLst>
              <a:ext uri="{FF2B5EF4-FFF2-40B4-BE49-F238E27FC236}">
                <a16:creationId xmlns:a16="http://schemas.microsoft.com/office/drawing/2014/main" id="{2B180312-FE46-D4C9-3734-1E3750820943}"/>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4DB211A7-591C-E03E-65DC-47EB4C0D8D03}"/>
              </a:ext>
            </a:extLst>
          </p:cNvPr>
          <p:cNvGraphicFramePr>
            <a:graphicFrameLocks noGrp="1"/>
          </p:cNvGraphicFramePr>
          <p:nvPr>
            <p:extLst>
              <p:ext uri="{D42A27DB-BD31-4B8C-83A1-F6EECF244321}">
                <p14:modId xmlns:p14="http://schemas.microsoft.com/office/powerpoint/2010/main" val="2790109015"/>
              </p:ext>
            </p:extLst>
          </p:nvPr>
        </p:nvGraphicFramePr>
        <p:xfrm>
          <a:off x="720534" y="1121410"/>
          <a:ext cx="6085434"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tblGrid>
              <a:tr h="235994">
                <a:tc>
                  <a:txBody>
                    <a:bodyPr/>
                    <a:lstStyle/>
                    <a:p>
                      <a:pPr algn="ctr">
                        <a:defRPr sz="1100">
                          <a:latin typeface="Nexa Book"/>
                        </a:defRPr>
                      </a:pPr>
                      <a:r>
                        <a:rPr b="1">
                          <a:solidFill>
                            <a:srgbClr val="575555"/>
                          </a:solidFill>
                        </a:rPr>
                        <a:t>Mousseux Val De Loire</a:t>
                      </a:r>
                    </a:p>
                  </a:txBody>
                  <a:tcPr anchor="ctr">
                    <a:solidFill>
                      <a:schemeClr val="bg2"/>
                    </a:solidFill>
                  </a:tcPr>
                </a:tc>
                <a:tc>
                  <a:txBody>
                    <a:bodyPr/>
                    <a:lstStyle/>
                    <a:p>
                      <a:pPr algn="ctr">
                        <a:defRPr sz="1100">
                          <a:latin typeface="Nexa Book"/>
                        </a:defRPr>
                      </a:pPr>
                      <a:r>
                        <a:rPr b="1">
                          <a:solidFill>
                            <a:srgbClr val="575555"/>
                          </a:solidFill>
                        </a:rPr>
                        <a:t>Mousseux Alsace</a:t>
                      </a:r>
                    </a:p>
                  </a:txBody>
                  <a:tcPr anchor="ctr">
                    <a:solidFill>
                      <a:schemeClr val="bg2"/>
                    </a:solidFill>
                  </a:tcPr>
                </a:tc>
                <a:tc>
                  <a:txBody>
                    <a:bodyPr/>
                    <a:lstStyle/>
                    <a:p>
                      <a:pPr algn="ctr">
                        <a:defRPr sz="1100">
                          <a:latin typeface="Nexa Book"/>
                        </a:defRPr>
                      </a:pPr>
                      <a:r>
                        <a:rPr b="1">
                          <a:solidFill>
                            <a:srgbClr val="575555"/>
                          </a:solidFill>
                        </a:rPr>
                        <a:t>Mousseux Bordelais</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2238273900"/>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08FC55-424A-ACCC-676F-44C3CCC9796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415BD49-9CDB-C892-E279-946572C3A129}"/>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BE947E9A-9EDC-50FE-5484-367359C894D7}"/>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6A5025B9-0C85-A050-B069-0AC43B6B8204}"/>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1004F20C-B07D-4614-4481-965EA185837B}"/>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A91D8E7D-FEEC-5BA1-EB74-93E5E7482F85}"/>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5</a:t>
            </a:fld>
            <a:endParaRPr lang="en-US" noProof="0"/>
          </a:p>
        </p:txBody>
      </p:sp>
      <p:sp>
        <p:nvSpPr>
          <p:cNvPr id="37" name="Text Placeholder 36">
            <a:extLst>
              <a:ext uri="{FF2B5EF4-FFF2-40B4-BE49-F238E27FC236}">
                <a16:creationId xmlns:a16="http://schemas.microsoft.com/office/drawing/2014/main" id="{FA0F6888-D5CC-383A-47AD-80C683524A7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2E389274-4FCB-6DE6-41BB-F4D26E075546}"/>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egment | CA D | P12M</a:t>
            </a:r>
          </a:p>
        </p:txBody>
      </p:sp>
      <p:sp>
        <p:nvSpPr>
          <p:cNvPr id="2" name="Title 1">
            <a:extLst>
              <a:ext uri="{FF2B5EF4-FFF2-40B4-BE49-F238E27FC236}">
                <a16:creationId xmlns:a16="http://schemas.microsoft.com/office/drawing/2014/main" id="{0B37106B-65BB-38CE-2DE5-FACF202E6E13}"/>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3AD1043F-CB15-E170-B712-2A89D1DA680D}"/>
              </a:ext>
            </a:extLst>
          </p:cNvPr>
          <p:cNvGraphicFramePr>
            <a:graphicFrameLocks noGrp="1"/>
          </p:cNvGraphicFramePr>
          <p:nvPr>
            <p:ph idx="4294967295"/>
            <p:extLst>
              <p:ext uri="{D42A27DB-BD31-4B8C-83A1-F6EECF244321}">
                <p14:modId xmlns:p14="http://schemas.microsoft.com/office/powerpoint/2010/main" val="3921830801"/>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C7CB25F2-15EE-61CD-96F8-9E24F3CFB425}"/>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C8ACCE2D-6642-ED27-3E63-215D317EDF54}"/>
              </a:ext>
            </a:extLst>
          </p:cNvPr>
          <p:cNvGraphicFramePr>
            <a:graphicFrameLocks/>
          </p:cNvGraphicFramePr>
          <p:nvPr>
            <p:extLst>
              <p:ext uri="{D42A27DB-BD31-4B8C-83A1-F6EECF244321}">
                <p14:modId xmlns:p14="http://schemas.microsoft.com/office/powerpoint/2010/main" val="3659014042"/>
              </p:ext>
            </p:extLst>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8D2AC029-204E-C851-0DBB-376972B8F647}"/>
              </a:ext>
            </a:extLst>
          </p:cNvPr>
          <p:cNvGraphicFramePr>
            <a:graphicFrameLocks/>
          </p:cNvGraphicFramePr>
          <p:nvPr>
            <p:extLst>
              <p:ext uri="{D42A27DB-BD31-4B8C-83A1-F6EECF244321}">
                <p14:modId xmlns:p14="http://schemas.microsoft.com/office/powerpoint/2010/main" val="419038012"/>
              </p:ext>
            </p:extLst>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C1">
            <a:extLst>
              <a:ext uri="{FF2B5EF4-FFF2-40B4-BE49-F238E27FC236}">
                <a16:creationId xmlns:a16="http://schemas.microsoft.com/office/drawing/2014/main" id="{F3DC8CB2-3F2B-2774-573E-DFF620E84D4C}"/>
              </a:ext>
            </a:extLst>
          </p:cNvPr>
          <p:cNvGraphicFramePr>
            <a:graphicFrameLocks/>
          </p:cNvGraphicFramePr>
          <p:nvPr>
            <p:extLst>
              <p:ext uri="{D42A27DB-BD31-4B8C-83A1-F6EECF244321}">
                <p14:modId xmlns:p14="http://schemas.microsoft.com/office/powerpoint/2010/main" val="3625247121"/>
              </p:ext>
            </p:extLst>
          </p:nvPr>
        </p:nvGraphicFramePr>
        <p:xfrm>
          <a:off x="6566444" y="1354754"/>
          <a:ext cx="2268000" cy="3374309"/>
        </p:xfrm>
        <a:graphic>
          <a:graphicData uri="http://schemas.openxmlformats.org/drawingml/2006/chart">
            <c:chart xmlns:c="http://schemas.openxmlformats.org/drawingml/2006/chart" xmlns:r="http://schemas.openxmlformats.org/officeDocument/2006/relationships" r:id="rId8"/>
          </a:graphicData>
        </a:graphic>
      </p:graphicFrame>
      <p:sp>
        <p:nvSpPr>
          <p:cNvPr id="16" name="TextBox 15">
            <a:extLst>
              <a:ext uri="{FF2B5EF4-FFF2-40B4-BE49-F238E27FC236}">
                <a16:creationId xmlns:a16="http://schemas.microsoft.com/office/drawing/2014/main" id="{8C8CB6BD-A844-74EC-CFEC-C58CFCC7C5EC}"/>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B18FE6A9-85ED-634C-B0DB-D9A4E7A1AD69}"/>
              </a:ext>
            </a:extLst>
          </p:cNvPr>
          <p:cNvGraphicFramePr>
            <a:graphicFrameLocks noGrp="1"/>
          </p:cNvGraphicFramePr>
          <p:nvPr/>
        </p:nvGraphicFramePr>
        <p:xfrm>
          <a:off x="720534" y="1121410"/>
          <a:ext cx="8113912"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gridCol w="2028478">
                  <a:extLst>
                    <a:ext uri="{9D8B030D-6E8A-4147-A177-3AD203B41FA5}">
                      <a16:colId xmlns:a16="http://schemas.microsoft.com/office/drawing/2014/main" val="3571608413"/>
                    </a:ext>
                  </a:extLst>
                </a:gridCol>
              </a:tblGrid>
              <a:tr h="235994">
                <a:tc>
                  <a:txBody>
                    <a:bodyPr/>
                    <a:lstStyle/>
                    <a:p>
                      <a:pPr algn="ctr">
                        <a:defRPr sz="1100">
                          <a:latin typeface="Nexa Book"/>
                        </a:defRPr>
                      </a:pPr>
                      <a:r>
                        <a:rPr b="1">
                          <a:solidFill>
                            <a:srgbClr val="575555"/>
                          </a:solidFill>
                        </a:rPr>
                        <a:t>Blanc De Blancs</a:t>
                      </a:r>
                    </a:p>
                  </a:txBody>
                  <a:tcPr anchor="ctr">
                    <a:solidFill>
                      <a:schemeClr val="bg2"/>
                    </a:solidFill>
                  </a:tcPr>
                </a:tc>
                <a:tc>
                  <a:txBody>
                    <a:bodyPr/>
                    <a:lstStyle/>
                    <a:p>
                      <a:pPr algn="ctr">
                        <a:defRPr sz="1100">
                          <a:latin typeface="Nexa Book"/>
                        </a:defRPr>
                      </a:pPr>
                      <a:r>
                        <a:rPr b="1">
                          <a:solidFill>
                            <a:srgbClr val="575555"/>
                          </a:solidFill>
                        </a:rPr>
                        <a:t>Bruts</a:t>
                      </a:r>
                    </a:p>
                  </a:txBody>
                  <a:tcPr anchor="ctr">
                    <a:solidFill>
                      <a:schemeClr val="bg2"/>
                    </a:solidFill>
                  </a:tcPr>
                </a:tc>
                <a:tc>
                  <a:txBody>
                    <a:bodyPr/>
                    <a:lstStyle/>
                    <a:p>
                      <a:pPr algn="ctr">
                        <a:defRPr sz="1100">
                          <a:latin typeface="Nexa Book"/>
                        </a:defRPr>
                      </a:pPr>
                      <a:r>
                        <a:rPr b="1">
                          <a:solidFill>
                            <a:srgbClr val="575555"/>
                          </a:solidFill>
                        </a:rPr>
                        <a:t>Crus</a:t>
                      </a:r>
                    </a:p>
                  </a:txBody>
                  <a:tcPr anchor="ctr">
                    <a:solidFill>
                      <a:schemeClr val="bg2"/>
                    </a:solidFill>
                  </a:tcPr>
                </a:tc>
                <a:tc>
                  <a:txBody>
                    <a:bodyPr/>
                    <a:lstStyle/>
                    <a:p>
                      <a:pPr algn="ctr">
                        <a:defRPr sz="1100">
                          <a:latin typeface="Nexa Book"/>
                        </a:defRPr>
                      </a:pPr>
                      <a:r>
                        <a:rPr b="1">
                          <a:solidFill>
                            <a:srgbClr val="575555"/>
                          </a:solidFill>
                        </a:rPr>
                        <a:t>Extra Brut</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2257165308"/>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08FC55-424A-ACCC-676F-44C3CCC9796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415BD49-9CDB-C892-E279-946572C3A129}"/>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BE947E9A-9EDC-50FE-5484-367359C894D7}"/>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6A5025B9-0C85-A050-B069-0AC43B6B8204}"/>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1004F20C-B07D-4614-4481-965EA185837B}"/>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A91D8E7D-FEEC-5BA1-EB74-93E5E7482F85}"/>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6</a:t>
            </a:fld>
            <a:endParaRPr lang="en-US" noProof="0"/>
          </a:p>
        </p:txBody>
      </p:sp>
      <p:sp>
        <p:nvSpPr>
          <p:cNvPr id="37" name="Text Placeholder 36">
            <a:extLst>
              <a:ext uri="{FF2B5EF4-FFF2-40B4-BE49-F238E27FC236}">
                <a16:creationId xmlns:a16="http://schemas.microsoft.com/office/drawing/2014/main" id="{FA0F6888-D5CC-383A-47AD-80C683524A7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2E389274-4FCB-6DE6-41BB-F4D26E075546}"/>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egment | CA D | P12M</a:t>
            </a:r>
          </a:p>
        </p:txBody>
      </p:sp>
      <p:sp>
        <p:nvSpPr>
          <p:cNvPr id="2" name="Title 1">
            <a:extLst>
              <a:ext uri="{FF2B5EF4-FFF2-40B4-BE49-F238E27FC236}">
                <a16:creationId xmlns:a16="http://schemas.microsoft.com/office/drawing/2014/main" id="{0B37106B-65BB-38CE-2DE5-FACF202E6E13}"/>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3AD1043F-CB15-E170-B712-2A89D1DA680D}"/>
              </a:ext>
            </a:extLst>
          </p:cNvPr>
          <p:cNvGraphicFramePr>
            <a:graphicFrameLocks noGrp="1"/>
          </p:cNvGraphicFramePr>
          <p:nvPr>
            <p:ph idx="4294967295"/>
            <p:extLst>
              <p:ext uri="{D42A27DB-BD31-4B8C-83A1-F6EECF244321}">
                <p14:modId xmlns:p14="http://schemas.microsoft.com/office/powerpoint/2010/main" val="3941010291"/>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C7CB25F2-15EE-61CD-96F8-9E24F3CFB425}"/>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C8ACCE2D-6642-ED27-3E63-215D317EDF54}"/>
              </a:ext>
            </a:extLst>
          </p:cNvPr>
          <p:cNvGraphicFramePr>
            <a:graphicFrameLocks/>
          </p:cNvGraphicFramePr>
          <p:nvPr>
            <p:extLst>
              <p:ext uri="{D42A27DB-BD31-4B8C-83A1-F6EECF244321}">
                <p14:modId xmlns:p14="http://schemas.microsoft.com/office/powerpoint/2010/main" val="3983120182"/>
              </p:ext>
            </p:extLst>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8D2AC029-204E-C851-0DBB-376972B8F647}"/>
              </a:ext>
            </a:extLst>
          </p:cNvPr>
          <p:cNvGraphicFramePr>
            <a:graphicFrameLocks/>
          </p:cNvGraphicFramePr>
          <p:nvPr>
            <p:extLst>
              <p:ext uri="{D42A27DB-BD31-4B8C-83A1-F6EECF244321}">
                <p14:modId xmlns:p14="http://schemas.microsoft.com/office/powerpoint/2010/main" val="1564741692"/>
              </p:ext>
            </p:extLst>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C1">
            <a:extLst>
              <a:ext uri="{FF2B5EF4-FFF2-40B4-BE49-F238E27FC236}">
                <a16:creationId xmlns:a16="http://schemas.microsoft.com/office/drawing/2014/main" id="{F3DC8CB2-3F2B-2774-573E-DFF620E84D4C}"/>
              </a:ext>
            </a:extLst>
          </p:cNvPr>
          <p:cNvGraphicFramePr>
            <a:graphicFrameLocks/>
          </p:cNvGraphicFramePr>
          <p:nvPr>
            <p:extLst>
              <p:ext uri="{D42A27DB-BD31-4B8C-83A1-F6EECF244321}">
                <p14:modId xmlns:p14="http://schemas.microsoft.com/office/powerpoint/2010/main" val="3316854049"/>
              </p:ext>
            </p:extLst>
          </p:nvPr>
        </p:nvGraphicFramePr>
        <p:xfrm>
          <a:off x="6566444" y="1354754"/>
          <a:ext cx="2268000" cy="3374309"/>
        </p:xfrm>
        <a:graphic>
          <a:graphicData uri="http://schemas.openxmlformats.org/drawingml/2006/chart">
            <c:chart xmlns:c="http://schemas.openxmlformats.org/drawingml/2006/chart" xmlns:r="http://schemas.openxmlformats.org/officeDocument/2006/relationships" r:id="rId8"/>
          </a:graphicData>
        </a:graphic>
      </p:graphicFrame>
      <p:sp>
        <p:nvSpPr>
          <p:cNvPr id="16" name="TextBox 15">
            <a:extLst>
              <a:ext uri="{FF2B5EF4-FFF2-40B4-BE49-F238E27FC236}">
                <a16:creationId xmlns:a16="http://schemas.microsoft.com/office/drawing/2014/main" id="{8C8CB6BD-A844-74EC-CFEC-C58CFCC7C5EC}"/>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B18FE6A9-85ED-634C-B0DB-D9A4E7A1AD69}"/>
              </a:ext>
            </a:extLst>
          </p:cNvPr>
          <p:cNvGraphicFramePr>
            <a:graphicFrameLocks noGrp="1"/>
          </p:cNvGraphicFramePr>
          <p:nvPr/>
        </p:nvGraphicFramePr>
        <p:xfrm>
          <a:off x="720534" y="1121410"/>
          <a:ext cx="8113912"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gridCol w="2028478">
                  <a:extLst>
                    <a:ext uri="{9D8B030D-6E8A-4147-A177-3AD203B41FA5}">
                      <a16:colId xmlns:a16="http://schemas.microsoft.com/office/drawing/2014/main" val="3571608413"/>
                    </a:ext>
                  </a:extLst>
                </a:gridCol>
              </a:tblGrid>
              <a:tr h="235994">
                <a:tc>
                  <a:txBody>
                    <a:bodyPr/>
                    <a:lstStyle/>
                    <a:p>
                      <a:pPr algn="ctr">
                        <a:defRPr sz="1100">
                          <a:latin typeface="Nexa Book"/>
                        </a:defRPr>
                      </a:pPr>
                      <a:r>
                        <a:rPr b="1">
                          <a:solidFill>
                            <a:srgbClr val="575555"/>
                          </a:solidFill>
                        </a:rPr>
                        <a:t>Millesimes</a:t>
                      </a:r>
                    </a:p>
                  </a:txBody>
                  <a:tcPr anchor="ctr">
                    <a:solidFill>
                      <a:schemeClr val="bg2"/>
                    </a:solidFill>
                  </a:tcPr>
                </a:tc>
                <a:tc>
                  <a:txBody>
                    <a:bodyPr/>
                    <a:lstStyle/>
                    <a:p>
                      <a:pPr algn="ctr">
                        <a:defRPr sz="1100">
                          <a:latin typeface="Nexa Book"/>
                        </a:defRPr>
                      </a:pPr>
                      <a:r>
                        <a:rPr b="1">
                          <a:solidFill>
                            <a:srgbClr val="575555"/>
                          </a:solidFill>
                        </a:rPr>
                        <a:t>Rosés</a:t>
                      </a:r>
                    </a:p>
                  </a:txBody>
                  <a:tcPr anchor="ctr">
                    <a:solidFill>
                      <a:schemeClr val="bg2"/>
                    </a:solidFill>
                  </a:tcPr>
                </a:tc>
                <a:tc>
                  <a:txBody>
                    <a:bodyPr/>
                    <a:lstStyle/>
                    <a:p>
                      <a:pPr algn="ctr">
                        <a:defRPr sz="1100">
                          <a:latin typeface="Nexa Book"/>
                        </a:defRPr>
                      </a:pPr>
                      <a:r>
                        <a:rPr b="1">
                          <a:solidFill>
                            <a:srgbClr val="575555"/>
                          </a:solidFill>
                        </a:rPr>
                        <a:t>Mousseux Bourgogne</a:t>
                      </a:r>
                    </a:p>
                  </a:txBody>
                  <a:tcPr anchor="ctr">
                    <a:solidFill>
                      <a:schemeClr val="bg2"/>
                    </a:solidFill>
                  </a:tcPr>
                </a:tc>
                <a:tc>
                  <a:txBody>
                    <a:bodyPr/>
                    <a:lstStyle/>
                    <a:p>
                      <a:pPr algn="ctr">
                        <a:defRPr sz="1100">
                          <a:latin typeface="Nexa Book"/>
                        </a:defRPr>
                      </a:pPr>
                      <a:r>
                        <a:rPr b="1">
                          <a:solidFill>
                            <a:srgbClr val="575555"/>
                          </a:solidFill>
                        </a:rPr>
                        <a:t>Mousseux Italiens</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1348850780"/>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65918C-CF2D-B9BE-373E-8055AB4F589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BE947E9A-9EDC-50FE-5484-367359C894D7}"/>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DC475BB2-0528-29FB-C158-9EF2E6156FB0}"/>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C87CB3FA-1793-85BB-0720-68CB9A322CAF}"/>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300044B2-FAA5-2879-ADFC-6874BBAF83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DA8BB0C0-E087-2E71-1F6D-E725250BE3D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7</a:t>
            </a:fld>
            <a:endParaRPr lang="en-US" noProof="0"/>
          </a:p>
        </p:txBody>
      </p:sp>
      <p:sp>
        <p:nvSpPr>
          <p:cNvPr id="37" name="Text Placeholder 36">
            <a:extLst>
              <a:ext uri="{FF2B5EF4-FFF2-40B4-BE49-F238E27FC236}">
                <a16:creationId xmlns:a16="http://schemas.microsoft.com/office/drawing/2014/main" id="{4918FA18-B639-A629-2E9B-674B54B4AACA}"/>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37405B8B-A5F3-F9D8-A571-2F38544BBDBA}"/>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egment | CA D | P12M</a:t>
            </a:r>
          </a:p>
        </p:txBody>
      </p:sp>
      <p:sp>
        <p:nvSpPr>
          <p:cNvPr id="2" name="Title 1">
            <a:extLst>
              <a:ext uri="{FF2B5EF4-FFF2-40B4-BE49-F238E27FC236}">
                <a16:creationId xmlns:a16="http://schemas.microsoft.com/office/drawing/2014/main" id="{12784FBB-01F7-DE64-BC02-E8B59B51E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8694A9E2-2E6E-DE42-FC36-3888D1308CB4}"/>
              </a:ext>
            </a:extLst>
          </p:cNvPr>
          <p:cNvGraphicFramePr>
            <a:graphicFrameLocks noGrp="1"/>
          </p:cNvGraphicFramePr>
          <p:nvPr>
            <p:ph idx="4294967295"/>
            <p:extLst>
              <p:ext uri="{D42A27DB-BD31-4B8C-83A1-F6EECF244321}">
                <p14:modId xmlns:p14="http://schemas.microsoft.com/office/powerpoint/2010/main" val="1071053620"/>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F456CAE2-40D9-C89C-01D4-02D92ECC325F}"/>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9C31F180-BE4C-077E-6172-FE9EFF5651B0}"/>
              </a:ext>
            </a:extLst>
          </p:cNvPr>
          <p:cNvGraphicFramePr>
            <a:graphicFrameLocks/>
          </p:cNvGraphicFramePr>
          <p:nvPr>
            <p:extLst>
              <p:ext uri="{D42A27DB-BD31-4B8C-83A1-F6EECF244321}">
                <p14:modId xmlns:p14="http://schemas.microsoft.com/office/powerpoint/2010/main" val="2696492783"/>
              </p:ext>
            </p:extLst>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01B1A8DD-FED6-2C47-296D-0983D1E720B2}"/>
              </a:ext>
            </a:extLst>
          </p:cNvPr>
          <p:cNvGraphicFramePr>
            <a:graphicFrameLocks/>
          </p:cNvGraphicFramePr>
          <p:nvPr>
            <p:extLst>
              <p:ext uri="{D42A27DB-BD31-4B8C-83A1-F6EECF244321}">
                <p14:modId xmlns:p14="http://schemas.microsoft.com/office/powerpoint/2010/main" val="437202436"/>
              </p:ext>
            </p:extLst>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sp>
        <p:nvSpPr>
          <p:cNvPr id="16" name="TextBox 15">
            <a:extLst>
              <a:ext uri="{FF2B5EF4-FFF2-40B4-BE49-F238E27FC236}">
                <a16:creationId xmlns:a16="http://schemas.microsoft.com/office/drawing/2014/main" id="{2B180312-FE46-D4C9-3734-1E3750820943}"/>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4DB211A7-591C-E03E-65DC-47EB4C0D8D03}"/>
              </a:ext>
            </a:extLst>
          </p:cNvPr>
          <p:cNvGraphicFramePr>
            <a:graphicFrameLocks noGrp="1"/>
          </p:cNvGraphicFramePr>
          <p:nvPr>
            <p:extLst>
              <p:ext uri="{D42A27DB-BD31-4B8C-83A1-F6EECF244321}">
                <p14:modId xmlns:p14="http://schemas.microsoft.com/office/powerpoint/2010/main" val="2790109015"/>
              </p:ext>
            </p:extLst>
          </p:nvPr>
        </p:nvGraphicFramePr>
        <p:xfrm>
          <a:off x="720534" y="1121410"/>
          <a:ext cx="6085434"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tblGrid>
              <a:tr h="235994">
                <a:tc>
                  <a:txBody>
                    <a:bodyPr/>
                    <a:lstStyle/>
                    <a:p>
                      <a:pPr algn="ctr">
                        <a:defRPr sz="1100">
                          <a:latin typeface="Nexa Book"/>
                        </a:defRPr>
                      </a:pPr>
                      <a:r>
                        <a:rPr b="1">
                          <a:solidFill>
                            <a:srgbClr val="575555"/>
                          </a:solidFill>
                        </a:rPr>
                        <a:t>Mousseux Val De Loire</a:t>
                      </a:r>
                    </a:p>
                  </a:txBody>
                  <a:tcPr anchor="ctr">
                    <a:solidFill>
                      <a:schemeClr val="bg2"/>
                    </a:solidFill>
                  </a:tcPr>
                </a:tc>
                <a:tc>
                  <a:txBody>
                    <a:bodyPr/>
                    <a:lstStyle/>
                    <a:p>
                      <a:pPr algn="ctr">
                        <a:defRPr sz="1100">
                          <a:latin typeface="Nexa Book"/>
                        </a:defRPr>
                      </a:pPr>
                      <a:r>
                        <a:rPr b="1">
                          <a:solidFill>
                            <a:srgbClr val="575555"/>
                          </a:solidFill>
                        </a:rPr>
                        <a:t>Mousseux Alsace</a:t>
                      </a:r>
                    </a:p>
                  </a:txBody>
                  <a:tcPr anchor="ctr">
                    <a:solidFill>
                      <a:schemeClr val="bg2"/>
                    </a:solidFill>
                  </a:tcPr>
                </a:tc>
                <a:tc>
                  <a:txBody>
                    <a:bodyPr/>
                    <a:lstStyle/>
                    <a:p>
                      <a:pPr algn="ctr">
                        <a:defRPr sz="1100">
                          <a:latin typeface="Nexa Book"/>
                        </a:defRPr>
                      </a:pPr>
                      <a:r>
                        <a:rPr b="1">
                          <a:solidFill>
                            <a:srgbClr val="575555"/>
                          </a:solidFill>
                        </a:rPr>
                        <a:t>Mousseux Bordelais</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3059082016"/>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08FC55-424A-ACCC-676F-44C3CCC9796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415BD49-9CDB-C892-E279-946572C3A129}"/>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BE947E9A-9EDC-50FE-5484-367359C894D7}"/>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6A5025B9-0C85-A050-B069-0AC43B6B8204}"/>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1004F20C-B07D-4614-4481-965EA185837B}"/>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A91D8E7D-FEEC-5BA1-EB74-93E5E7482F85}"/>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8</a:t>
            </a:fld>
            <a:endParaRPr lang="en-US" noProof="0"/>
          </a:p>
        </p:txBody>
      </p:sp>
      <p:sp>
        <p:nvSpPr>
          <p:cNvPr id="37" name="Text Placeholder 36">
            <a:extLst>
              <a:ext uri="{FF2B5EF4-FFF2-40B4-BE49-F238E27FC236}">
                <a16:creationId xmlns:a16="http://schemas.microsoft.com/office/drawing/2014/main" id="{FA0F6888-D5CC-383A-47AD-80C683524A7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2E389274-4FCB-6DE6-41BB-F4D26E075546}"/>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egment | CA E | P12M</a:t>
            </a:r>
          </a:p>
        </p:txBody>
      </p:sp>
      <p:sp>
        <p:nvSpPr>
          <p:cNvPr id="2" name="Title 1">
            <a:extLst>
              <a:ext uri="{FF2B5EF4-FFF2-40B4-BE49-F238E27FC236}">
                <a16:creationId xmlns:a16="http://schemas.microsoft.com/office/drawing/2014/main" id="{0B37106B-65BB-38CE-2DE5-FACF202E6E13}"/>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3AD1043F-CB15-E170-B712-2A89D1DA680D}"/>
              </a:ext>
            </a:extLst>
          </p:cNvPr>
          <p:cNvGraphicFramePr>
            <a:graphicFrameLocks noGrp="1"/>
          </p:cNvGraphicFramePr>
          <p:nvPr>
            <p:ph idx="4294967295"/>
            <p:extLst>
              <p:ext uri="{D42A27DB-BD31-4B8C-83A1-F6EECF244321}">
                <p14:modId xmlns:p14="http://schemas.microsoft.com/office/powerpoint/2010/main" val="4096763160"/>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C7CB25F2-15EE-61CD-96F8-9E24F3CFB425}"/>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C8ACCE2D-6642-ED27-3E63-215D317EDF54}"/>
              </a:ext>
            </a:extLst>
          </p:cNvPr>
          <p:cNvGraphicFramePr>
            <a:graphicFrameLocks/>
          </p:cNvGraphicFramePr>
          <p:nvPr>
            <p:extLst>
              <p:ext uri="{D42A27DB-BD31-4B8C-83A1-F6EECF244321}">
                <p14:modId xmlns:p14="http://schemas.microsoft.com/office/powerpoint/2010/main" val="3841899165"/>
              </p:ext>
            </p:extLst>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8D2AC029-204E-C851-0DBB-376972B8F647}"/>
              </a:ext>
            </a:extLst>
          </p:cNvPr>
          <p:cNvGraphicFramePr>
            <a:graphicFrameLocks/>
          </p:cNvGraphicFramePr>
          <p:nvPr>
            <p:extLst>
              <p:ext uri="{D42A27DB-BD31-4B8C-83A1-F6EECF244321}">
                <p14:modId xmlns:p14="http://schemas.microsoft.com/office/powerpoint/2010/main" val="2794279863"/>
              </p:ext>
            </p:extLst>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C1">
            <a:extLst>
              <a:ext uri="{FF2B5EF4-FFF2-40B4-BE49-F238E27FC236}">
                <a16:creationId xmlns:a16="http://schemas.microsoft.com/office/drawing/2014/main" id="{F3DC8CB2-3F2B-2774-573E-DFF620E84D4C}"/>
              </a:ext>
            </a:extLst>
          </p:cNvPr>
          <p:cNvGraphicFramePr>
            <a:graphicFrameLocks/>
          </p:cNvGraphicFramePr>
          <p:nvPr>
            <p:extLst>
              <p:ext uri="{D42A27DB-BD31-4B8C-83A1-F6EECF244321}">
                <p14:modId xmlns:p14="http://schemas.microsoft.com/office/powerpoint/2010/main" val="4200140831"/>
              </p:ext>
            </p:extLst>
          </p:nvPr>
        </p:nvGraphicFramePr>
        <p:xfrm>
          <a:off x="6566444" y="1354754"/>
          <a:ext cx="2268000" cy="3374309"/>
        </p:xfrm>
        <a:graphic>
          <a:graphicData uri="http://schemas.openxmlformats.org/drawingml/2006/chart">
            <c:chart xmlns:c="http://schemas.openxmlformats.org/drawingml/2006/chart" xmlns:r="http://schemas.openxmlformats.org/officeDocument/2006/relationships" r:id="rId8"/>
          </a:graphicData>
        </a:graphic>
      </p:graphicFrame>
      <p:sp>
        <p:nvSpPr>
          <p:cNvPr id="16" name="TextBox 15">
            <a:extLst>
              <a:ext uri="{FF2B5EF4-FFF2-40B4-BE49-F238E27FC236}">
                <a16:creationId xmlns:a16="http://schemas.microsoft.com/office/drawing/2014/main" id="{8C8CB6BD-A844-74EC-CFEC-C58CFCC7C5EC}"/>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B18FE6A9-85ED-634C-B0DB-D9A4E7A1AD69}"/>
              </a:ext>
            </a:extLst>
          </p:cNvPr>
          <p:cNvGraphicFramePr>
            <a:graphicFrameLocks noGrp="1"/>
          </p:cNvGraphicFramePr>
          <p:nvPr/>
        </p:nvGraphicFramePr>
        <p:xfrm>
          <a:off x="720534" y="1121410"/>
          <a:ext cx="8113912"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gridCol w="2028478">
                  <a:extLst>
                    <a:ext uri="{9D8B030D-6E8A-4147-A177-3AD203B41FA5}">
                      <a16:colId xmlns:a16="http://schemas.microsoft.com/office/drawing/2014/main" val="3571608413"/>
                    </a:ext>
                  </a:extLst>
                </a:gridCol>
              </a:tblGrid>
              <a:tr h="235994">
                <a:tc>
                  <a:txBody>
                    <a:bodyPr/>
                    <a:lstStyle/>
                    <a:p>
                      <a:pPr algn="ctr">
                        <a:defRPr sz="1100">
                          <a:latin typeface="Nexa Book"/>
                        </a:defRPr>
                      </a:pPr>
                      <a:r>
                        <a:rPr b="1">
                          <a:solidFill>
                            <a:srgbClr val="575555"/>
                          </a:solidFill>
                        </a:rPr>
                        <a:t>Blanc De Blancs</a:t>
                      </a:r>
                    </a:p>
                  </a:txBody>
                  <a:tcPr anchor="ctr">
                    <a:solidFill>
                      <a:schemeClr val="bg2"/>
                    </a:solidFill>
                  </a:tcPr>
                </a:tc>
                <a:tc>
                  <a:txBody>
                    <a:bodyPr/>
                    <a:lstStyle/>
                    <a:p>
                      <a:pPr algn="ctr">
                        <a:defRPr sz="1100">
                          <a:latin typeface="Nexa Book"/>
                        </a:defRPr>
                      </a:pPr>
                      <a:r>
                        <a:rPr b="1">
                          <a:solidFill>
                            <a:srgbClr val="575555"/>
                          </a:solidFill>
                        </a:rPr>
                        <a:t>Bruts</a:t>
                      </a:r>
                    </a:p>
                  </a:txBody>
                  <a:tcPr anchor="ctr">
                    <a:solidFill>
                      <a:schemeClr val="bg2"/>
                    </a:solidFill>
                  </a:tcPr>
                </a:tc>
                <a:tc>
                  <a:txBody>
                    <a:bodyPr/>
                    <a:lstStyle/>
                    <a:p>
                      <a:pPr algn="ctr">
                        <a:defRPr sz="1100">
                          <a:latin typeface="Nexa Book"/>
                        </a:defRPr>
                      </a:pPr>
                      <a:r>
                        <a:rPr b="1">
                          <a:solidFill>
                            <a:srgbClr val="575555"/>
                          </a:solidFill>
                        </a:rPr>
                        <a:t>Crus</a:t>
                      </a:r>
                    </a:p>
                  </a:txBody>
                  <a:tcPr anchor="ctr">
                    <a:solidFill>
                      <a:schemeClr val="bg2"/>
                    </a:solidFill>
                  </a:tcPr>
                </a:tc>
                <a:tc>
                  <a:txBody>
                    <a:bodyPr/>
                    <a:lstStyle/>
                    <a:p>
                      <a:pPr algn="ctr">
                        <a:defRPr sz="1100">
                          <a:latin typeface="Nexa Book"/>
                        </a:defRPr>
                      </a:pPr>
                      <a:r>
                        <a:rPr b="1">
                          <a:solidFill>
                            <a:srgbClr val="575555"/>
                          </a:solidFill>
                        </a:rPr>
                        <a:t>Extra Brut</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3990247565"/>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08FC55-424A-ACCC-676F-44C3CCC9796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415BD49-9CDB-C892-E279-946572C3A129}"/>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BE947E9A-9EDC-50FE-5484-367359C894D7}"/>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6A5025B9-0C85-A050-B069-0AC43B6B8204}"/>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1004F20C-B07D-4614-4481-965EA185837B}"/>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A91D8E7D-FEEC-5BA1-EB74-93E5E7482F85}"/>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9</a:t>
            </a:fld>
            <a:endParaRPr lang="en-US" noProof="0"/>
          </a:p>
        </p:txBody>
      </p:sp>
      <p:sp>
        <p:nvSpPr>
          <p:cNvPr id="37" name="Text Placeholder 36">
            <a:extLst>
              <a:ext uri="{FF2B5EF4-FFF2-40B4-BE49-F238E27FC236}">
                <a16:creationId xmlns:a16="http://schemas.microsoft.com/office/drawing/2014/main" id="{FA0F6888-D5CC-383A-47AD-80C683524A7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2E389274-4FCB-6DE6-41BB-F4D26E075546}"/>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egment | CA E | P12M</a:t>
            </a:r>
          </a:p>
        </p:txBody>
      </p:sp>
      <p:sp>
        <p:nvSpPr>
          <p:cNvPr id="2" name="Title 1">
            <a:extLst>
              <a:ext uri="{FF2B5EF4-FFF2-40B4-BE49-F238E27FC236}">
                <a16:creationId xmlns:a16="http://schemas.microsoft.com/office/drawing/2014/main" id="{0B37106B-65BB-38CE-2DE5-FACF202E6E13}"/>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3AD1043F-CB15-E170-B712-2A89D1DA680D}"/>
              </a:ext>
            </a:extLst>
          </p:cNvPr>
          <p:cNvGraphicFramePr>
            <a:graphicFrameLocks noGrp="1"/>
          </p:cNvGraphicFramePr>
          <p:nvPr>
            <p:ph idx="4294967295"/>
            <p:extLst>
              <p:ext uri="{D42A27DB-BD31-4B8C-83A1-F6EECF244321}">
                <p14:modId xmlns:p14="http://schemas.microsoft.com/office/powerpoint/2010/main" val="2678478929"/>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C7CB25F2-15EE-61CD-96F8-9E24F3CFB425}"/>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C8ACCE2D-6642-ED27-3E63-215D317EDF54}"/>
              </a:ext>
            </a:extLst>
          </p:cNvPr>
          <p:cNvGraphicFramePr>
            <a:graphicFrameLocks/>
          </p:cNvGraphicFramePr>
          <p:nvPr>
            <p:extLst>
              <p:ext uri="{D42A27DB-BD31-4B8C-83A1-F6EECF244321}">
                <p14:modId xmlns:p14="http://schemas.microsoft.com/office/powerpoint/2010/main" val="47012114"/>
              </p:ext>
            </p:extLst>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8D2AC029-204E-C851-0DBB-376972B8F647}"/>
              </a:ext>
            </a:extLst>
          </p:cNvPr>
          <p:cNvGraphicFramePr>
            <a:graphicFrameLocks/>
          </p:cNvGraphicFramePr>
          <p:nvPr>
            <p:extLst>
              <p:ext uri="{D42A27DB-BD31-4B8C-83A1-F6EECF244321}">
                <p14:modId xmlns:p14="http://schemas.microsoft.com/office/powerpoint/2010/main" val="2149917597"/>
              </p:ext>
            </p:extLst>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C1">
            <a:extLst>
              <a:ext uri="{FF2B5EF4-FFF2-40B4-BE49-F238E27FC236}">
                <a16:creationId xmlns:a16="http://schemas.microsoft.com/office/drawing/2014/main" id="{F3DC8CB2-3F2B-2774-573E-DFF620E84D4C}"/>
              </a:ext>
            </a:extLst>
          </p:cNvPr>
          <p:cNvGraphicFramePr>
            <a:graphicFrameLocks/>
          </p:cNvGraphicFramePr>
          <p:nvPr>
            <p:extLst>
              <p:ext uri="{D42A27DB-BD31-4B8C-83A1-F6EECF244321}">
                <p14:modId xmlns:p14="http://schemas.microsoft.com/office/powerpoint/2010/main" val="771814049"/>
              </p:ext>
            </p:extLst>
          </p:nvPr>
        </p:nvGraphicFramePr>
        <p:xfrm>
          <a:off x="6566444" y="1354754"/>
          <a:ext cx="2268000" cy="3374309"/>
        </p:xfrm>
        <a:graphic>
          <a:graphicData uri="http://schemas.openxmlformats.org/drawingml/2006/chart">
            <c:chart xmlns:c="http://schemas.openxmlformats.org/drawingml/2006/chart" xmlns:r="http://schemas.openxmlformats.org/officeDocument/2006/relationships" r:id="rId8"/>
          </a:graphicData>
        </a:graphic>
      </p:graphicFrame>
      <p:sp>
        <p:nvSpPr>
          <p:cNvPr id="16" name="TextBox 15">
            <a:extLst>
              <a:ext uri="{FF2B5EF4-FFF2-40B4-BE49-F238E27FC236}">
                <a16:creationId xmlns:a16="http://schemas.microsoft.com/office/drawing/2014/main" id="{8C8CB6BD-A844-74EC-CFEC-C58CFCC7C5EC}"/>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B18FE6A9-85ED-634C-B0DB-D9A4E7A1AD69}"/>
              </a:ext>
            </a:extLst>
          </p:cNvPr>
          <p:cNvGraphicFramePr>
            <a:graphicFrameLocks noGrp="1"/>
          </p:cNvGraphicFramePr>
          <p:nvPr/>
        </p:nvGraphicFramePr>
        <p:xfrm>
          <a:off x="720534" y="1121410"/>
          <a:ext cx="8113912"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gridCol w="2028478">
                  <a:extLst>
                    <a:ext uri="{9D8B030D-6E8A-4147-A177-3AD203B41FA5}">
                      <a16:colId xmlns:a16="http://schemas.microsoft.com/office/drawing/2014/main" val="3571608413"/>
                    </a:ext>
                  </a:extLst>
                </a:gridCol>
              </a:tblGrid>
              <a:tr h="235994">
                <a:tc>
                  <a:txBody>
                    <a:bodyPr/>
                    <a:lstStyle/>
                    <a:p>
                      <a:pPr algn="ctr">
                        <a:defRPr sz="1100">
                          <a:latin typeface="Nexa Book"/>
                        </a:defRPr>
                      </a:pPr>
                      <a:r>
                        <a:rPr b="1">
                          <a:solidFill>
                            <a:srgbClr val="575555"/>
                          </a:solidFill>
                        </a:rPr>
                        <a:t>Millesimes</a:t>
                      </a:r>
                    </a:p>
                  </a:txBody>
                  <a:tcPr anchor="ctr">
                    <a:solidFill>
                      <a:schemeClr val="bg2"/>
                    </a:solidFill>
                  </a:tcPr>
                </a:tc>
                <a:tc>
                  <a:txBody>
                    <a:bodyPr/>
                    <a:lstStyle/>
                    <a:p>
                      <a:pPr algn="ctr">
                        <a:defRPr sz="1100">
                          <a:latin typeface="Nexa Book"/>
                        </a:defRPr>
                      </a:pPr>
                      <a:r>
                        <a:rPr b="1">
                          <a:solidFill>
                            <a:srgbClr val="575555"/>
                          </a:solidFill>
                        </a:rPr>
                        <a:t>Rosés</a:t>
                      </a:r>
                    </a:p>
                  </a:txBody>
                  <a:tcPr anchor="ctr">
                    <a:solidFill>
                      <a:schemeClr val="bg2"/>
                    </a:solidFill>
                  </a:tcPr>
                </a:tc>
                <a:tc>
                  <a:txBody>
                    <a:bodyPr/>
                    <a:lstStyle/>
                    <a:p>
                      <a:pPr algn="ctr">
                        <a:defRPr sz="1100">
                          <a:latin typeface="Nexa Book"/>
                        </a:defRPr>
                      </a:pPr>
                      <a:r>
                        <a:rPr b="1">
                          <a:solidFill>
                            <a:srgbClr val="575555"/>
                          </a:solidFill>
                        </a:rPr>
                        <a:t>Mousseux Bourgogne</a:t>
                      </a:r>
                    </a:p>
                  </a:txBody>
                  <a:tcPr anchor="ctr">
                    <a:solidFill>
                      <a:schemeClr val="bg2"/>
                    </a:solidFill>
                  </a:tcPr>
                </a:tc>
                <a:tc>
                  <a:txBody>
                    <a:bodyPr/>
                    <a:lstStyle/>
                    <a:p>
                      <a:pPr algn="ctr">
                        <a:defRPr sz="1100">
                          <a:latin typeface="Nexa Book"/>
                        </a:defRPr>
                      </a:pPr>
                      <a:r>
                        <a:rPr b="1">
                          <a:solidFill>
                            <a:srgbClr val="575555"/>
                          </a:solidFill>
                        </a:rPr>
                        <a:t>Mousseux Italiens</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257159066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17F39D-9FE7-D5EF-D981-D08E2C3E7E72}"/>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6C569F5-3F88-086F-5B00-1E8A66D0F786}"/>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1E5943C8-93A2-CE99-9DC9-6106E372503B}"/>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58EF6AC-09CE-D3E4-3CE4-FEF3C28940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7F0F218-5714-F2E2-17DE-F734014EA97B}"/>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a:t>
            </a:fld>
            <a:endParaRPr lang="en-US" noProof="0"/>
          </a:p>
        </p:txBody>
      </p:sp>
      <p:sp>
        <p:nvSpPr>
          <p:cNvPr id="37" name="Text Placeholder 36">
            <a:extLst>
              <a:ext uri="{FF2B5EF4-FFF2-40B4-BE49-F238E27FC236}">
                <a16:creationId xmlns:a16="http://schemas.microsoft.com/office/drawing/2014/main" id="{5136C012-8234-3446-6BA4-D2A4ED46798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09B51F99-F9B2-A31A-6316-FFD484BF748A}"/>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Category | NICOLAS IDF | P12M</a:t>
            </a:r>
          </a:p>
        </p:txBody>
      </p:sp>
      <p:sp>
        <p:nvSpPr>
          <p:cNvPr id="2" name="Title 1">
            <a:extLst>
              <a:ext uri="{FF2B5EF4-FFF2-40B4-BE49-F238E27FC236}">
                <a16:creationId xmlns:a16="http://schemas.microsoft.com/office/drawing/2014/main" id="{119F61F6-E75A-45A7-FB48-021A4AD44DFE}"/>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452FBD9-A58C-004E-EBFE-BF25D0D39B4C}"/>
              </a:ext>
            </a:extLst>
          </p:cNvPr>
          <p:cNvGraphicFramePr>
            <a:graphicFrameLocks noGrp="1"/>
          </p:cNvGraphicFramePr>
          <p:nvPr>
            <p:ph idx="4294967295"/>
            <p:extLst>
              <p:ext uri="{D42A27DB-BD31-4B8C-83A1-F6EECF244321}">
                <p14:modId xmlns:p14="http://schemas.microsoft.com/office/powerpoint/2010/main" val="4065036864"/>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B0F72B-C6D2-6D8D-0FC6-9AC4097CBCC1}"/>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sp>
        <p:nvSpPr>
          <p:cNvPr id="16" name="TextBox 15">
            <a:extLst>
              <a:ext uri="{FF2B5EF4-FFF2-40B4-BE49-F238E27FC236}">
                <a16:creationId xmlns:a16="http://schemas.microsoft.com/office/drawing/2014/main" id="{46D148F4-12D7-0EF3-ABFE-35612660B26D}"/>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F3F720E0-CF35-ADEF-C27B-40DD4DEC2868}"/>
              </a:ext>
            </a:extLst>
          </p:cNvPr>
          <p:cNvGraphicFramePr>
            <a:graphicFrameLocks noGrp="1"/>
          </p:cNvGraphicFramePr>
          <p:nvPr>
            <p:extLst>
              <p:ext uri="{D42A27DB-BD31-4B8C-83A1-F6EECF244321}">
                <p14:modId xmlns:p14="http://schemas.microsoft.com/office/powerpoint/2010/main" val="635621620"/>
              </p:ext>
            </p:extLst>
          </p:nvPr>
        </p:nvGraphicFramePr>
        <p:xfrm>
          <a:off x="720534" y="1121410"/>
          <a:ext cx="2028478"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tblGrid>
              <a:tr h="235994">
                <a:tc>
                  <a:txBody>
                    <a:bodyPr/>
                    <a:lstStyle/>
                    <a:p>
                      <a:pPr algn="ctr">
                        <a:defRPr sz="1100">
                          <a:latin typeface="Nexa Book"/>
                        </a:defRPr>
                      </a:pPr>
                      <a:r>
                        <a:rPr b="1">
                          <a:solidFill>
                            <a:srgbClr val="575555"/>
                          </a:solidFill>
                        </a:rPr>
                        <a:t>Effervescents</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305092396"/>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65918C-CF2D-B9BE-373E-8055AB4F589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BE947E9A-9EDC-50FE-5484-367359C894D7}"/>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DC475BB2-0528-29FB-C158-9EF2E6156FB0}"/>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C87CB3FA-1793-85BB-0720-68CB9A322CAF}"/>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300044B2-FAA5-2879-ADFC-6874BBAF83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DA8BB0C0-E087-2E71-1F6D-E725250BE3D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0</a:t>
            </a:fld>
            <a:endParaRPr lang="en-US" noProof="0"/>
          </a:p>
        </p:txBody>
      </p:sp>
      <p:sp>
        <p:nvSpPr>
          <p:cNvPr id="37" name="Text Placeholder 36">
            <a:extLst>
              <a:ext uri="{FF2B5EF4-FFF2-40B4-BE49-F238E27FC236}">
                <a16:creationId xmlns:a16="http://schemas.microsoft.com/office/drawing/2014/main" id="{4918FA18-B639-A629-2E9B-674B54B4AACA}"/>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37405B8B-A5F3-F9D8-A571-2F38544BBDBA}"/>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egment | CA E | P12M</a:t>
            </a:r>
          </a:p>
        </p:txBody>
      </p:sp>
      <p:sp>
        <p:nvSpPr>
          <p:cNvPr id="2" name="Title 1">
            <a:extLst>
              <a:ext uri="{FF2B5EF4-FFF2-40B4-BE49-F238E27FC236}">
                <a16:creationId xmlns:a16="http://schemas.microsoft.com/office/drawing/2014/main" id="{12784FBB-01F7-DE64-BC02-E8B59B51E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8694A9E2-2E6E-DE42-FC36-3888D1308CB4}"/>
              </a:ext>
            </a:extLst>
          </p:cNvPr>
          <p:cNvGraphicFramePr>
            <a:graphicFrameLocks noGrp="1"/>
          </p:cNvGraphicFramePr>
          <p:nvPr>
            <p:ph idx="4294967295"/>
            <p:extLst>
              <p:ext uri="{D42A27DB-BD31-4B8C-83A1-F6EECF244321}">
                <p14:modId xmlns:p14="http://schemas.microsoft.com/office/powerpoint/2010/main" val="2111086652"/>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F456CAE2-40D9-C89C-01D4-02D92ECC325F}"/>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9C31F180-BE4C-077E-6172-FE9EFF5651B0}"/>
              </a:ext>
            </a:extLst>
          </p:cNvPr>
          <p:cNvGraphicFramePr>
            <a:graphicFrameLocks/>
          </p:cNvGraphicFramePr>
          <p:nvPr>
            <p:extLst>
              <p:ext uri="{D42A27DB-BD31-4B8C-83A1-F6EECF244321}">
                <p14:modId xmlns:p14="http://schemas.microsoft.com/office/powerpoint/2010/main" val="3604834952"/>
              </p:ext>
            </p:extLst>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01B1A8DD-FED6-2C47-296D-0983D1E720B2}"/>
              </a:ext>
            </a:extLst>
          </p:cNvPr>
          <p:cNvGraphicFramePr>
            <a:graphicFrameLocks/>
          </p:cNvGraphicFramePr>
          <p:nvPr>
            <p:extLst>
              <p:ext uri="{D42A27DB-BD31-4B8C-83A1-F6EECF244321}">
                <p14:modId xmlns:p14="http://schemas.microsoft.com/office/powerpoint/2010/main" val="273764427"/>
              </p:ext>
            </p:extLst>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sp>
        <p:nvSpPr>
          <p:cNvPr id="16" name="TextBox 15">
            <a:extLst>
              <a:ext uri="{FF2B5EF4-FFF2-40B4-BE49-F238E27FC236}">
                <a16:creationId xmlns:a16="http://schemas.microsoft.com/office/drawing/2014/main" id="{2B180312-FE46-D4C9-3734-1E3750820943}"/>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4DB211A7-591C-E03E-65DC-47EB4C0D8D03}"/>
              </a:ext>
            </a:extLst>
          </p:cNvPr>
          <p:cNvGraphicFramePr>
            <a:graphicFrameLocks noGrp="1"/>
          </p:cNvGraphicFramePr>
          <p:nvPr>
            <p:extLst>
              <p:ext uri="{D42A27DB-BD31-4B8C-83A1-F6EECF244321}">
                <p14:modId xmlns:p14="http://schemas.microsoft.com/office/powerpoint/2010/main" val="2790109015"/>
              </p:ext>
            </p:extLst>
          </p:nvPr>
        </p:nvGraphicFramePr>
        <p:xfrm>
          <a:off x="720534" y="1121410"/>
          <a:ext cx="6085434"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tblGrid>
              <a:tr h="235994">
                <a:tc>
                  <a:txBody>
                    <a:bodyPr/>
                    <a:lstStyle/>
                    <a:p>
                      <a:pPr algn="ctr">
                        <a:defRPr sz="1100">
                          <a:latin typeface="Nexa Book"/>
                        </a:defRPr>
                      </a:pPr>
                      <a:r>
                        <a:rPr b="1">
                          <a:solidFill>
                            <a:srgbClr val="575555"/>
                          </a:solidFill>
                        </a:rPr>
                        <a:t>Mousseux Val De Loire</a:t>
                      </a:r>
                    </a:p>
                  </a:txBody>
                  <a:tcPr anchor="ctr">
                    <a:solidFill>
                      <a:schemeClr val="bg2"/>
                    </a:solidFill>
                  </a:tcPr>
                </a:tc>
                <a:tc>
                  <a:txBody>
                    <a:bodyPr/>
                    <a:lstStyle/>
                    <a:p>
                      <a:pPr algn="ctr">
                        <a:defRPr sz="1100">
                          <a:latin typeface="Nexa Book"/>
                        </a:defRPr>
                      </a:pPr>
                      <a:r>
                        <a:rPr b="1">
                          <a:solidFill>
                            <a:srgbClr val="575555"/>
                          </a:solidFill>
                        </a:rPr>
                        <a:t>Mousseux Alsace</a:t>
                      </a:r>
                    </a:p>
                  </a:txBody>
                  <a:tcPr anchor="ctr">
                    <a:solidFill>
                      <a:schemeClr val="bg2"/>
                    </a:solidFill>
                  </a:tcPr>
                </a:tc>
                <a:tc>
                  <a:txBody>
                    <a:bodyPr/>
                    <a:lstStyle/>
                    <a:p>
                      <a:pPr algn="ctr">
                        <a:defRPr sz="1100">
                          <a:latin typeface="Nexa Book"/>
                        </a:defRPr>
                      </a:pPr>
                      <a:r>
                        <a:rPr b="1">
                          <a:solidFill>
                            <a:srgbClr val="575555"/>
                          </a:solidFill>
                        </a:rPr>
                        <a:t>Mousseux Bordelais</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1427876475"/>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Effervescents | Nationa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9909983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1936781"/>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777672"/>
            <a:ext cx="4869366" cy="497903"/>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707104913"/>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Effervescents | NICOLA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41448715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75526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972463"/>
            <a:ext cx="4869366" cy="759126"/>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744456"/>
            <a:ext cx="4869366" cy="50179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259118"/>
            <a:ext cx="4869366" cy="10164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968133659"/>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Effervescents | HMSM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51090666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1989185"/>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199528"/>
            <a:ext cx="4869366" cy="354674"/>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560214"/>
            <a:ext cx="4869366" cy="234446"/>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00672"/>
            <a:ext cx="4869366" cy="474903"/>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397842928"/>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Effervescents | NICOLAS QC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0236873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509502"/>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728065"/>
            <a:ext cx="4869366" cy="839682"/>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581979"/>
            <a:ext cx="4869366" cy="55504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151255"/>
            <a:ext cx="4869366" cy="1124320"/>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587188661"/>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Effervescents | NICOLAS VC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51613503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541157"/>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759544"/>
            <a:ext cx="4869366" cy="829306"/>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602907"/>
            <a:ext cx="4869366" cy="54818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165148"/>
            <a:ext cx="4869366" cy="111042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846919497"/>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Effervescents | NICOLAS QC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20278693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745523"/>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962774"/>
            <a:ext cx="4869366" cy="762319"/>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738015"/>
            <a:ext cx="4869366" cy="503906"/>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254842"/>
            <a:ext cx="4869366" cy="1020733"/>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120514345"/>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Effervescents | NICOLAS QC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12246600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2254665"/>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463533"/>
            <a:ext cx="4869366" cy="267656"/>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735726"/>
            <a:ext cx="4869366" cy="17692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917188"/>
            <a:ext cx="4869366" cy="35838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216955609"/>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Effervescents | NICOLAS CCP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40626404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470943"/>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689720"/>
            <a:ext cx="4869366" cy="852321"/>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556487"/>
            <a:ext cx="4869366" cy="563398"/>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134332"/>
            <a:ext cx="4869366" cy="1141243"/>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891370165"/>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Effervescents | NICOLAS IDF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34501866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784012"/>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2001050"/>
            <a:ext cx="4869366" cy="749703"/>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763461"/>
            <a:ext cx="4869366" cy="495567"/>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271735"/>
            <a:ext cx="4869366" cy="1003840"/>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88048895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Props1.xml><?xml version="1.0" encoding="utf-8"?>
<ds:datastoreItem xmlns:ds="http://schemas.openxmlformats.org/officeDocument/2006/customXml" ds:itemID="{80726F4B-CCCE-4FD7-AEEC-E1B68F2D26F5}">
  <ds:schemaRefs>
    <ds:schemaRef ds:uri="http://schemas.microsoft.com/sharepoint/v3/contenttype/forms"/>
  </ds:schemaRefs>
</ds:datastoreItem>
</file>

<file path=customXml/itemProps2.xml><?xml version="1.0" encoding="utf-8"?>
<ds:datastoreItem xmlns:ds="http://schemas.openxmlformats.org/officeDocument/2006/customXml" ds:itemID="{4DAD8CDA-E8B3-4E61-898C-45F4951EF008}">
  <ds:schemaRefs>
    <ds:schemaRef ds:uri="0ad93b7f-b0cd-4c46-aaaf-ff14495948cf"/>
    <ds:schemaRef ds:uri="474cf4e4-8a51-432b-9e1b-0ea607ac38f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86DE5052-E9D7-46E7-8537-D0DDAF09064B}">
  <ds:schemaRefs>
    <ds:schemaRef ds:uri="0ad93b7f-b0cd-4c46-aaaf-ff14495948cf"/>
    <ds:schemaRef ds:uri="474cf4e4-8a51-432b-9e1b-0ea607ac38ff"/>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